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8" r:id="rId4"/>
    <p:sldMasterId id="2147483759" r:id="rId5"/>
    <p:sldMasterId id="2147483648" r:id="rId6"/>
  </p:sldMasterIdLst>
  <p:notesMasterIdLst>
    <p:notesMasterId r:id="rId23"/>
  </p:notesMasterIdLst>
  <p:handoutMasterIdLst>
    <p:handoutMasterId r:id="rId24"/>
  </p:handoutMasterIdLst>
  <p:sldIdLst>
    <p:sldId id="266" r:id="rId7"/>
    <p:sldId id="495" r:id="rId8"/>
    <p:sldId id="496" r:id="rId9"/>
    <p:sldId id="481" r:id="rId10"/>
    <p:sldId id="482" r:id="rId11"/>
    <p:sldId id="503" r:id="rId12"/>
    <p:sldId id="483" r:id="rId13"/>
    <p:sldId id="486" r:id="rId14"/>
    <p:sldId id="502" r:id="rId15"/>
    <p:sldId id="487" r:id="rId16"/>
    <p:sldId id="488" r:id="rId17"/>
    <p:sldId id="490" r:id="rId18"/>
    <p:sldId id="501" r:id="rId19"/>
    <p:sldId id="491" r:id="rId20"/>
    <p:sldId id="500" r:id="rId21"/>
    <p:sldId id="493" r:id="rId22"/>
  </p:sldIdLst>
  <p:sldSz cx="9144000" cy="5143500" type="screen16x9"/>
  <p:notesSz cx="6858000" cy="9144000"/>
  <p:custDataLst>
    <p:tags r:id="rId25"/>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23A05FC4-8AD8-4EE3-A5DA-0671E14F8E49}">
          <p14:sldIdLst>
            <p14:sldId id="266"/>
            <p14:sldId id="495"/>
            <p14:sldId id="496"/>
            <p14:sldId id="481"/>
            <p14:sldId id="482"/>
            <p14:sldId id="503"/>
            <p14:sldId id="483"/>
            <p14:sldId id="486"/>
            <p14:sldId id="502"/>
            <p14:sldId id="487"/>
            <p14:sldId id="488"/>
            <p14:sldId id="490"/>
            <p14:sldId id="501"/>
            <p14:sldId id="491"/>
            <p14:sldId id="500"/>
            <p14:sldId id="493"/>
          </p14:sldIdLst>
        </p14:section>
        <p14:section name="Maps" id="{AD0BC48B-4078-4914-B0F3-35677CD1B6B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4E6A"/>
    <a:srgbClr val="E6E6E6"/>
    <a:srgbClr val="68658A"/>
    <a:srgbClr val="F5F5F4"/>
    <a:srgbClr val="890700"/>
    <a:srgbClr val="686A6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4599" autoAdjust="0"/>
    <p:restoredTop sz="94660"/>
  </p:normalViewPr>
  <p:slideViewPr>
    <p:cSldViewPr snapToGrid="0">
      <p:cViewPr varScale="1">
        <p:scale>
          <a:sx n="144" d="100"/>
          <a:sy n="144" d="100"/>
        </p:scale>
        <p:origin x="208" y="304"/>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78" d="100"/>
          <a:sy n="78" d="100"/>
        </p:scale>
        <p:origin x="3939" y="3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io Etienne" userId="7aef99a0-ae51-466f-a6ce-27dd954f5eb5" providerId="ADAL" clId="{89F67D60-A464-4942-B782-36BDB5C77D08}"/>
    <pc:docChg chg="custSel modSld sldOrd">
      <pc:chgData name="Elio Etienne" userId="7aef99a0-ae51-466f-a6ce-27dd954f5eb5" providerId="ADAL" clId="{89F67D60-A464-4942-B782-36BDB5C77D08}" dt="2023-06-02T18:58:02.884" v="16" actId="20577"/>
      <pc:docMkLst>
        <pc:docMk/>
      </pc:docMkLst>
      <pc:sldChg chg="delSp mod">
        <pc:chgData name="Elio Etienne" userId="7aef99a0-ae51-466f-a6ce-27dd954f5eb5" providerId="ADAL" clId="{89F67D60-A464-4942-B782-36BDB5C77D08}" dt="2023-06-02T18:57:04.002" v="0" actId="478"/>
        <pc:sldMkLst>
          <pc:docMk/>
          <pc:sldMk cId="1661002686" sldId="266"/>
        </pc:sldMkLst>
        <pc:spChg chg="del">
          <ac:chgData name="Elio Etienne" userId="7aef99a0-ae51-466f-a6ce-27dd954f5eb5" providerId="ADAL" clId="{89F67D60-A464-4942-B782-36BDB5C77D08}" dt="2023-06-02T18:57:04.002" v="0" actId="478"/>
          <ac:spMkLst>
            <pc:docMk/>
            <pc:sldMk cId="1661002686" sldId="266"/>
            <ac:spMk id="3" creationId="{0219A3CD-3F99-CEAB-BA65-7312A2B70E4A}"/>
          </ac:spMkLst>
        </pc:spChg>
      </pc:sldChg>
      <pc:sldChg chg="modSp mod">
        <pc:chgData name="Elio Etienne" userId="7aef99a0-ae51-466f-a6ce-27dd954f5eb5" providerId="ADAL" clId="{89F67D60-A464-4942-B782-36BDB5C77D08}" dt="2023-06-02T18:58:02.884" v="16" actId="20577"/>
        <pc:sldMkLst>
          <pc:docMk/>
          <pc:sldMk cId="3917294691" sldId="487"/>
        </pc:sldMkLst>
        <pc:graphicFrameChg chg="modGraphic">
          <ac:chgData name="Elio Etienne" userId="7aef99a0-ae51-466f-a6ce-27dd954f5eb5" providerId="ADAL" clId="{89F67D60-A464-4942-B782-36BDB5C77D08}" dt="2023-06-02T18:58:02.884" v="16" actId="20577"/>
          <ac:graphicFrameMkLst>
            <pc:docMk/>
            <pc:sldMk cId="3917294691" sldId="487"/>
            <ac:graphicFrameMk id="5" creationId="{A23C7DEE-C096-46FD-9F40-11A133D976FC}"/>
          </ac:graphicFrameMkLst>
        </pc:graphicFrameChg>
      </pc:sldChg>
      <pc:sldChg chg="delSp modSp mod">
        <pc:chgData name="Elio Etienne" userId="7aef99a0-ae51-466f-a6ce-27dd954f5eb5" providerId="ADAL" clId="{89F67D60-A464-4942-B782-36BDB5C77D08}" dt="2023-06-02T18:57:16.947" v="2" actId="207"/>
        <pc:sldMkLst>
          <pc:docMk/>
          <pc:sldMk cId="2427536329" sldId="495"/>
        </pc:sldMkLst>
        <pc:spChg chg="mod">
          <ac:chgData name="Elio Etienne" userId="7aef99a0-ae51-466f-a6ce-27dd954f5eb5" providerId="ADAL" clId="{89F67D60-A464-4942-B782-36BDB5C77D08}" dt="2023-06-02T18:57:16.947" v="2" actId="207"/>
          <ac:spMkLst>
            <pc:docMk/>
            <pc:sldMk cId="2427536329" sldId="495"/>
            <ac:spMk id="47" creationId="{3C66D988-DE56-4836-7BBB-FB2D3DF044F3}"/>
          </ac:spMkLst>
        </pc:spChg>
        <pc:spChg chg="del">
          <ac:chgData name="Elio Etienne" userId="7aef99a0-ae51-466f-a6ce-27dd954f5eb5" providerId="ADAL" clId="{89F67D60-A464-4942-B782-36BDB5C77D08}" dt="2023-06-02T18:57:07.590" v="1" actId="478"/>
          <ac:spMkLst>
            <pc:docMk/>
            <pc:sldMk cId="2427536329" sldId="495"/>
            <ac:spMk id="54" creationId="{FE4C3E93-761C-6C28-B249-84D61112FEBB}"/>
          </ac:spMkLst>
        </pc:spChg>
      </pc:sldChg>
      <pc:sldChg chg="modSp mod ord">
        <pc:chgData name="Elio Etienne" userId="7aef99a0-ae51-466f-a6ce-27dd954f5eb5" providerId="ADAL" clId="{89F67D60-A464-4942-B782-36BDB5C77D08}" dt="2023-06-02T18:57:42.215" v="5"/>
        <pc:sldMkLst>
          <pc:docMk/>
          <pc:sldMk cId="1178696127" sldId="503"/>
        </pc:sldMkLst>
        <pc:graphicFrameChg chg="modGraphic">
          <ac:chgData name="Elio Etienne" userId="7aef99a0-ae51-466f-a6ce-27dd954f5eb5" providerId="ADAL" clId="{89F67D60-A464-4942-B782-36BDB5C77D08}" dt="2023-06-02T18:57:31.172" v="3" actId="2165"/>
          <ac:graphicFrameMkLst>
            <pc:docMk/>
            <pc:sldMk cId="1178696127" sldId="503"/>
            <ac:graphicFrameMk id="5" creationId="{A23C7DEE-C096-46FD-9F40-11A133D976FC}"/>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85BCE606-DCA9-4F59-977A-094316FC73D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umsplatzhalter 2">
            <a:extLst>
              <a:ext uri="{FF2B5EF4-FFF2-40B4-BE49-F238E27FC236}">
                <a16:creationId xmlns:a16="http://schemas.microsoft.com/office/drawing/2014/main" id="{C2703A71-20E7-4BB1-A198-05A625F86DA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BE44AEF-1B32-4BD6-A58A-238FFE4D1680}" type="datetimeFigureOut">
              <a:rPr lang="en-GB" smtClean="0"/>
              <a:t>02/06/2023</a:t>
            </a:fld>
            <a:endParaRPr lang="en-GB" dirty="0"/>
          </a:p>
        </p:txBody>
      </p:sp>
      <p:sp>
        <p:nvSpPr>
          <p:cNvPr id="4" name="Fußzeilenplatzhalter 3">
            <a:extLst>
              <a:ext uri="{FF2B5EF4-FFF2-40B4-BE49-F238E27FC236}">
                <a16:creationId xmlns:a16="http://schemas.microsoft.com/office/drawing/2014/main" id="{47119680-D37E-4D25-A037-4392049A073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Foliennummernplatzhalter 4">
            <a:extLst>
              <a:ext uri="{FF2B5EF4-FFF2-40B4-BE49-F238E27FC236}">
                <a16:creationId xmlns:a16="http://schemas.microsoft.com/office/drawing/2014/main" id="{0130F40A-0F28-4C9B-89C5-97372EA21F7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D7599F6-8842-47DA-B49B-295561D335F1}" type="slidenum">
              <a:rPr lang="en-GB" smtClean="0"/>
              <a:t>‹N°›</a:t>
            </a:fld>
            <a:endParaRPr lang="en-GB" dirty="0"/>
          </a:p>
        </p:txBody>
      </p:sp>
    </p:spTree>
    <p:extLst>
      <p:ext uri="{BB962C8B-B14F-4D97-AF65-F5344CB8AC3E}">
        <p14:creationId xmlns:p14="http://schemas.microsoft.com/office/powerpoint/2010/main" val="35871366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E02093-5AB7-4141-AFAA-2DC55D58E5A7}" type="datetimeFigureOut">
              <a:rPr lang="en-GB" smtClean="0"/>
              <a:t>02/06/2023</a:t>
            </a:fld>
            <a:endParaRPr lang="en-GB"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8C3554-5277-4E95-A5A7-FA704CAE713A}" type="slidenum">
              <a:rPr lang="en-GB" smtClean="0"/>
              <a:t>‹N°›</a:t>
            </a:fld>
            <a:endParaRPr lang="en-GB" dirty="0"/>
          </a:p>
        </p:txBody>
      </p:sp>
    </p:spTree>
    <p:extLst>
      <p:ext uri="{BB962C8B-B14F-4D97-AF65-F5344CB8AC3E}">
        <p14:creationId xmlns:p14="http://schemas.microsoft.com/office/powerpoint/2010/main" val="2369939968"/>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slideMaster" Target="../slideMasters/slideMaster3.xml"/><Relationship Id="rId7" Type="http://schemas.openxmlformats.org/officeDocument/2006/relationships/image" Target="../media/image13.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0.emf"/><Relationship Id="rId5" Type="http://schemas.openxmlformats.org/officeDocument/2006/relationships/oleObject" Target="../embeddings/oleObject4.bin"/><Relationship Id="rId4" Type="http://schemas.openxmlformats.org/officeDocument/2006/relationships/image" Target="../media/image17.jp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1.jpg"/><Relationship Id="rId1" Type="http://schemas.openxmlformats.org/officeDocument/2006/relationships/slideMaster" Target="../slideMasters/slideMaster3.xml"/><Relationship Id="rId4" Type="http://schemas.openxmlformats.org/officeDocument/2006/relationships/image" Target="../media/image14.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2.jpg"/><Relationship Id="rId1" Type="http://schemas.openxmlformats.org/officeDocument/2006/relationships/slideMaster" Target="../slideMasters/slideMaster3.xml"/><Relationship Id="rId4" Type="http://schemas.openxmlformats.org/officeDocument/2006/relationships/image" Target="../media/image11.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jpg"/><Relationship Id="rId1" Type="http://schemas.openxmlformats.org/officeDocument/2006/relationships/slideMaster" Target="../slideMasters/slideMaster3.xml"/><Relationship Id="rId4" Type="http://schemas.openxmlformats.org/officeDocument/2006/relationships/image" Target="../media/image1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jpg"/><Relationship Id="rId1" Type="http://schemas.openxmlformats.org/officeDocument/2006/relationships/slideMaster" Target="../slideMasters/slideMaster3.xml"/><Relationship Id="rId4" Type="http://schemas.openxmlformats.org/officeDocument/2006/relationships/image" Target="../media/image14.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5.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6.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1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11.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6.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7.jpg"/><Relationship Id="rId1" Type="http://schemas.openxmlformats.org/officeDocument/2006/relationships/slideMaster" Target="../slideMasters/slideMaster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28.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jpg"/><Relationship Id="rId1" Type="http://schemas.openxmlformats.org/officeDocument/2006/relationships/slideMaster" Target="../slideMasters/slideMaster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6.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jpg"/><Relationship Id="rId1" Type="http://schemas.openxmlformats.org/officeDocument/2006/relationships/slideMaster" Target="../slideMasters/slideMaster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31.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gre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845249"/>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2831332"/>
            <a:ext cx="4320000" cy="1241822"/>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431800" y="2535549"/>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33CFFC0-7C50-4C2C-A557-39059CC3BA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800" y="4423578"/>
            <a:ext cx="1621656" cy="211223"/>
          </a:xfrm>
          <a:prstGeom prst="rect">
            <a:avLst/>
          </a:prstGeom>
        </p:spPr>
      </p:pic>
      <p:pic>
        <p:nvPicPr>
          <p:cNvPr id="14" name="Graphic 9">
            <a:extLst>
              <a:ext uri="{FF2B5EF4-FFF2-40B4-BE49-F238E27FC236}">
                <a16:creationId xmlns:a16="http://schemas.microsoft.com/office/drawing/2014/main" id="{211D252E-A012-487A-8355-D6C45AB066B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2" y="0"/>
            <a:ext cx="1311768" cy="660815"/>
          </a:xfrm>
          <a:prstGeom prst="rect">
            <a:avLst/>
          </a:prstGeom>
        </p:spPr>
      </p:pic>
    </p:spTree>
    <p:extLst>
      <p:ext uri="{BB962C8B-B14F-4D97-AF65-F5344CB8AC3E}">
        <p14:creationId xmlns:p14="http://schemas.microsoft.com/office/powerpoint/2010/main" val="4152670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slide basketbal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5" name="Fußzeilenplatzhalter 4">
            <a:extLst>
              <a:ext uri="{FF2B5EF4-FFF2-40B4-BE49-F238E27FC236}">
                <a16:creationId xmlns:a16="http://schemas.microsoft.com/office/drawing/2014/main" id="{BCF4A116-21F9-4F8E-A56E-C8BDEFAB0D48}"/>
              </a:ext>
            </a:extLst>
          </p:cNvPr>
          <p:cNvSpPr>
            <a:spLocks noGrp="1"/>
          </p:cNvSpPr>
          <p:nvPr>
            <p:ph type="ftr" sz="quarter" idx="13"/>
          </p:nvPr>
        </p:nvSpPr>
        <p:spPr/>
        <p:txBody>
          <a:bodyPr/>
          <a:lstStyle/>
          <a:p>
            <a:r>
              <a:rPr lang="en-GB"/>
              <a:t>#AllAboutSports</a:t>
            </a:r>
            <a:endParaRPr lang="en-GB" dirty="0"/>
          </a:p>
        </p:txBody>
      </p:sp>
    </p:spTree>
    <p:extLst>
      <p:ext uri="{BB962C8B-B14F-4D97-AF65-F5344CB8AC3E}">
        <p14:creationId xmlns:p14="http://schemas.microsoft.com/office/powerpoint/2010/main" val="23872245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slide picture">
    <p:bg>
      <p:bgPr>
        <a:solidFill>
          <a:schemeClr val="bg1"/>
        </a:solidFill>
        <a:effectLst/>
      </p:bgPr>
    </p:bg>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1E66F6F5-4D9E-4945-A7DA-7DC28C840D5A}"/>
              </a:ext>
            </a:extLst>
          </p:cNvPr>
          <p:cNvSpPr>
            <a:spLocks noGrp="1"/>
          </p:cNvSpPr>
          <p:nvPr>
            <p:ph type="pic" sz="quarter" idx="13"/>
          </p:nvPr>
        </p:nvSpPr>
        <p:spPr>
          <a:xfrm>
            <a:off x="0" y="0"/>
            <a:ext cx="9144000" cy="5143500"/>
          </a:xfrm>
          <a:custGeom>
            <a:avLst/>
            <a:gdLst>
              <a:gd name="connsiteX0" fmla="*/ 900000 w 9144000"/>
              <a:gd name="connsiteY0" fmla="*/ 3667064 h 5143500"/>
              <a:gd name="connsiteX1" fmla="*/ 900000 w 9144000"/>
              <a:gd name="connsiteY1" fmla="*/ 3677864 h 5143500"/>
              <a:gd name="connsiteX2" fmla="*/ 3960000 w 9144000"/>
              <a:gd name="connsiteY2" fmla="*/ 3677864 h 5143500"/>
              <a:gd name="connsiteX3" fmla="*/ 3960000 w 9144000"/>
              <a:gd name="connsiteY3" fmla="*/ 3667064 h 5143500"/>
              <a:gd name="connsiteX4" fmla="*/ 0 w 9144000"/>
              <a:gd name="connsiteY4" fmla="*/ 0 h 5143500"/>
              <a:gd name="connsiteX5" fmla="*/ 8064149 w 9144000"/>
              <a:gd name="connsiteY5" fmla="*/ 0 h 5143500"/>
              <a:gd name="connsiteX6" fmla="*/ 8064149 w 9144000"/>
              <a:gd name="connsiteY6" fmla="*/ 381194 h 5143500"/>
              <a:gd name="connsiteX7" fmla="*/ 8820150 w 9144000"/>
              <a:gd name="connsiteY7" fmla="*/ 381194 h 5143500"/>
              <a:gd name="connsiteX8" fmla="*/ 8820150 w 9144000"/>
              <a:gd name="connsiteY8" fmla="*/ 0 h 5143500"/>
              <a:gd name="connsiteX9" fmla="*/ 9144000 w 9144000"/>
              <a:gd name="connsiteY9" fmla="*/ 0 h 5143500"/>
              <a:gd name="connsiteX10" fmla="*/ 9144000 w 9144000"/>
              <a:gd name="connsiteY10" fmla="*/ 5143500 h 5143500"/>
              <a:gd name="connsiteX11" fmla="*/ 0 w 91440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4000" h="5143500">
                <a:moveTo>
                  <a:pt x="900000" y="3667064"/>
                </a:moveTo>
                <a:lnTo>
                  <a:pt x="900000" y="3677864"/>
                </a:lnTo>
                <a:lnTo>
                  <a:pt x="3960000" y="3677864"/>
                </a:lnTo>
                <a:lnTo>
                  <a:pt x="3960000" y="3667064"/>
                </a:lnTo>
                <a:close/>
                <a:moveTo>
                  <a:pt x="0" y="0"/>
                </a:moveTo>
                <a:lnTo>
                  <a:pt x="8064149" y="0"/>
                </a:lnTo>
                <a:lnTo>
                  <a:pt x="8064149" y="381194"/>
                </a:lnTo>
                <a:lnTo>
                  <a:pt x="8820150" y="381194"/>
                </a:lnTo>
                <a:lnTo>
                  <a:pt x="8820150" y="0"/>
                </a:lnTo>
                <a:lnTo>
                  <a:pt x="9144000" y="0"/>
                </a:lnTo>
                <a:lnTo>
                  <a:pt x="9144000" y="5143500"/>
                </a:lnTo>
                <a:lnTo>
                  <a:pt x="0" y="5143500"/>
                </a:lnTo>
                <a:close/>
              </a:path>
            </a:pathLst>
          </a:custGeom>
        </p:spPr>
        <p:txBody>
          <a:bodyPr wrap="square" tIns="162000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Click icon to add picture</a:t>
            </a:r>
          </a:p>
        </p:txBody>
      </p:sp>
      <p:sp>
        <p:nvSpPr>
          <p:cNvPr id="10" name="Freeform 9">
            <a:extLst>
              <a:ext uri="{FF2B5EF4-FFF2-40B4-BE49-F238E27FC236}">
                <a16:creationId xmlns:a16="http://schemas.microsoft.com/office/drawing/2014/main" id="{39B4D0CC-148C-8748-9671-FB860445D5C2}"/>
              </a:ext>
            </a:extLst>
          </p:cNvPr>
          <p:cNvSpPr>
            <a:spLocks noGrp="1"/>
          </p:cNvSpPr>
          <p:nvPr>
            <p:ph type="ctrTitle" hasCustomPrompt="1"/>
          </p:nvPr>
        </p:nvSpPr>
        <p:spPr>
          <a:xfrm>
            <a:off x="0" y="0"/>
            <a:ext cx="9144000" cy="5143500"/>
          </a:xfrm>
          <a:custGeom>
            <a:avLst/>
            <a:gdLst>
              <a:gd name="connsiteX0" fmla="*/ 0 w 9144000"/>
              <a:gd name="connsiteY0" fmla="*/ 0 h 5143500"/>
              <a:gd name="connsiteX1" fmla="*/ 8064500 w 9144000"/>
              <a:gd name="connsiteY1" fmla="*/ 0 h 5143500"/>
              <a:gd name="connsiteX2" fmla="*/ 8064500 w 9144000"/>
              <a:gd name="connsiteY2" fmla="*/ 381000 h 5143500"/>
              <a:gd name="connsiteX3" fmla="*/ 8820150 w 9144000"/>
              <a:gd name="connsiteY3" fmla="*/ 381000 h 5143500"/>
              <a:gd name="connsiteX4" fmla="*/ 8820150 w 9144000"/>
              <a:gd name="connsiteY4" fmla="*/ 0 h 5143500"/>
              <a:gd name="connsiteX5" fmla="*/ 9144000 w 9144000"/>
              <a:gd name="connsiteY5" fmla="*/ 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8064500" y="0"/>
                </a:lnTo>
                <a:lnTo>
                  <a:pt x="8064500" y="381000"/>
                </a:lnTo>
                <a:lnTo>
                  <a:pt x="8820150" y="381000"/>
                </a:lnTo>
                <a:lnTo>
                  <a:pt x="8820150" y="0"/>
                </a:lnTo>
                <a:lnTo>
                  <a:pt x="9144000" y="0"/>
                </a:lnTo>
                <a:lnTo>
                  <a:pt x="9144000" y="5143500"/>
                </a:lnTo>
                <a:lnTo>
                  <a:pt x="0" y="5143500"/>
                </a:lnTo>
                <a:close/>
              </a:path>
            </a:pathLst>
          </a:custGeom>
          <a:solidFill>
            <a:schemeClr val="tx1">
              <a:alpha val="50000"/>
            </a:schemeClr>
          </a:solidFill>
        </p:spPr>
        <p:txBody>
          <a:bodyPr wrap="square" lIns="900000" bIns="1655999" anchor="b" anchorCtr="0">
            <a:noAutofit/>
          </a:bodyPr>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3060000" cy="764084"/>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pic>
        <p:nvPicPr>
          <p:cNvPr id="8" name="Grafik 7">
            <a:extLst>
              <a:ext uri="{FF2B5EF4-FFF2-40B4-BE49-F238E27FC236}">
                <a16:creationId xmlns:a16="http://schemas.microsoft.com/office/drawing/2014/main" id="{1C06BA5D-848A-4C7A-A7B6-6F81946E88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233C69DC-BDF0-45D4-B8DA-E6D052137036}"/>
              </a:ext>
            </a:extLst>
          </p:cNvPr>
          <p:cNvSpPr>
            <a:spLocks noGrp="1"/>
          </p:cNvSpPr>
          <p:nvPr>
            <p:ph type="ftr" sz="quarter" idx="14"/>
          </p:nvPr>
        </p:nvSpPr>
        <p:spPr/>
        <p:txBody>
          <a:bodyPr/>
          <a:lstStyle>
            <a:lvl1pPr>
              <a:defRPr>
                <a:solidFill>
                  <a:schemeClr val="bg1"/>
                </a:solidFill>
              </a:defRPr>
            </a:lvl1pPr>
          </a:lstStyle>
          <a:p>
            <a:r>
              <a:rPr lang="en-GB" dirty="0"/>
              <a:t>#</a:t>
            </a:r>
            <a:r>
              <a:rPr lang="en-GB" dirty="0" err="1"/>
              <a:t>AllAboutSports</a:t>
            </a:r>
            <a:endParaRPr lang="en-GB" dirty="0"/>
          </a:p>
        </p:txBody>
      </p:sp>
    </p:spTree>
    <p:extLst>
      <p:ext uri="{BB962C8B-B14F-4D97-AF65-F5344CB8AC3E}">
        <p14:creationId xmlns:p14="http://schemas.microsoft.com/office/powerpoint/2010/main" val="2844107320"/>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1_Divider slide handball">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768C3A5-829E-4E85-87FD-4A7F23DC5F02}"/>
              </a:ext>
            </a:extLst>
          </p:cNvPr>
          <p:cNvGraphicFramePr>
            <a:graphicFrameLocks noChangeAspect="1"/>
          </p:cNvGraphicFramePr>
          <p:nvPr userDrawn="1">
            <p:custDataLst>
              <p:tags r:id="rId1"/>
            </p:custDataLst>
            <p:extLst>
              <p:ext uri="{D42A27DB-BD31-4B8C-83A1-F6EECF244321}">
                <p14:modId xmlns:p14="http://schemas.microsoft.com/office/powerpoint/2010/main" val="2472202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9" name="Object 8" hidden="1">
                        <a:extLst>
                          <a:ext uri="{FF2B5EF4-FFF2-40B4-BE49-F238E27FC236}">
                            <a16:creationId xmlns:a16="http://schemas.microsoft.com/office/drawing/2014/main" id="{C768C3A5-829E-4E85-87FD-4A7F23DC5F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1A04EA4-A422-4456-AC5E-97FE1C939A31}"/>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3800"/>
              </a:lnSpc>
              <a:spcBef>
                <a:spcPct val="0"/>
              </a:spcBef>
              <a:spcAft>
                <a:spcPct val="0"/>
              </a:spcAft>
            </a:pPr>
            <a:endParaRPr lang="en-US" sz="3800" b="1" i="0" baseline="0" dirty="0">
              <a:latin typeface="Arial" panose="020B0604020202020204" pitchFamily="34" charset="0"/>
              <a:ea typeface="+mj-ea"/>
              <a:cs typeface="+mj-cs"/>
              <a:sym typeface="Arial" panose="020B0604020202020204" pitchFamily="34" charset="0"/>
            </a:endParaRPr>
          </a:p>
        </p:txBody>
      </p:sp>
      <p:sp>
        <p:nvSpPr>
          <p:cNvPr id="6" name="Rectangle 5">
            <a:extLst>
              <a:ext uri="{FF2B5EF4-FFF2-40B4-BE49-F238E27FC236}">
                <a16:creationId xmlns:a16="http://schemas.microsoft.com/office/drawing/2014/main" id="{FFF23BDC-67BB-4BFF-B665-B7D1A2BBBBB7}"/>
              </a:ext>
            </a:extLst>
          </p:cNvPr>
          <p:cNvSpPr/>
          <p:nvPr userDrawn="1"/>
        </p:nvSpPr>
        <p:spPr>
          <a:xfrm>
            <a:off x="0" y="0"/>
            <a:ext cx="9144000" cy="5143500"/>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CH"/>
          </a:p>
        </p:txBody>
      </p:sp>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solidFill>
                  <a:schemeClr val="bg2"/>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solidFill>
                  <a:schemeClr val="bg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87B8C3FC-D8C9-42C2-8756-76C78A8C6080}"/>
              </a:ext>
            </a:extLst>
          </p:cNvPr>
          <p:cNvSpPr>
            <a:spLocks noGrp="1"/>
          </p:cNvSpPr>
          <p:nvPr>
            <p:ph type="ftr" sz="quarter" idx="10"/>
          </p:nvPr>
        </p:nvSpPr>
        <p:spPr/>
        <p:txBody>
          <a:bodyPr/>
          <a:lstStyle>
            <a:lvl1pPr>
              <a:defRPr>
                <a:solidFill>
                  <a:schemeClr val="bg2"/>
                </a:solidFill>
              </a:defRPr>
            </a:lvl1pPr>
          </a:lstStyle>
          <a:p>
            <a:r>
              <a:rPr lang="en-GB"/>
              <a:t>#AllAboutSports</a:t>
            </a:r>
            <a:endParaRPr lang="en-GB" dirty="0"/>
          </a:p>
        </p:txBody>
      </p:sp>
    </p:spTree>
    <p:extLst>
      <p:ext uri="{BB962C8B-B14F-4D97-AF65-F5344CB8AC3E}">
        <p14:creationId xmlns:p14="http://schemas.microsoft.com/office/powerpoint/2010/main" val="15590928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8" name="Textplatzhalter 4">
            <a:extLst>
              <a:ext uri="{FF2B5EF4-FFF2-40B4-BE49-F238E27FC236}">
                <a16:creationId xmlns:a16="http://schemas.microsoft.com/office/drawing/2014/main" id="{2B33EF26-1410-4B9C-8F63-392E063629B5}"/>
              </a:ext>
            </a:extLst>
          </p:cNvPr>
          <p:cNvSpPr>
            <a:spLocks noGrp="1"/>
          </p:cNvSpPr>
          <p:nvPr>
            <p:ph type="body" sz="quarter" idx="22" hasCustomPrompt="1"/>
          </p:nvPr>
        </p:nvSpPr>
        <p:spPr>
          <a:xfrm>
            <a:off x="675853" y="4087025"/>
            <a:ext cx="334800" cy="316800"/>
          </a:xfrm>
          <a:prstGeom prst="pentagon">
            <a:avLst/>
          </a:prstGeom>
          <a:solidFill>
            <a:schemeClr val="accent1"/>
          </a:solidFill>
        </p:spPr>
        <p:txBody>
          <a:bodyPr tIns="0" bIns="0"/>
          <a:lstStyle>
            <a:lvl1pPr algn="ctr">
              <a:defRPr sz="1200" b="1">
                <a:solidFill>
                  <a:schemeClr val="bg1"/>
                </a:solidFill>
              </a:defRPr>
            </a:lvl1pPr>
          </a:lstStyle>
          <a:p>
            <a:pPr lvl="0"/>
            <a:r>
              <a:rPr lang="de-DE" dirty="0"/>
              <a:t>05</a:t>
            </a:r>
            <a:endParaRPr lang="en-GB" dirty="0"/>
          </a:p>
        </p:txBody>
      </p:sp>
      <p:sp>
        <p:nvSpPr>
          <p:cNvPr id="27" name="Textplatzhalter 4">
            <a:extLst>
              <a:ext uri="{FF2B5EF4-FFF2-40B4-BE49-F238E27FC236}">
                <a16:creationId xmlns:a16="http://schemas.microsoft.com/office/drawing/2014/main" id="{AFB33BA1-9E6F-435F-A081-5CE2E6B49C49}"/>
              </a:ext>
            </a:extLst>
          </p:cNvPr>
          <p:cNvSpPr>
            <a:spLocks noGrp="1"/>
          </p:cNvSpPr>
          <p:nvPr>
            <p:ph type="body" sz="quarter" idx="21" hasCustomPrompt="1"/>
          </p:nvPr>
        </p:nvSpPr>
        <p:spPr>
          <a:xfrm>
            <a:off x="872544" y="3443630"/>
            <a:ext cx="334800" cy="316800"/>
          </a:xfrm>
          <a:prstGeom prst="pentagon">
            <a:avLst/>
          </a:prstGeom>
          <a:solidFill>
            <a:schemeClr val="accent6"/>
          </a:solidFill>
        </p:spPr>
        <p:txBody>
          <a:bodyPr tIns="0" bIns="0"/>
          <a:lstStyle>
            <a:lvl1pPr algn="ctr">
              <a:defRPr sz="1200" b="1">
                <a:solidFill>
                  <a:schemeClr val="bg1"/>
                </a:solidFill>
              </a:defRPr>
            </a:lvl1pPr>
          </a:lstStyle>
          <a:p>
            <a:pPr lvl="0"/>
            <a:r>
              <a:rPr lang="de-DE" dirty="0"/>
              <a:t>04</a:t>
            </a:r>
            <a:endParaRPr lang="en-GB" dirty="0"/>
          </a:p>
        </p:txBody>
      </p:sp>
      <p:sp>
        <p:nvSpPr>
          <p:cNvPr id="26" name="Textplatzhalter 4">
            <a:extLst>
              <a:ext uri="{FF2B5EF4-FFF2-40B4-BE49-F238E27FC236}">
                <a16:creationId xmlns:a16="http://schemas.microsoft.com/office/drawing/2014/main" id="{082E1592-7502-4F23-B40B-F643BD36105F}"/>
              </a:ext>
            </a:extLst>
          </p:cNvPr>
          <p:cNvSpPr>
            <a:spLocks noGrp="1"/>
          </p:cNvSpPr>
          <p:nvPr>
            <p:ph type="body" sz="quarter" idx="20" hasCustomPrompt="1"/>
          </p:nvPr>
        </p:nvSpPr>
        <p:spPr>
          <a:xfrm>
            <a:off x="1084703" y="2800942"/>
            <a:ext cx="334800" cy="316800"/>
          </a:xfrm>
          <a:prstGeom prst="pentagon">
            <a:avLst/>
          </a:prstGeom>
          <a:solidFill>
            <a:schemeClr val="accent5"/>
          </a:solidFill>
        </p:spPr>
        <p:txBody>
          <a:bodyPr tIns="0" bIns="0"/>
          <a:lstStyle>
            <a:lvl1pPr algn="ctr">
              <a:defRPr sz="1200" b="1">
                <a:solidFill>
                  <a:schemeClr val="bg1"/>
                </a:solidFill>
              </a:defRPr>
            </a:lvl1pPr>
          </a:lstStyle>
          <a:p>
            <a:pPr lvl="0"/>
            <a:r>
              <a:rPr lang="de-DE" dirty="0"/>
              <a:t>03</a:t>
            </a:r>
            <a:endParaRPr lang="en-GB" dirty="0"/>
          </a:p>
        </p:txBody>
      </p:sp>
      <p:sp>
        <p:nvSpPr>
          <p:cNvPr id="25" name="Textplatzhalter 4">
            <a:extLst>
              <a:ext uri="{FF2B5EF4-FFF2-40B4-BE49-F238E27FC236}">
                <a16:creationId xmlns:a16="http://schemas.microsoft.com/office/drawing/2014/main" id="{EBFED22F-2186-4B3E-9162-EE2EEC8E526A}"/>
              </a:ext>
            </a:extLst>
          </p:cNvPr>
          <p:cNvSpPr>
            <a:spLocks noGrp="1"/>
          </p:cNvSpPr>
          <p:nvPr>
            <p:ph type="body" sz="quarter" idx="19" hasCustomPrompt="1"/>
          </p:nvPr>
        </p:nvSpPr>
        <p:spPr>
          <a:xfrm>
            <a:off x="1288453" y="2166717"/>
            <a:ext cx="334800" cy="316800"/>
          </a:xfrm>
          <a:prstGeom prst="pentagon">
            <a:avLst/>
          </a:prstGeom>
          <a:solidFill>
            <a:srgbClr val="BAD1D7"/>
          </a:solidFill>
        </p:spPr>
        <p:txBody>
          <a:bodyPr tIns="0" bIns="0"/>
          <a:lstStyle>
            <a:lvl1pPr algn="ctr">
              <a:defRPr sz="1200" b="1">
                <a:solidFill>
                  <a:schemeClr val="bg1"/>
                </a:solidFill>
              </a:defRPr>
            </a:lvl1pPr>
          </a:lstStyle>
          <a:p>
            <a:pPr lvl="0"/>
            <a:r>
              <a:rPr lang="de-DE" dirty="0"/>
              <a:t>02</a:t>
            </a:r>
            <a:endParaRPr lang="en-GB" dirty="0"/>
          </a:p>
        </p:txBody>
      </p:sp>
      <p:sp>
        <p:nvSpPr>
          <p:cNvPr id="20" name="Textplatzhalter 4">
            <a:extLst>
              <a:ext uri="{FF2B5EF4-FFF2-40B4-BE49-F238E27FC236}">
                <a16:creationId xmlns:a16="http://schemas.microsoft.com/office/drawing/2014/main" id="{B349B7AA-32C0-4C2C-8D1E-04D1FB638717}"/>
              </a:ext>
            </a:extLst>
          </p:cNvPr>
          <p:cNvSpPr>
            <a:spLocks noGrp="1"/>
          </p:cNvSpPr>
          <p:nvPr>
            <p:ph type="body" sz="quarter" idx="18" hasCustomPrompt="1"/>
          </p:nvPr>
        </p:nvSpPr>
        <p:spPr>
          <a:xfrm>
            <a:off x="1493553" y="1528266"/>
            <a:ext cx="334800" cy="316800"/>
          </a:xfrm>
          <a:prstGeom prst="pentagon">
            <a:avLst/>
          </a:prstGeom>
          <a:solidFill>
            <a:schemeClr val="accent2"/>
          </a:solidFill>
        </p:spPr>
        <p:txBody>
          <a:bodyPr tIns="0" bIns="0"/>
          <a:lstStyle>
            <a:lvl1pPr algn="ctr">
              <a:defRPr sz="1200" b="1">
                <a:solidFill>
                  <a:schemeClr val="bg1"/>
                </a:solidFill>
              </a:defRPr>
            </a:lvl1pPr>
          </a:lstStyle>
          <a:p>
            <a:pPr lvl="0"/>
            <a:r>
              <a:rPr lang="de-DE" dirty="0"/>
              <a:t>01</a:t>
            </a:r>
            <a:endParaRPr lang="en-GB" dirty="0"/>
          </a:p>
        </p:txBody>
      </p:sp>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Textplatzhalter 4">
            <a:extLst>
              <a:ext uri="{FF2B5EF4-FFF2-40B4-BE49-F238E27FC236}">
                <a16:creationId xmlns:a16="http://schemas.microsoft.com/office/drawing/2014/main" id="{11FC6D27-B26A-4B4E-852D-AF0070914F0C}"/>
              </a:ext>
            </a:extLst>
          </p:cNvPr>
          <p:cNvSpPr>
            <a:spLocks noGrp="1"/>
          </p:cNvSpPr>
          <p:nvPr>
            <p:ph type="body" sz="quarter" idx="13" hasCustomPrompt="1"/>
          </p:nvPr>
        </p:nvSpPr>
        <p:spPr>
          <a:xfrm>
            <a:off x="1960044" y="1526853"/>
            <a:ext cx="2880000" cy="318214"/>
          </a:xfrm>
          <a:prstGeom prst="rect">
            <a:avLst/>
          </a:prstGeom>
        </p:spPr>
        <p:txBody>
          <a:bodyPr anchor="b" anchorCtr="0"/>
          <a:lstStyle>
            <a:lvl1pPr>
              <a:defRPr sz="1400" b="1"/>
            </a:lvl1pPr>
          </a:lstStyle>
          <a:p>
            <a:pPr lvl="0"/>
            <a:r>
              <a:rPr lang="en-US" noProof="0" dirty="0"/>
              <a:t>Agenda point one</a:t>
            </a:r>
          </a:p>
        </p:txBody>
      </p:sp>
      <p:sp>
        <p:nvSpPr>
          <p:cNvPr id="21" name="Textplatzhalter 4">
            <a:extLst>
              <a:ext uri="{FF2B5EF4-FFF2-40B4-BE49-F238E27FC236}">
                <a16:creationId xmlns:a16="http://schemas.microsoft.com/office/drawing/2014/main" id="{757D00F4-4310-474C-94B7-8F7FA05831A6}"/>
              </a:ext>
            </a:extLst>
          </p:cNvPr>
          <p:cNvSpPr>
            <a:spLocks noGrp="1"/>
          </p:cNvSpPr>
          <p:nvPr>
            <p:ph type="body" sz="quarter" idx="14" hasCustomPrompt="1"/>
          </p:nvPr>
        </p:nvSpPr>
        <p:spPr>
          <a:xfrm>
            <a:off x="1764837" y="2166720"/>
            <a:ext cx="2880000" cy="318214"/>
          </a:xfrm>
          <a:prstGeom prst="rect">
            <a:avLst/>
          </a:prstGeom>
        </p:spPr>
        <p:txBody>
          <a:bodyPr anchor="b" anchorCtr="0"/>
          <a:lstStyle>
            <a:lvl1pPr>
              <a:defRPr sz="1400" b="1"/>
            </a:lvl1pPr>
          </a:lstStyle>
          <a:p>
            <a:pPr lvl="0"/>
            <a:r>
              <a:rPr lang="en-US" noProof="0" dirty="0"/>
              <a:t>Agenda point two</a:t>
            </a:r>
          </a:p>
        </p:txBody>
      </p:sp>
      <p:sp>
        <p:nvSpPr>
          <p:cNvPr id="22" name="Textplatzhalter 4">
            <a:extLst>
              <a:ext uri="{FF2B5EF4-FFF2-40B4-BE49-F238E27FC236}">
                <a16:creationId xmlns:a16="http://schemas.microsoft.com/office/drawing/2014/main" id="{9685688B-0B10-4DCA-890A-677C372AF48B}"/>
              </a:ext>
            </a:extLst>
          </p:cNvPr>
          <p:cNvSpPr>
            <a:spLocks noGrp="1"/>
          </p:cNvSpPr>
          <p:nvPr>
            <p:ph type="body" sz="quarter" idx="15" hasCustomPrompt="1"/>
          </p:nvPr>
        </p:nvSpPr>
        <p:spPr>
          <a:xfrm>
            <a:off x="1560412" y="2806586"/>
            <a:ext cx="2880000" cy="318214"/>
          </a:xfrm>
          <a:prstGeom prst="rect">
            <a:avLst/>
          </a:prstGeom>
        </p:spPr>
        <p:txBody>
          <a:bodyPr anchor="b" anchorCtr="0"/>
          <a:lstStyle>
            <a:lvl1pPr>
              <a:defRPr sz="1400" b="1"/>
            </a:lvl1pPr>
          </a:lstStyle>
          <a:p>
            <a:pPr lvl="0"/>
            <a:r>
              <a:rPr lang="en-US" noProof="0" dirty="0"/>
              <a:t>Agenda point three</a:t>
            </a:r>
          </a:p>
        </p:txBody>
      </p:sp>
      <p:sp>
        <p:nvSpPr>
          <p:cNvPr id="23" name="Textplatzhalter 4">
            <a:extLst>
              <a:ext uri="{FF2B5EF4-FFF2-40B4-BE49-F238E27FC236}">
                <a16:creationId xmlns:a16="http://schemas.microsoft.com/office/drawing/2014/main" id="{058DD13B-7C02-47C6-9927-78B109405A8C}"/>
              </a:ext>
            </a:extLst>
          </p:cNvPr>
          <p:cNvSpPr>
            <a:spLocks noGrp="1"/>
          </p:cNvSpPr>
          <p:nvPr>
            <p:ph type="body" sz="quarter" idx="16" hasCustomPrompt="1"/>
          </p:nvPr>
        </p:nvSpPr>
        <p:spPr>
          <a:xfrm>
            <a:off x="1355987" y="3446452"/>
            <a:ext cx="2880000" cy="318214"/>
          </a:xfrm>
          <a:prstGeom prst="rect">
            <a:avLst/>
          </a:prstGeom>
        </p:spPr>
        <p:txBody>
          <a:bodyPr anchor="b" anchorCtr="0"/>
          <a:lstStyle>
            <a:lvl1pPr>
              <a:defRPr sz="1400" b="1"/>
            </a:lvl1pPr>
          </a:lstStyle>
          <a:p>
            <a:pPr lvl="0"/>
            <a:r>
              <a:rPr lang="en-US" noProof="0" dirty="0"/>
              <a:t>Agenda point four</a:t>
            </a:r>
          </a:p>
        </p:txBody>
      </p:sp>
      <p:sp>
        <p:nvSpPr>
          <p:cNvPr id="24" name="Textplatzhalter 4">
            <a:extLst>
              <a:ext uri="{FF2B5EF4-FFF2-40B4-BE49-F238E27FC236}">
                <a16:creationId xmlns:a16="http://schemas.microsoft.com/office/drawing/2014/main" id="{D2BD567D-0FA9-4DC1-92E1-988F9E0AFE04}"/>
              </a:ext>
            </a:extLst>
          </p:cNvPr>
          <p:cNvSpPr>
            <a:spLocks noGrp="1"/>
          </p:cNvSpPr>
          <p:nvPr>
            <p:ph type="body" sz="quarter" idx="17" hasCustomPrompt="1"/>
          </p:nvPr>
        </p:nvSpPr>
        <p:spPr>
          <a:xfrm>
            <a:off x="1151562" y="4086318"/>
            <a:ext cx="2880000" cy="318214"/>
          </a:xfrm>
          <a:prstGeom prst="rect">
            <a:avLst/>
          </a:prstGeom>
        </p:spPr>
        <p:txBody>
          <a:bodyPr anchor="b" anchorCtr="0"/>
          <a:lstStyle>
            <a:lvl1pPr>
              <a:defRPr sz="1400" b="1"/>
            </a:lvl1pPr>
          </a:lstStyle>
          <a:p>
            <a:pPr lvl="0"/>
            <a:r>
              <a:rPr lang="en-US" noProof="0" dirty="0"/>
              <a:t>Agenda point five</a:t>
            </a:r>
          </a:p>
        </p:txBody>
      </p:sp>
      <p:sp>
        <p:nvSpPr>
          <p:cNvPr id="3" name="Fußzeilenplatzhalter 2">
            <a:extLst>
              <a:ext uri="{FF2B5EF4-FFF2-40B4-BE49-F238E27FC236}">
                <a16:creationId xmlns:a16="http://schemas.microsoft.com/office/drawing/2014/main" id="{2DB576C8-DABC-418E-AA98-2F51F9D17A5B}"/>
              </a:ext>
            </a:extLst>
          </p:cNvPr>
          <p:cNvSpPr>
            <a:spLocks noGrp="1"/>
          </p:cNvSpPr>
          <p:nvPr>
            <p:ph type="ftr" sz="quarter" idx="23"/>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8370776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with picture">
    <p:bg>
      <p:bgPr>
        <a:solidFill>
          <a:schemeClr val="bg1"/>
        </a:solidFill>
        <a:effectLst/>
      </p:bgPr>
    </p:bg>
    <p:spTree>
      <p:nvGrpSpPr>
        <p:cNvPr id="1" name=""/>
        <p:cNvGrpSpPr/>
        <p:nvPr/>
      </p:nvGrpSpPr>
      <p:grpSpPr>
        <a:xfrm>
          <a:off x="0" y="0"/>
          <a:ext cx="0" cy="0"/>
          <a:chOff x="0" y="0"/>
          <a:chExt cx="0" cy="0"/>
        </a:xfrm>
      </p:grpSpPr>
      <p:sp>
        <p:nvSpPr>
          <p:cNvPr id="19" name="Bildplatzhalter 3">
            <a:extLst>
              <a:ext uri="{FF2B5EF4-FFF2-40B4-BE49-F238E27FC236}">
                <a16:creationId xmlns:a16="http://schemas.microsoft.com/office/drawing/2014/main" id="{68FFB613-8738-47E7-989F-B26C1AE2FB9C}"/>
              </a:ext>
            </a:extLst>
          </p:cNvPr>
          <p:cNvSpPr>
            <a:spLocks noGrp="1"/>
          </p:cNvSpPr>
          <p:nvPr>
            <p:ph type="pic" sz="quarter" idx="17" hasCustomPrompt="1"/>
          </p:nvPr>
        </p:nvSpPr>
        <p:spPr>
          <a:xfrm>
            <a:off x="-1784" y="-6594"/>
            <a:ext cx="4297024" cy="5152292"/>
          </a:xfrm>
          <a:custGeom>
            <a:avLst/>
            <a:gdLst>
              <a:gd name="connsiteX0" fmla="*/ 714789 w 4288646"/>
              <a:gd name="connsiteY0" fmla="*/ 0 h 5143500"/>
              <a:gd name="connsiteX1" fmla="*/ 3573857 w 4288646"/>
              <a:gd name="connsiteY1" fmla="*/ 0 h 5143500"/>
              <a:gd name="connsiteX2" fmla="*/ 4288646 w 4288646"/>
              <a:gd name="connsiteY2" fmla="*/ 714789 h 5143500"/>
              <a:gd name="connsiteX3" fmla="*/ 4288646 w 4288646"/>
              <a:gd name="connsiteY3" fmla="*/ 5143500 h 5143500"/>
              <a:gd name="connsiteX4" fmla="*/ 4288646 w 4288646"/>
              <a:gd name="connsiteY4" fmla="*/ 5143500 h 5143500"/>
              <a:gd name="connsiteX5" fmla="*/ 0 w 4288646"/>
              <a:gd name="connsiteY5" fmla="*/ 5143500 h 5143500"/>
              <a:gd name="connsiteX6" fmla="*/ 0 w 4288646"/>
              <a:gd name="connsiteY6" fmla="*/ 5143500 h 5143500"/>
              <a:gd name="connsiteX7" fmla="*/ 0 w 4288646"/>
              <a:gd name="connsiteY7" fmla="*/ 714789 h 5143500"/>
              <a:gd name="connsiteX8" fmla="*/ 714789 w 4288646"/>
              <a:gd name="connsiteY8" fmla="*/ 0 h 5143500"/>
              <a:gd name="connsiteX0" fmla="*/ 714789 w 4288646"/>
              <a:gd name="connsiteY0" fmla="*/ 0 h 5145698"/>
              <a:gd name="connsiteX1" fmla="*/ 3573857 w 4288646"/>
              <a:gd name="connsiteY1" fmla="*/ 0 h 5145698"/>
              <a:gd name="connsiteX2" fmla="*/ 4288646 w 4288646"/>
              <a:gd name="connsiteY2" fmla="*/ 714789 h 5145698"/>
              <a:gd name="connsiteX3" fmla="*/ 4288646 w 4288646"/>
              <a:gd name="connsiteY3" fmla="*/ 5143500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576469 w 4288646"/>
              <a:gd name="connsiteY3" fmla="*/ 4908306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097289 w 4288646"/>
              <a:gd name="connsiteY3" fmla="*/ 4890721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266540 w 4288646"/>
              <a:gd name="connsiteY3" fmla="*/ 3020158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95240"/>
              <a:gd name="connsiteY0" fmla="*/ 0 h 5145698"/>
              <a:gd name="connsiteX1" fmla="*/ 3573857 w 4295240"/>
              <a:gd name="connsiteY1" fmla="*/ 0 h 5145698"/>
              <a:gd name="connsiteX2" fmla="*/ 4295240 w 4295240"/>
              <a:gd name="connsiteY2" fmla="*/ 414 h 5145698"/>
              <a:gd name="connsiteX3" fmla="*/ 3266540 w 4295240"/>
              <a:gd name="connsiteY3" fmla="*/ 3020158 h 5145698"/>
              <a:gd name="connsiteX4" fmla="*/ 2534580 w 4295240"/>
              <a:gd name="connsiteY4" fmla="*/ 5145698 h 5145698"/>
              <a:gd name="connsiteX5" fmla="*/ 0 w 4295240"/>
              <a:gd name="connsiteY5" fmla="*/ 5143500 h 5145698"/>
              <a:gd name="connsiteX6" fmla="*/ 0 w 4295240"/>
              <a:gd name="connsiteY6" fmla="*/ 5143500 h 5145698"/>
              <a:gd name="connsiteX7" fmla="*/ 0 w 4295240"/>
              <a:gd name="connsiteY7" fmla="*/ 714789 h 5145698"/>
              <a:gd name="connsiteX8" fmla="*/ 714789 w 4295240"/>
              <a:gd name="connsiteY8" fmla="*/ 0 h 5145698"/>
              <a:gd name="connsiteX0" fmla="*/ 0 w 4297024"/>
              <a:gd name="connsiteY0" fmla="*/ 0 h 5152292"/>
              <a:gd name="connsiteX1" fmla="*/ 3575641 w 4297024"/>
              <a:gd name="connsiteY1" fmla="*/ 6594 h 5152292"/>
              <a:gd name="connsiteX2" fmla="*/ 4297024 w 4297024"/>
              <a:gd name="connsiteY2" fmla="*/ 7008 h 5152292"/>
              <a:gd name="connsiteX3" fmla="*/ 3268324 w 4297024"/>
              <a:gd name="connsiteY3" fmla="*/ 3026752 h 5152292"/>
              <a:gd name="connsiteX4" fmla="*/ 2536364 w 4297024"/>
              <a:gd name="connsiteY4" fmla="*/ 5152292 h 5152292"/>
              <a:gd name="connsiteX5" fmla="*/ 1784 w 4297024"/>
              <a:gd name="connsiteY5" fmla="*/ 5150094 h 5152292"/>
              <a:gd name="connsiteX6" fmla="*/ 1784 w 4297024"/>
              <a:gd name="connsiteY6" fmla="*/ 5150094 h 5152292"/>
              <a:gd name="connsiteX7" fmla="*/ 1784 w 4297024"/>
              <a:gd name="connsiteY7" fmla="*/ 721383 h 5152292"/>
              <a:gd name="connsiteX8" fmla="*/ 0 w 4297024"/>
              <a:gd name="connsiteY8" fmla="*/ 0 h 515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7024" h="5152292">
                <a:moveTo>
                  <a:pt x="0" y="0"/>
                </a:moveTo>
                <a:lnTo>
                  <a:pt x="3575641" y="6594"/>
                </a:lnTo>
                <a:lnTo>
                  <a:pt x="4297024" y="7008"/>
                </a:lnTo>
                <a:lnTo>
                  <a:pt x="3268324" y="3026752"/>
                </a:lnTo>
                <a:lnTo>
                  <a:pt x="2536364" y="5152292"/>
                </a:lnTo>
                <a:lnTo>
                  <a:pt x="1784" y="5150094"/>
                </a:lnTo>
                <a:lnTo>
                  <a:pt x="1784" y="5150094"/>
                </a:lnTo>
                <a:lnTo>
                  <a:pt x="1784" y="721383"/>
                </a:lnTo>
                <a:cubicBezTo>
                  <a:pt x="1189" y="480922"/>
                  <a:pt x="595" y="240461"/>
                  <a:pt x="0" y="0"/>
                </a:cubicBezTo>
                <a:close/>
              </a:path>
            </a:pathLst>
          </a:custGeom>
          <a:ln>
            <a:noFill/>
          </a:ln>
        </p:spPr>
        <p:txBody>
          <a:bodyPr tIns="1980000"/>
          <a:lstStyle>
            <a:lvl1pPr algn="ctr">
              <a:defRPr/>
            </a:lvl1pPr>
          </a:lstStyle>
          <a:p>
            <a:r>
              <a:rPr lang="en-US" noProof="0" dirty="0"/>
              <a:t>Click icon to add picture</a:t>
            </a:r>
          </a:p>
        </p:txBody>
      </p:sp>
      <p:sp>
        <p:nvSpPr>
          <p:cNvPr id="25" name="Rechteck 3">
            <a:extLst>
              <a:ext uri="{FF2B5EF4-FFF2-40B4-BE49-F238E27FC236}">
                <a16:creationId xmlns:a16="http://schemas.microsoft.com/office/drawing/2014/main" id="{9ADC4F0A-F2F4-48E1-86BE-8FAEE62778D4}"/>
              </a:ext>
            </a:extLst>
          </p:cNvPr>
          <p:cNvSpPr/>
          <p:nvPr userDrawn="1"/>
        </p:nvSpPr>
        <p:spPr>
          <a:xfrm flipH="1" flipV="1">
            <a:off x="2541187" y="-6594"/>
            <a:ext cx="6600551" cy="5143500"/>
          </a:xfrm>
          <a:custGeom>
            <a:avLst/>
            <a:gdLst>
              <a:gd name="connsiteX0" fmla="*/ 0 w 4844764"/>
              <a:gd name="connsiteY0" fmla="*/ 0 h 5143500"/>
              <a:gd name="connsiteX1" fmla="*/ 4844764 w 4844764"/>
              <a:gd name="connsiteY1" fmla="*/ 0 h 5143500"/>
              <a:gd name="connsiteX2" fmla="*/ 4844764 w 4844764"/>
              <a:gd name="connsiteY2" fmla="*/ 5143500 h 5143500"/>
              <a:gd name="connsiteX3" fmla="*/ 0 w 4844764"/>
              <a:gd name="connsiteY3" fmla="*/ 5143500 h 5143500"/>
              <a:gd name="connsiteX4" fmla="*/ 0 w 4844764"/>
              <a:gd name="connsiteY4" fmla="*/ 0 h 5143500"/>
              <a:gd name="connsiteX0" fmla="*/ 0 w 6600551"/>
              <a:gd name="connsiteY0" fmla="*/ 0 h 5143500"/>
              <a:gd name="connsiteX1" fmla="*/ 6600551 w 6600551"/>
              <a:gd name="connsiteY1" fmla="*/ 0 h 5143500"/>
              <a:gd name="connsiteX2" fmla="*/ 4844764 w 6600551"/>
              <a:gd name="connsiteY2" fmla="*/ 5143500 h 5143500"/>
              <a:gd name="connsiteX3" fmla="*/ 0 w 6600551"/>
              <a:gd name="connsiteY3" fmla="*/ 5143500 h 5143500"/>
              <a:gd name="connsiteX4" fmla="*/ 0 w 6600551"/>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0551" h="5143500">
                <a:moveTo>
                  <a:pt x="0" y="0"/>
                </a:moveTo>
                <a:lnTo>
                  <a:pt x="6600551" y="0"/>
                </a:lnTo>
                <a:lnTo>
                  <a:pt x="4844764" y="5143500"/>
                </a:lnTo>
                <a:lnTo>
                  <a:pt x="0" y="51435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Textplatzhalter 4">
            <a:extLst>
              <a:ext uri="{FF2B5EF4-FFF2-40B4-BE49-F238E27FC236}">
                <a16:creationId xmlns:a16="http://schemas.microsoft.com/office/drawing/2014/main" id="{49D9F4B6-6660-4D9F-BD2B-9985E4ECE7E7}"/>
              </a:ext>
            </a:extLst>
          </p:cNvPr>
          <p:cNvSpPr>
            <a:spLocks noGrp="1"/>
          </p:cNvSpPr>
          <p:nvPr>
            <p:ph type="body" sz="quarter" idx="18" hasCustomPrompt="1"/>
          </p:nvPr>
        </p:nvSpPr>
        <p:spPr>
          <a:xfrm>
            <a:off x="4337013" y="1955395"/>
            <a:ext cx="334800" cy="316800"/>
          </a:xfrm>
          <a:prstGeom prst="pentagon">
            <a:avLst/>
          </a:prstGeom>
          <a:solidFill>
            <a:schemeClr val="accent2"/>
          </a:solidFill>
        </p:spPr>
        <p:txBody>
          <a:bodyPr tIns="0" bIns="0"/>
          <a:lstStyle>
            <a:lvl1pPr algn="ctr">
              <a:defRPr sz="1200" b="1">
                <a:solidFill>
                  <a:schemeClr val="bg1"/>
                </a:solidFill>
              </a:defRPr>
            </a:lvl1pPr>
          </a:lstStyle>
          <a:p>
            <a:pPr lvl="0"/>
            <a:r>
              <a:rPr lang="de-DE" dirty="0"/>
              <a:t>01</a:t>
            </a:r>
            <a:endParaRPr lang="en-GB" dirty="0"/>
          </a:p>
        </p:txBody>
      </p:sp>
      <p:sp>
        <p:nvSpPr>
          <p:cNvPr id="29" name="Textplatzhalter 4">
            <a:extLst>
              <a:ext uri="{FF2B5EF4-FFF2-40B4-BE49-F238E27FC236}">
                <a16:creationId xmlns:a16="http://schemas.microsoft.com/office/drawing/2014/main" id="{43A30AA3-33E5-4144-8390-7078459D05DD}"/>
              </a:ext>
            </a:extLst>
          </p:cNvPr>
          <p:cNvSpPr>
            <a:spLocks noGrp="1"/>
          </p:cNvSpPr>
          <p:nvPr>
            <p:ph type="body" sz="quarter" idx="23" hasCustomPrompt="1"/>
          </p:nvPr>
        </p:nvSpPr>
        <p:spPr>
          <a:xfrm>
            <a:off x="4122725" y="2601924"/>
            <a:ext cx="334800" cy="316800"/>
          </a:xfrm>
          <a:prstGeom prst="pentagon">
            <a:avLst/>
          </a:prstGeom>
          <a:solidFill>
            <a:srgbClr val="BAD1D7"/>
          </a:solidFill>
        </p:spPr>
        <p:txBody>
          <a:bodyPr tIns="0" bIns="0"/>
          <a:lstStyle>
            <a:lvl1pPr algn="ctr">
              <a:defRPr sz="1200" b="1">
                <a:solidFill>
                  <a:schemeClr val="bg1"/>
                </a:solidFill>
              </a:defRPr>
            </a:lvl1pPr>
          </a:lstStyle>
          <a:p>
            <a:pPr lvl="0"/>
            <a:r>
              <a:rPr lang="de-DE" dirty="0"/>
              <a:t>02</a:t>
            </a:r>
            <a:endParaRPr lang="en-GB" dirty="0"/>
          </a:p>
        </p:txBody>
      </p:sp>
      <p:sp>
        <p:nvSpPr>
          <p:cNvPr id="30" name="Textplatzhalter 4">
            <a:extLst>
              <a:ext uri="{FF2B5EF4-FFF2-40B4-BE49-F238E27FC236}">
                <a16:creationId xmlns:a16="http://schemas.microsoft.com/office/drawing/2014/main" id="{2AB79DD0-1F32-4716-89B5-4B689B1B2608}"/>
              </a:ext>
            </a:extLst>
          </p:cNvPr>
          <p:cNvSpPr>
            <a:spLocks noGrp="1"/>
          </p:cNvSpPr>
          <p:nvPr>
            <p:ph type="body" sz="quarter" idx="24" hasCustomPrompt="1"/>
          </p:nvPr>
        </p:nvSpPr>
        <p:spPr>
          <a:xfrm>
            <a:off x="3926847" y="3228395"/>
            <a:ext cx="334800" cy="316800"/>
          </a:xfrm>
          <a:prstGeom prst="pentagon">
            <a:avLst/>
          </a:prstGeom>
          <a:solidFill>
            <a:schemeClr val="accent5"/>
          </a:solidFill>
        </p:spPr>
        <p:txBody>
          <a:bodyPr tIns="0" bIns="0"/>
          <a:lstStyle>
            <a:lvl1pPr algn="ctr">
              <a:defRPr sz="1200" b="1">
                <a:solidFill>
                  <a:schemeClr val="bg1"/>
                </a:solidFill>
              </a:defRPr>
            </a:lvl1pPr>
          </a:lstStyle>
          <a:p>
            <a:pPr lvl="0"/>
            <a:r>
              <a:rPr lang="de-DE" dirty="0"/>
              <a:t>03</a:t>
            </a:r>
            <a:endParaRPr lang="en-GB" dirty="0"/>
          </a:p>
        </p:txBody>
      </p:sp>
      <p:sp>
        <p:nvSpPr>
          <p:cNvPr id="31" name="Textplatzhalter 4">
            <a:extLst>
              <a:ext uri="{FF2B5EF4-FFF2-40B4-BE49-F238E27FC236}">
                <a16:creationId xmlns:a16="http://schemas.microsoft.com/office/drawing/2014/main" id="{ED9E2103-5F8B-4495-BC5A-C9BA3600914C}"/>
              </a:ext>
            </a:extLst>
          </p:cNvPr>
          <p:cNvSpPr>
            <a:spLocks noGrp="1"/>
          </p:cNvSpPr>
          <p:nvPr>
            <p:ph type="body" sz="quarter" idx="25" hasCustomPrompt="1"/>
          </p:nvPr>
        </p:nvSpPr>
        <p:spPr>
          <a:xfrm>
            <a:off x="3716004" y="3869084"/>
            <a:ext cx="334800" cy="316800"/>
          </a:xfrm>
          <a:prstGeom prst="pentagon">
            <a:avLst/>
          </a:prstGeom>
          <a:solidFill>
            <a:schemeClr val="accent6"/>
          </a:solidFill>
        </p:spPr>
        <p:txBody>
          <a:bodyPr tIns="0" bIns="0"/>
          <a:lstStyle>
            <a:lvl1pPr algn="ctr">
              <a:defRPr sz="1200" b="1">
                <a:solidFill>
                  <a:schemeClr val="bg1"/>
                </a:solidFill>
              </a:defRPr>
            </a:lvl1pPr>
          </a:lstStyle>
          <a:p>
            <a:pPr lvl="0"/>
            <a:r>
              <a:rPr lang="de-DE" dirty="0"/>
              <a:t>04</a:t>
            </a:r>
            <a:endParaRPr lang="en-GB" dirty="0"/>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572000" y="990607"/>
            <a:ext cx="4248149" cy="612000"/>
          </a:xfrm>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572200" y="1474603"/>
            <a:ext cx="4104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Textplatzhalter 4">
            <a:extLst>
              <a:ext uri="{FF2B5EF4-FFF2-40B4-BE49-F238E27FC236}">
                <a16:creationId xmlns:a16="http://schemas.microsoft.com/office/drawing/2014/main" id="{11FC6D27-B26A-4B4E-852D-AF0070914F0C}"/>
              </a:ext>
            </a:extLst>
          </p:cNvPr>
          <p:cNvSpPr>
            <a:spLocks noGrp="1"/>
          </p:cNvSpPr>
          <p:nvPr>
            <p:ph type="body" sz="quarter" idx="13" hasCustomPrompt="1"/>
          </p:nvPr>
        </p:nvSpPr>
        <p:spPr>
          <a:xfrm>
            <a:off x="4793641" y="1955396"/>
            <a:ext cx="2880000" cy="318214"/>
          </a:xfrm>
          <a:prstGeom prst="rect">
            <a:avLst/>
          </a:prstGeom>
        </p:spPr>
        <p:txBody>
          <a:bodyPr anchor="b" anchorCtr="0"/>
          <a:lstStyle>
            <a:lvl1pPr>
              <a:defRPr sz="1400" b="1"/>
            </a:lvl1pPr>
          </a:lstStyle>
          <a:p>
            <a:pPr lvl="0"/>
            <a:r>
              <a:rPr lang="en-US" noProof="0" dirty="0"/>
              <a:t>Agenda point one</a:t>
            </a:r>
          </a:p>
        </p:txBody>
      </p:sp>
      <p:sp>
        <p:nvSpPr>
          <p:cNvPr id="21" name="Textplatzhalter 4">
            <a:extLst>
              <a:ext uri="{FF2B5EF4-FFF2-40B4-BE49-F238E27FC236}">
                <a16:creationId xmlns:a16="http://schemas.microsoft.com/office/drawing/2014/main" id="{757D00F4-4310-474C-94B7-8F7FA05831A6}"/>
              </a:ext>
            </a:extLst>
          </p:cNvPr>
          <p:cNvSpPr>
            <a:spLocks noGrp="1"/>
          </p:cNvSpPr>
          <p:nvPr>
            <p:ph type="body" sz="quarter" idx="14" hasCustomPrompt="1"/>
          </p:nvPr>
        </p:nvSpPr>
        <p:spPr>
          <a:xfrm>
            <a:off x="4598434" y="2595263"/>
            <a:ext cx="2880000" cy="318214"/>
          </a:xfrm>
          <a:prstGeom prst="rect">
            <a:avLst/>
          </a:prstGeom>
        </p:spPr>
        <p:txBody>
          <a:bodyPr anchor="b" anchorCtr="0"/>
          <a:lstStyle>
            <a:lvl1pPr>
              <a:defRPr sz="1400" b="1"/>
            </a:lvl1pPr>
          </a:lstStyle>
          <a:p>
            <a:pPr lvl="0"/>
            <a:r>
              <a:rPr lang="en-US" noProof="0" dirty="0"/>
              <a:t>Agenda point two</a:t>
            </a:r>
          </a:p>
        </p:txBody>
      </p:sp>
      <p:sp>
        <p:nvSpPr>
          <p:cNvPr id="22" name="Textplatzhalter 4">
            <a:extLst>
              <a:ext uri="{FF2B5EF4-FFF2-40B4-BE49-F238E27FC236}">
                <a16:creationId xmlns:a16="http://schemas.microsoft.com/office/drawing/2014/main" id="{9685688B-0B10-4DCA-890A-677C372AF48B}"/>
              </a:ext>
            </a:extLst>
          </p:cNvPr>
          <p:cNvSpPr>
            <a:spLocks noGrp="1"/>
          </p:cNvSpPr>
          <p:nvPr>
            <p:ph type="body" sz="quarter" idx="15" hasCustomPrompt="1"/>
          </p:nvPr>
        </p:nvSpPr>
        <p:spPr>
          <a:xfrm>
            <a:off x="4394009" y="3235129"/>
            <a:ext cx="2880000" cy="318214"/>
          </a:xfrm>
          <a:prstGeom prst="rect">
            <a:avLst/>
          </a:prstGeom>
        </p:spPr>
        <p:txBody>
          <a:bodyPr anchor="b" anchorCtr="0"/>
          <a:lstStyle>
            <a:lvl1pPr>
              <a:defRPr sz="1400" b="1"/>
            </a:lvl1pPr>
          </a:lstStyle>
          <a:p>
            <a:pPr lvl="0"/>
            <a:r>
              <a:rPr lang="en-US" noProof="0" dirty="0"/>
              <a:t>Agenda point three</a:t>
            </a:r>
          </a:p>
        </p:txBody>
      </p:sp>
      <p:sp>
        <p:nvSpPr>
          <p:cNvPr id="23" name="Textplatzhalter 4">
            <a:extLst>
              <a:ext uri="{FF2B5EF4-FFF2-40B4-BE49-F238E27FC236}">
                <a16:creationId xmlns:a16="http://schemas.microsoft.com/office/drawing/2014/main" id="{058DD13B-7C02-47C6-9927-78B109405A8C}"/>
              </a:ext>
            </a:extLst>
          </p:cNvPr>
          <p:cNvSpPr>
            <a:spLocks noGrp="1"/>
          </p:cNvSpPr>
          <p:nvPr>
            <p:ph type="body" sz="quarter" idx="16" hasCustomPrompt="1"/>
          </p:nvPr>
        </p:nvSpPr>
        <p:spPr>
          <a:xfrm>
            <a:off x="4189584" y="3874995"/>
            <a:ext cx="2880000" cy="318214"/>
          </a:xfrm>
          <a:prstGeom prst="rect">
            <a:avLst/>
          </a:prstGeom>
        </p:spPr>
        <p:txBody>
          <a:bodyPr anchor="b" anchorCtr="0"/>
          <a:lstStyle>
            <a:lvl1pPr>
              <a:defRPr sz="1400" b="1"/>
            </a:lvl1pPr>
          </a:lstStyle>
          <a:p>
            <a:pPr lvl="0"/>
            <a:r>
              <a:rPr lang="en-US" noProof="0" dirty="0"/>
              <a:t>Agenda point four</a:t>
            </a:r>
          </a:p>
        </p:txBody>
      </p:sp>
      <p:sp>
        <p:nvSpPr>
          <p:cNvPr id="4" name="Fußzeilenplatzhalter 3">
            <a:extLst>
              <a:ext uri="{FF2B5EF4-FFF2-40B4-BE49-F238E27FC236}">
                <a16:creationId xmlns:a16="http://schemas.microsoft.com/office/drawing/2014/main" id="{E78CF227-03D7-4033-9AAB-9EAEECC02F64}"/>
              </a:ext>
            </a:extLst>
          </p:cNvPr>
          <p:cNvSpPr>
            <a:spLocks noGrp="1"/>
          </p:cNvSpPr>
          <p:nvPr>
            <p:ph type="ftr" sz="quarter" idx="26"/>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2478775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Statement grey">
    <p:bg>
      <p:bgPr>
        <a:solidFill>
          <a:schemeClr val="bg1"/>
        </a:solidFill>
        <a:effectLst/>
      </p:bgPr>
    </p:bg>
    <p:spTree>
      <p:nvGrpSpPr>
        <p:cNvPr id="1" name=""/>
        <p:cNvGrpSpPr/>
        <p:nvPr/>
      </p:nvGrpSpPr>
      <p:grpSpPr>
        <a:xfrm>
          <a:off x="0" y="0"/>
          <a:ext cx="0" cy="0"/>
          <a:chOff x="0" y="0"/>
          <a:chExt cx="0" cy="0"/>
        </a:xfrm>
      </p:grpSpPr>
      <p:sp>
        <p:nvSpPr>
          <p:cNvPr id="11" name="Rectangle 1">
            <a:extLst>
              <a:ext uri="{FF2B5EF4-FFF2-40B4-BE49-F238E27FC236}">
                <a16:creationId xmlns:a16="http://schemas.microsoft.com/office/drawing/2014/main" id="{621A890B-FCAD-459F-85C3-170F72C364D8}"/>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1419228"/>
            <a:ext cx="8243888" cy="1327018"/>
          </a:xfrm>
        </p:spPr>
        <p:txBody>
          <a:bodyPr anchor="b" anchorCtr="0"/>
          <a:lstStyle>
            <a:lvl1pPr algn="ctr">
              <a:lnSpc>
                <a:spcPts val="3800"/>
              </a:lnSpc>
              <a:defRPr sz="3800"/>
            </a:lvl1pPr>
          </a:lstStyle>
          <a:p>
            <a:r>
              <a:rPr lang="en-US" noProof="0" dirty="0"/>
              <a:t>Big sentence with bold statement summarizing executive messag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3379608"/>
            <a:ext cx="8243888" cy="1352729"/>
          </a:xfrm>
          <a:prstGeom prst="rect">
            <a:avLst/>
          </a:prstGeom>
        </p:spPr>
        <p:txBody>
          <a:bodyPr/>
          <a:lstStyle>
            <a:lvl1pPr marL="0" indent="0" algn="ctr">
              <a:lnSpc>
                <a:spcPct val="100000"/>
              </a:lnSpc>
              <a:spcAft>
                <a:spcPts val="2100"/>
              </a:spcAft>
              <a:buNone/>
              <a:defRPr sz="1000" b="1" cap="all" spc="3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Key point number one</a:t>
            </a:r>
          </a:p>
          <a:p>
            <a:r>
              <a:rPr lang="en-US" noProof="0" dirty="0"/>
              <a:t>Key point number two</a:t>
            </a:r>
          </a:p>
          <a:p>
            <a:r>
              <a:rPr lang="en-US" noProof="0" dirty="0"/>
              <a:t>Key point number three</a:t>
            </a:r>
          </a:p>
        </p:txBody>
      </p:sp>
      <p:sp>
        <p:nvSpPr>
          <p:cNvPr id="6" name="Foliennummernplatzhalter 5">
            <a:extLst>
              <a:ext uri="{FF2B5EF4-FFF2-40B4-BE49-F238E27FC236}">
                <a16:creationId xmlns:a16="http://schemas.microsoft.com/office/drawing/2014/main" id="{39FCD354-850C-4324-B98D-797F6906904F}"/>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3494226" y="3000434"/>
            <a:ext cx="201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2" name="Textfeld 11">
            <a:extLst>
              <a:ext uri="{FF2B5EF4-FFF2-40B4-BE49-F238E27FC236}">
                <a16:creationId xmlns:a16="http://schemas.microsoft.com/office/drawing/2014/main" id="{C514BE64-53AF-4F2A-A94B-77D737EF7D19}"/>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4" name="Fußzeilenplatzhalter 3">
            <a:extLst>
              <a:ext uri="{FF2B5EF4-FFF2-40B4-BE49-F238E27FC236}">
                <a16:creationId xmlns:a16="http://schemas.microsoft.com/office/drawing/2014/main" id="{84CFA228-1696-4F16-9DB8-3D749E50643C}"/>
              </a:ext>
            </a:extLst>
          </p:cNvPr>
          <p:cNvSpPr>
            <a:spLocks noGrp="1"/>
          </p:cNvSpPr>
          <p:nvPr>
            <p:ph type="ftr" sz="quarter" idx="13"/>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446601584"/>
      </p:ext>
    </p:extLst>
  </p:cSld>
  <p:clrMapOvr>
    <a:masterClrMapping/>
  </p:clrMapOvr>
  <p:extLst>
    <p:ext uri="{DCECCB84-F9BA-43D5-87BE-67443E8EF086}">
      <p15:sldGuideLst xmlns:p15="http://schemas.microsoft.com/office/powerpoint/2012/main">
        <p15:guide id="1" pos="288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Statement go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1419228"/>
            <a:ext cx="8243888" cy="1327018"/>
          </a:xfrm>
        </p:spPr>
        <p:txBody>
          <a:bodyPr anchor="b" anchorCtr="0"/>
          <a:lstStyle>
            <a:lvl1pPr algn="ctr">
              <a:lnSpc>
                <a:spcPts val="3800"/>
              </a:lnSpc>
              <a:defRPr sz="3800">
                <a:solidFill>
                  <a:schemeClr val="bg1"/>
                </a:solidFill>
              </a:defRPr>
            </a:lvl1pPr>
          </a:lstStyle>
          <a:p>
            <a:r>
              <a:rPr lang="en-GB" noProof="0" dirty="0"/>
              <a:t>Big sentence with bold statement summarizing executive messag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3379608"/>
            <a:ext cx="8243888" cy="1352729"/>
          </a:xfrm>
          <a:prstGeom prst="rect">
            <a:avLst/>
          </a:prstGeom>
        </p:spPr>
        <p:txBody>
          <a:bodyPr/>
          <a:lstStyle>
            <a:lvl1pPr marL="0" indent="0" algn="ctr">
              <a:lnSpc>
                <a:spcPct val="100000"/>
              </a:lnSpc>
              <a:spcAft>
                <a:spcPts val="2100"/>
              </a:spcAft>
              <a:buNone/>
              <a:defRPr sz="1000" b="1" cap="all" spc="3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Key point number one</a:t>
            </a:r>
          </a:p>
          <a:p>
            <a:r>
              <a:rPr lang="en-US" noProof="0" dirty="0"/>
              <a:t>Key point number two</a:t>
            </a:r>
          </a:p>
          <a:p>
            <a:r>
              <a:rPr lang="en-US" noProof="0" dirty="0"/>
              <a:t>Key point number three</a:t>
            </a:r>
          </a:p>
        </p:txBody>
      </p:sp>
      <p:sp>
        <p:nvSpPr>
          <p:cNvPr id="6" name="Foliennummernplatzhalter 5">
            <a:extLst>
              <a:ext uri="{FF2B5EF4-FFF2-40B4-BE49-F238E27FC236}">
                <a16:creationId xmlns:a16="http://schemas.microsoft.com/office/drawing/2014/main" id="{39FCD354-850C-4324-B98D-797F6906904F}"/>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3494226" y="3000434"/>
            <a:ext cx="20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11" name="Textfeld 10">
            <a:extLst>
              <a:ext uri="{FF2B5EF4-FFF2-40B4-BE49-F238E27FC236}">
                <a16:creationId xmlns:a16="http://schemas.microsoft.com/office/drawing/2014/main" id="{FFF793EE-FF87-45BB-BD86-90F689A4C819}"/>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4" name="Fußzeilenplatzhalter 3">
            <a:extLst>
              <a:ext uri="{FF2B5EF4-FFF2-40B4-BE49-F238E27FC236}">
                <a16:creationId xmlns:a16="http://schemas.microsoft.com/office/drawing/2014/main" id="{9D9AF86F-1714-4CB6-A124-32D270F3F067}"/>
              </a:ext>
            </a:extLst>
          </p:cNvPr>
          <p:cNvSpPr>
            <a:spLocks noGrp="1"/>
          </p:cNvSpPr>
          <p:nvPr>
            <p:ph type="ftr" sz="quarter" idx="13"/>
          </p:nvPr>
        </p:nvSpPr>
        <p:spPr/>
        <p:txBody>
          <a:bodyPr/>
          <a:lstStyle/>
          <a:p>
            <a:r>
              <a:rPr lang="en-GB"/>
              <a:t>#AllAboutSports</a:t>
            </a:r>
            <a:endParaRPr lang="en-GB" dirty="0"/>
          </a:p>
        </p:txBody>
      </p:sp>
    </p:spTree>
    <p:extLst>
      <p:ext uri="{BB962C8B-B14F-4D97-AF65-F5344CB8AC3E}">
        <p14:creationId xmlns:p14="http://schemas.microsoft.com/office/powerpoint/2010/main" val="1429382138"/>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Statement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1419228"/>
            <a:ext cx="8243888" cy="1327018"/>
          </a:xfrm>
        </p:spPr>
        <p:txBody>
          <a:bodyPr anchor="b" anchorCtr="0"/>
          <a:lstStyle>
            <a:lvl1pPr algn="ctr">
              <a:lnSpc>
                <a:spcPts val="3800"/>
              </a:lnSpc>
              <a:defRPr sz="3800">
                <a:solidFill>
                  <a:schemeClr val="bg1"/>
                </a:solidFill>
              </a:defRPr>
            </a:lvl1pPr>
          </a:lstStyle>
          <a:p>
            <a:r>
              <a:rPr lang="en-GB" noProof="0" dirty="0"/>
              <a:t>Big sentence with bold statement summarizing executive messag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3379608"/>
            <a:ext cx="8243888" cy="1352729"/>
          </a:xfrm>
          <a:prstGeom prst="rect">
            <a:avLst/>
          </a:prstGeom>
        </p:spPr>
        <p:txBody>
          <a:bodyPr/>
          <a:lstStyle>
            <a:lvl1pPr marL="0" indent="0" algn="ctr">
              <a:lnSpc>
                <a:spcPct val="100000"/>
              </a:lnSpc>
              <a:spcAft>
                <a:spcPts val="2100"/>
              </a:spcAft>
              <a:buNone/>
              <a:defRPr sz="1000" b="1" cap="all" spc="3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Key point number one</a:t>
            </a:r>
          </a:p>
          <a:p>
            <a:r>
              <a:rPr lang="en-US" noProof="0" dirty="0"/>
              <a:t>Key point number two</a:t>
            </a:r>
          </a:p>
          <a:p>
            <a:r>
              <a:rPr lang="en-US" noProof="0" dirty="0"/>
              <a:t>Key point number three</a:t>
            </a:r>
          </a:p>
        </p:txBody>
      </p:sp>
      <p:sp>
        <p:nvSpPr>
          <p:cNvPr id="6" name="Foliennummernplatzhalter 5">
            <a:extLst>
              <a:ext uri="{FF2B5EF4-FFF2-40B4-BE49-F238E27FC236}">
                <a16:creationId xmlns:a16="http://schemas.microsoft.com/office/drawing/2014/main" id="{39FCD354-850C-4324-B98D-797F6906904F}"/>
              </a:ext>
            </a:extLst>
          </p:cNvPr>
          <p:cNvSpPr>
            <a:spLocks noGrp="1"/>
          </p:cNvSpPr>
          <p:nvPr>
            <p:ph type="sldNum" sz="quarter" idx="12"/>
          </p:nvPr>
        </p:nvSpPr>
        <p:spPr>
          <a:xfrm>
            <a:off x="7365818" y="4966290"/>
            <a:ext cx="1454331" cy="109493"/>
          </a:xfrm>
          <a:prstGeom prst="rect">
            <a:avLst/>
          </a:prstGeom>
        </p:spPr>
        <p:txBody>
          <a:bodyPr/>
          <a:lstStyle>
            <a:lvl1pPr>
              <a:defRPr>
                <a:solidFill>
                  <a:schemeClr val="bg1"/>
                </a:solidFill>
              </a:defRPr>
            </a:lvl1pPr>
          </a:lstStyle>
          <a:p>
            <a:fld id="{9B60B346-FC99-4236-B943-65AE761B958F}" type="slidenum">
              <a:rPr lang="de-CH" smtClean="0"/>
              <a:pPr/>
              <a:t>‹N°›</a:t>
            </a:fld>
            <a:endParaRPr lang="de-CH" dirty="0"/>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3494226" y="3000434"/>
            <a:ext cx="20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5">
            <a:extLst>
              <a:ext uri="{FF2B5EF4-FFF2-40B4-BE49-F238E27FC236}">
                <a16:creationId xmlns:a16="http://schemas.microsoft.com/office/drawing/2014/main" id="{631639D1-0C55-42AF-95C5-8ABD7C9964C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063831" y="0"/>
            <a:ext cx="756318" cy="381002"/>
          </a:xfrm>
          <a:prstGeom prst="rect">
            <a:avLst/>
          </a:prstGeom>
        </p:spPr>
      </p:pic>
      <p:sp>
        <p:nvSpPr>
          <p:cNvPr id="8" name="Textfeld 7">
            <a:extLst>
              <a:ext uri="{FF2B5EF4-FFF2-40B4-BE49-F238E27FC236}">
                <a16:creationId xmlns:a16="http://schemas.microsoft.com/office/drawing/2014/main" id="{35D4871D-2B46-4457-834D-BB124F73D257}"/>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chemeClr val="bg1"/>
                </a:solidFill>
              </a:rPr>
              <a:t>© Infront Sports &amp; Media AG │</a:t>
            </a:r>
            <a:endParaRPr lang="en-GB" sz="600" b="1" dirty="0">
              <a:solidFill>
                <a:schemeClr val="bg1"/>
              </a:solidFill>
            </a:endParaRPr>
          </a:p>
        </p:txBody>
      </p:sp>
      <p:sp>
        <p:nvSpPr>
          <p:cNvPr id="4" name="Fußzeilenplatzhalter 3">
            <a:extLst>
              <a:ext uri="{FF2B5EF4-FFF2-40B4-BE49-F238E27FC236}">
                <a16:creationId xmlns:a16="http://schemas.microsoft.com/office/drawing/2014/main" id="{2325306D-98CA-4E5B-A0AB-ACB7FE86B93E}"/>
              </a:ext>
            </a:extLst>
          </p:cNvPr>
          <p:cNvSpPr>
            <a:spLocks noGrp="1"/>
          </p:cNvSpPr>
          <p:nvPr>
            <p:ph type="ftr" sz="quarter" idx="13"/>
          </p:nvPr>
        </p:nvSpPr>
        <p:spPr/>
        <p:txBody>
          <a:bodyPr/>
          <a:lstStyle/>
          <a:p>
            <a:r>
              <a:rPr lang="en-GB"/>
              <a:t>#AllAboutSports</a:t>
            </a:r>
            <a:endParaRPr lang="en-GB" dirty="0"/>
          </a:p>
        </p:txBody>
      </p:sp>
    </p:spTree>
    <p:extLst>
      <p:ext uri="{BB962C8B-B14F-4D97-AF65-F5344CB8AC3E}">
        <p14:creationId xmlns:p14="http://schemas.microsoft.com/office/powerpoint/2010/main" val="553241327"/>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tatement picture">
    <p:bg>
      <p:bgPr>
        <a:solidFill>
          <a:schemeClr val="bg1">
            <a:lumMod val="85000"/>
          </a:schemeClr>
        </a:solidFill>
        <a:effectLst/>
      </p:bgPr>
    </p:bg>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262F1E39-90C8-44C7-8449-1A362B144A4F}"/>
              </a:ext>
            </a:extLst>
          </p:cNvPr>
          <p:cNvSpPr>
            <a:spLocks noGrp="1"/>
          </p:cNvSpPr>
          <p:nvPr>
            <p:ph type="pic" sz="quarter" idx="13" hasCustomPrompt="1"/>
          </p:nvPr>
        </p:nvSpPr>
        <p:spPr>
          <a:xfrm>
            <a:off x="0" y="0"/>
            <a:ext cx="9144000" cy="5143500"/>
          </a:xfrm>
          <a:custGeom>
            <a:avLst/>
            <a:gdLst>
              <a:gd name="connsiteX0" fmla="*/ 3494226 w 9144000"/>
              <a:gd name="connsiteY0" fmla="*/ 2995033 h 5143500"/>
              <a:gd name="connsiteX1" fmla="*/ 3494226 w 9144000"/>
              <a:gd name="connsiteY1" fmla="*/ 3005833 h 5143500"/>
              <a:gd name="connsiteX2" fmla="*/ 5510226 w 9144000"/>
              <a:gd name="connsiteY2" fmla="*/ 3005833 h 5143500"/>
              <a:gd name="connsiteX3" fmla="*/ 5510226 w 9144000"/>
              <a:gd name="connsiteY3" fmla="*/ 2995033 h 5143500"/>
              <a:gd name="connsiteX4" fmla="*/ 0 w 9144000"/>
              <a:gd name="connsiteY4" fmla="*/ 0 h 5143500"/>
              <a:gd name="connsiteX5" fmla="*/ 8064149 w 9144000"/>
              <a:gd name="connsiteY5" fmla="*/ 0 h 5143500"/>
              <a:gd name="connsiteX6" fmla="*/ 8064149 w 9144000"/>
              <a:gd name="connsiteY6" fmla="*/ 381193 h 5143500"/>
              <a:gd name="connsiteX7" fmla="*/ 8820149 w 9144000"/>
              <a:gd name="connsiteY7" fmla="*/ 381193 h 5143500"/>
              <a:gd name="connsiteX8" fmla="*/ 8820149 w 9144000"/>
              <a:gd name="connsiteY8" fmla="*/ 0 h 5143500"/>
              <a:gd name="connsiteX9" fmla="*/ 9144000 w 9144000"/>
              <a:gd name="connsiteY9" fmla="*/ 0 h 5143500"/>
              <a:gd name="connsiteX10" fmla="*/ 9144000 w 9144000"/>
              <a:gd name="connsiteY10" fmla="*/ 5143500 h 5143500"/>
              <a:gd name="connsiteX11" fmla="*/ 0 w 91440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4000" h="5143500">
                <a:moveTo>
                  <a:pt x="3494226" y="2995033"/>
                </a:moveTo>
                <a:lnTo>
                  <a:pt x="3494226" y="3005833"/>
                </a:lnTo>
                <a:lnTo>
                  <a:pt x="5510226" y="3005833"/>
                </a:lnTo>
                <a:lnTo>
                  <a:pt x="5510226" y="2995033"/>
                </a:lnTo>
                <a:close/>
                <a:moveTo>
                  <a:pt x="0" y="0"/>
                </a:moveTo>
                <a:lnTo>
                  <a:pt x="8064149" y="0"/>
                </a:lnTo>
                <a:lnTo>
                  <a:pt x="8064149" y="381193"/>
                </a:lnTo>
                <a:lnTo>
                  <a:pt x="8820149" y="381193"/>
                </a:lnTo>
                <a:lnTo>
                  <a:pt x="8820149" y="0"/>
                </a:lnTo>
                <a:lnTo>
                  <a:pt x="9144000" y="0"/>
                </a:lnTo>
                <a:lnTo>
                  <a:pt x="9144000" y="5143500"/>
                </a:lnTo>
                <a:lnTo>
                  <a:pt x="0" y="5143500"/>
                </a:lnTo>
                <a:close/>
              </a:path>
            </a:pathLst>
          </a:custGeom>
        </p:spPr>
        <p:txBody>
          <a:bodyPr wrap="square" tIns="90000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icon to add picture</a:t>
            </a:r>
          </a:p>
        </p:txBody>
      </p:sp>
      <p:sp>
        <p:nvSpPr>
          <p:cNvPr id="20" name="Freeform 19">
            <a:extLst>
              <a:ext uri="{FF2B5EF4-FFF2-40B4-BE49-F238E27FC236}">
                <a16:creationId xmlns:a16="http://schemas.microsoft.com/office/drawing/2014/main" id="{F725CEB3-FCED-BE48-A769-B92B368EA621}"/>
              </a:ext>
            </a:extLst>
          </p:cNvPr>
          <p:cNvSpPr>
            <a:spLocks noGrp="1"/>
          </p:cNvSpPr>
          <p:nvPr>
            <p:ph type="ctrTitle" hasCustomPrompt="1"/>
          </p:nvPr>
        </p:nvSpPr>
        <p:spPr>
          <a:xfrm>
            <a:off x="0" y="-1"/>
            <a:ext cx="9144000" cy="5143501"/>
          </a:xfrm>
          <a:custGeom>
            <a:avLst/>
            <a:gdLst>
              <a:gd name="connsiteX0" fmla="*/ 0 w 9144000"/>
              <a:gd name="connsiteY0" fmla="*/ 0 h 5143501"/>
              <a:gd name="connsiteX1" fmla="*/ 8064149 w 9144000"/>
              <a:gd name="connsiteY1" fmla="*/ 0 h 5143501"/>
              <a:gd name="connsiteX2" fmla="*/ 8064149 w 9144000"/>
              <a:gd name="connsiteY2" fmla="*/ 1 h 5143501"/>
              <a:gd name="connsiteX3" fmla="*/ 8064149 w 9144000"/>
              <a:gd name="connsiteY3" fmla="*/ 381196 h 5143501"/>
              <a:gd name="connsiteX4" fmla="*/ 8820149 w 9144000"/>
              <a:gd name="connsiteY4" fmla="*/ 381196 h 5143501"/>
              <a:gd name="connsiteX5" fmla="*/ 8820149 w 9144000"/>
              <a:gd name="connsiteY5" fmla="*/ 1 h 5143501"/>
              <a:gd name="connsiteX6" fmla="*/ 8820149 w 9144000"/>
              <a:gd name="connsiteY6" fmla="*/ 0 h 5143501"/>
              <a:gd name="connsiteX7" fmla="*/ 9144000 w 9144000"/>
              <a:gd name="connsiteY7" fmla="*/ 0 h 5143501"/>
              <a:gd name="connsiteX8" fmla="*/ 9144000 w 9144000"/>
              <a:gd name="connsiteY8" fmla="*/ 5143501 h 5143501"/>
              <a:gd name="connsiteX9" fmla="*/ 0 w 9144000"/>
              <a:gd name="connsiteY9" fmla="*/ 5143501 h 514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5143501">
                <a:moveTo>
                  <a:pt x="0" y="0"/>
                </a:moveTo>
                <a:lnTo>
                  <a:pt x="8064149" y="0"/>
                </a:lnTo>
                <a:lnTo>
                  <a:pt x="8064149" y="1"/>
                </a:lnTo>
                <a:lnTo>
                  <a:pt x="8064149" y="381196"/>
                </a:lnTo>
                <a:lnTo>
                  <a:pt x="8820149" y="381196"/>
                </a:lnTo>
                <a:lnTo>
                  <a:pt x="8820149" y="1"/>
                </a:lnTo>
                <a:lnTo>
                  <a:pt x="8820149" y="0"/>
                </a:lnTo>
                <a:lnTo>
                  <a:pt x="9144000" y="0"/>
                </a:lnTo>
                <a:lnTo>
                  <a:pt x="9144000" y="5143501"/>
                </a:lnTo>
                <a:lnTo>
                  <a:pt x="0" y="5143501"/>
                </a:lnTo>
                <a:close/>
              </a:path>
            </a:pathLst>
          </a:custGeom>
          <a:solidFill>
            <a:schemeClr val="tx1">
              <a:alpha val="40000"/>
            </a:schemeClr>
          </a:solidFill>
        </p:spPr>
        <p:txBody>
          <a:bodyPr wrap="square" bIns="2412000" anchor="b" anchorCtr="0">
            <a:noAutofit/>
          </a:bodyPr>
          <a:lstStyle>
            <a:lvl1pPr algn="ctr">
              <a:lnSpc>
                <a:spcPts val="3800"/>
              </a:lnSpc>
              <a:defRPr sz="3800">
                <a:solidFill>
                  <a:schemeClr val="bg1"/>
                </a:solidFill>
              </a:defRPr>
            </a:lvl1pPr>
          </a:lstStyle>
          <a:p>
            <a:r>
              <a:rPr lang="en-GB" noProof="0" dirty="0"/>
              <a:t>Big sentence with bold statement summarizing executive message</a:t>
            </a:r>
          </a:p>
        </p:txBody>
      </p:sp>
      <p:sp>
        <p:nvSpPr>
          <p:cNvPr id="6" name="Foliennummernplatzhalter 5">
            <a:extLst>
              <a:ext uri="{FF2B5EF4-FFF2-40B4-BE49-F238E27FC236}">
                <a16:creationId xmlns:a16="http://schemas.microsoft.com/office/drawing/2014/main" id="{39FCD354-850C-4324-B98D-797F6906904F}"/>
              </a:ext>
            </a:extLst>
          </p:cNvPr>
          <p:cNvSpPr>
            <a:spLocks noGrp="1"/>
          </p:cNvSpPr>
          <p:nvPr>
            <p:ph type="sldNum" sz="quarter" idx="12"/>
          </p:nvPr>
        </p:nvSpPr>
        <p:spPr>
          <a:xfrm>
            <a:off x="7365818" y="4966290"/>
            <a:ext cx="1454331" cy="109493"/>
          </a:xfrm>
          <a:prstGeom prst="rect">
            <a:avLst/>
          </a:prstGeom>
        </p:spPr>
        <p:txBody>
          <a:bodyPr/>
          <a:lstStyle>
            <a:lvl1pPr>
              <a:defRPr>
                <a:solidFill>
                  <a:schemeClr val="bg1"/>
                </a:solidFill>
              </a:defRPr>
            </a:lvl1pPr>
          </a:lstStyle>
          <a:p>
            <a:fld id="{9B60B346-FC99-4236-B943-65AE761B958F}" type="slidenum">
              <a:rPr lang="de-CH" smtClean="0"/>
              <a:pPr/>
              <a:t>‹N°›</a:t>
            </a:fld>
            <a:endParaRPr lang="de-CH" dirty="0"/>
          </a:p>
        </p:txBody>
      </p:sp>
      <p:sp>
        <p:nvSpPr>
          <p:cNvPr id="12" name="Textfeld 11">
            <a:extLst>
              <a:ext uri="{FF2B5EF4-FFF2-40B4-BE49-F238E27FC236}">
                <a16:creationId xmlns:a16="http://schemas.microsoft.com/office/drawing/2014/main" id="{2DAECC70-92F8-4B13-BD5B-4F9109572041}"/>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chemeClr val="bg1"/>
                </a:solidFill>
              </a:rPr>
              <a:t>© Infront Sports &amp; Media AG │</a:t>
            </a:r>
            <a:endParaRPr lang="en-GB" sz="600" b="1" dirty="0">
              <a:solidFill>
                <a:schemeClr val="bg1"/>
              </a:solidFill>
            </a:endParaRPr>
          </a:p>
        </p:txBody>
      </p:sp>
      <p:sp>
        <p:nvSpPr>
          <p:cNvPr id="4" name="Fußzeilenplatzhalter 3">
            <a:extLst>
              <a:ext uri="{FF2B5EF4-FFF2-40B4-BE49-F238E27FC236}">
                <a16:creationId xmlns:a16="http://schemas.microsoft.com/office/drawing/2014/main" id="{7D15B9AB-8FB6-4F7E-8D42-F8C071CC87E3}"/>
              </a:ext>
            </a:extLst>
          </p:cNvPr>
          <p:cNvSpPr>
            <a:spLocks noGrp="1"/>
          </p:cNvSpPr>
          <p:nvPr>
            <p:ph type="ftr" sz="quarter" idx="14"/>
          </p:nvPr>
        </p:nvSpPr>
        <p:spPr/>
        <p:txBody>
          <a:bodyPr/>
          <a:lstStyle/>
          <a:p>
            <a:r>
              <a:rPr lang="en-GB"/>
              <a:t>#AllAboutSports</a:t>
            </a:r>
            <a:endParaRPr lang="en-GB" dirty="0"/>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3379608"/>
            <a:ext cx="8243888" cy="1352729"/>
          </a:xfrm>
          <a:prstGeom prst="rect">
            <a:avLst/>
          </a:prstGeom>
        </p:spPr>
        <p:txBody>
          <a:bodyPr/>
          <a:lstStyle>
            <a:lvl1pPr marL="0" indent="0" algn="ctr">
              <a:lnSpc>
                <a:spcPct val="100000"/>
              </a:lnSpc>
              <a:spcAft>
                <a:spcPts val="2100"/>
              </a:spcAft>
              <a:buNone/>
              <a:defRPr sz="1000" cap="all" spc="3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Key point number one</a:t>
            </a:r>
          </a:p>
          <a:p>
            <a:r>
              <a:rPr lang="en-US" noProof="0" dirty="0"/>
              <a:t>Key point number two</a:t>
            </a:r>
          </a:p>
          <a:p>
            <a:r>
              <a:rPr lang="en-US" noProof="0" dirty="0"/>
              <a:t>Key point number three</a:t>
            </a:r>
          </a:p>
        </p:txBody>
      </p:sp>
      <p:pic>
        <p:nvPicPr>
          <p:cNvPr id="21" name="Grafik 7">
            <a:extLst>
              <a:ext uri="{FF2B5EF4-FFF2-40B4-BE49-F238E27FC236}">
                <a16:creationId xmlns:a16="http://schemas.microsoft.com/office/drawing/2014/main" id="{0BC66ECC-0163-B547-B9F3-745DDF646B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Tree>
    <p:extLst>
      <p:ext uri="{BB962C8B-B14F-4D97-AF65-F5344CB8AC3E}">
        <p14:creationId xmlns:p14="http://schemas.microsoft.com/office/powerpoint/2010/main" val="1706321456"/>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58EFD43-561D-4457-A607-61B7234F3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4" name="Rectangle 13">
            <a:extLst>
              <a:ext uri="{FF2B5EF4-FFF2-40B4-BE49-F238E27FC236}">
                <a16:creationId xmlns:a16="http://schemas.microsoft.com/office/drawing/2014/main" id="{D73FA8CD-5EAD-4A2F-A455-EA5374DB4206}"/>
              </a:ext>
            </a:extLst>
          </p:cNvPr>
          <p:cNvSpPr/>
          <p:nvPr userDrawn="1"/>
        </p:nvSpPr>
        <p:spPr bwMode="blackWhite">
          <a:xfrm>
            <a:off x="0" y="0"/>
            <a:ext cx="9144000" cy="5143500"/>
          </a:xfrm>
          <a:prstGeom prst="rect">
            <a:avLst/>
          </a:prstGeom>
          <a:solidFill>
            <a:schemeClr val="bg1">
              <a:alpha val="50000"/>
            </a:schemeClr>
          </a:solidFill>
          <a:ln>
            <a:noFill/>
          </a:ln>
          <a:effectLst/>
        </p:spPr>
        <p:txBody>
          <a:bodyPr rtlCol="0" anchor="ctr"/>
          <a:lstStyle/>
          <a:p>
            <a:pPr algn="l"/>
            <a:endParaRPr lang="en-GB"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a:cxnSpLocks/>
          </p:cNvCxnSpPr>
          <p:nvPr userDrawn="1"/>
        </p:nvCxnSpPr>
        <p:spPr>
          <a:xfrm>
            <a:off x="432000" y="1044000"/>
            <a:ext cx="84453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3" name="Fußzeilenplatzhalter 2">
            <a:extLst>
              <a:ext uri="{FF2B5EF4-FFF2-40B4-BE49-F238E27FC236}">
                <a16:creationId xmlns:a16="http://schemas.microsoft.com/office/drawing/2014/main" id="{60E6A884-82E7-406F-921A-FB19EB424BD2}"/>
              </a:ext>
            </a:extLst>
          </p:cNvPr>
          <p:cNvSpPr>
            <a:spLocks noGrp="1"/>
          </p:cNvSpPr>
          <p:nvPr>
            <p:ph type="ftr" sz="quarter" idx="14"/>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093626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845249"/>
            <a:ext cx="4320000" cy="1512000"/>
          </a:xfrm>
        </p:spPr>
        <p:txBody>
          <a:bodyPr anchor="b" anchorCtr="0"/>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2831332"/>
            <a:ext cx="4320000" cy="1241822"/>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431800" y="2535549"/>
            <a:ext cx="306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33CFFC0-7C50-4C2C-A557-39059CC3BA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800" y="4423578"/>
            <a:ext cx="1621656" cy="211223"/>
          </a:xfrm>
          <a:prstGeom prst="rect">
            <a:avLst/>
          </a:prstGeom>
        </p:spPr>
      </p:pic>
      <p:pic>
        <p:nvPicPr>
          <p:cNvPr id="8" name="Graphic 2">
            <a:extLst>
              <a:ext uri="{FF2B5EF4-FFF2-40B4-BE49-F238E27FC236}">
                <a16:creationId xmlns:a16="http://schemas.microsoft.com/office/drawing/2014/main" id="{5B48A011-E584-450F-B004-09C92316426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1" y="-2"/>
            <a:ext cx="1311769" cy="660816"/>
          </a:xfrm>
          <a:prstGeom prst="rect">
            <a:avLst/>
          </a:prstGeom>
        </p:spPr>
      </p:pic>
    </p:spTree>
    <p:extLst>
      <p:ext uri="{BB962C8B-B14F-4D97-AF65-F5344CB8AC3E}">
        <p14:creationId xmlns:p14="http://schemas.microsoft.com/office/powerpoint/2010/main" val="8130376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58EFD43-561D-4457-A607-61B7234F3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4" name="Rectangle 13">
            <a:extLst>
              <a:ext uri="{FF2B5EF4-FFF2-40B4-BE49-F238E27FC236}">
                <a16:creationId xmlns:a16="http://schemas.microsoft.com/office/drawing/2014/main" id="{D73FA8CD-5EAD-4A2F-A455-EA5374DB4206}"/>
              </a:ext>
            </a:extLst>
          </p:cNvPr>
          <p:cNvSpPr/>
          <p:nvPr userDrawn="1"/>
        </p:nvSpPr>
        <p:spPr bwMode="blackWhite">
          <a:xfrm>
            <a:off x="0" y="0"/>
            <a:ext cx="9144000" cy="5143500"/>
          </a:xfrm>
          <a:prstGeom prst="rect">
            <a:avLst/>
          </a:prstGeom>
          <a:solidFill>
            <a:schemeClr val="bg1">
              <a:alpha val="50000"/>
            </a:schemeClr>
          </a:solidFill>
          <a:ln>
            <a:noFill/>
          </a:ln>
          <a:effectLst/>
        </p:spPr>
        <p:txBody>
          <a:bodyPr rtlCol="0" anchor="ctr"/>
          <a:lstStyle/>
          <a:p>
            <a:pPr algn="l"/>
            <a:endParaRPr lang="en-GB"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299981"/>
            <a:ext cx="8243888" cy="612000"/>
          </a:xfrm>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783977"/>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3" name="Fußzeilenplatzhalter 2">
            <a:extLst>
              <a:ext uri="{FF2B5EF4-FFF2-40B4-BE49-F238E27FC236}">
                <a16:creationId xmlns:a16="http://schemas.microsoft.com/office/drawing/2014/main" id="{60E6A884-82E7-406F-921A-FB19EB424BD2}"/>
              </a:ext>
            </a:extLst>
          </p:cNvPr>
          <p:cNvSpPr>
            <a:spLocks noGrp="1"/>
          </p:cNvSpPr>
          <p:nvPr>
            <p:ph type="ftr" sz="quarter" idx="14"/>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3408235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299981"/>
            <a:ext cx="8243888" cy="612000"/>
          </a:xfrm>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783977"/>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3" name="Fußzeilenplatzhalter 2">
            <a:extLst>
              <a:ext uri="{FF2B5EF4-FFF2-40B4-BE49-F238E27FC236}">
                <a16:creationId xmlns:a16="http://schemas.microsoft.com/office/drawing/2014/main" id="{60E6A884-82E7-406F-921A-FB19EB424BD2}"/>
              </a:ext>
            </a:extLst>
          </p:cNvPr>
          <p:cNvSpPr>
            <a:spLocks noGrp="1"/>
          </p:cNvSpPr>
          <p:nvPr>
            <p:ph type="ftr" sz="quarter" idx="14"/>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9040154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10" name="Textplatzhalter 9">
            <a:extLst>
              <a:ext uri="{FF2B5EF4-FFF2-40B4-BE49-F238E27FC236}">
                <a16:creationId xmlns:a16="http://schemas.microsoft.com/office/drawing/2014/main" id="{6195F143-5523-4432-9E90-20D6807D384B}"/>
              </a:ext>
            </a:extLst>
          </p:cNvPr>
          <p:cNvSpPr>
            <a:spLocks noGrp="1"/>
          </p:cNvSpPr>
          <p:nvPr>
            <p:ph type="body" sz="quarter" idx="15" hasCustomPrompt="1"/>
          </p:nvPr>
        </p:nvSpPr>
        <p:spPr>
          <a:xfrm>
            <a:off x="431800" y="1419225"/>
            <a:ext cx="3960000" cy="288000"/>
          </a:xfrm>
          <a:prstGeom prst="rect">
            <a:avLst/>
          </a:prstGeom>
        </p:spPr>
        <p:txBody>
          <a:bodyPr/>
          <a:lstStyle>
            <a:lvl1pPr>
              <a:defRPr sz="1000" b="1" cap="all" spc="100" baseline="0"/>
            </a:lvl1pPr>
            <a:lvl2pPr>
              <a:defRPr sz="1000" cap="all" spc="550" baseline="0"/>
            </a:lvl2pPr>
            <a:lvl3pPr>
              <a:defRPr sz="1000" cap="all" spc="550" baseline="0"/>
            </a:lvl3pPr>
            <a:lvl4pPr>
              <a:defRPr sz="1000" cap="all" spc="550" baseline="0"/>
            </a:lvl4pPr>
            <a:lvl5pPr>
              <a:defRPr sz="1000" cap="all" spc="550" baseline="0"/>
            </a:lvl5pPr>
          </a:lstStyle>
          <a:p>
            <a:pPr lvl="0"/>
            <a:r>
              <a:rPr lang="en-US" noProof="0" dirty="0"/>
              <a:t>SUBHEADER 01</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780338"/>
            <a:ext cx="3960000" cy="2952000"/>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cxnSp>
        <p:nvCxnSpPr>
          <p:cNvPr id="17" name="Gerader Verbinder 16">
            <a:extLst>
              <a:ext uri="{FF2B5EF4-FFF2-40B4-BE49-F238E27FC236}">
                <a16:creationId xmlns:a16="http://schemas.microsoft.com/office/drawing/2014/main" id="{9FE20284-0674-49C9-8A68-BDA474EF1C53}"/>
              </a:ext>
            </a:extLst>
          </p:cNvPr>
          <p:cNvCxnSpPr/>
          <p:nvPr userDrawn="1"/>
        </p:nvCxnSpPr>
        <p:spPr>
          <a:xfrm>
            <a:off x="432000" y="1632278"/>
            <a:ext cx="39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9">
            <a:extLst>
              <a:ext uri="{FF2B5EF4-FFF2-40B4-BE49-F238E27FC236}">
                <a16:creationId xmlns:a16="http://schemas.microsoft.com/office/drawing/2014/main" id="{6F869C3A-B020-444C-AFD1-EFD612D2E80E}"/>
              </a:ext>
            </a:extLst>
          </p:cNvPr>
          <p:cNvSpPr>
            <a:spLocks noGrp="1"/>
          </p:cNvSpPr>
          <p:nvPr>
            <p:ph type="body" sz="quarter" idx="16" hasCustomPrompt="1"/>
          </p:nvPr>
        </p:nvSpPr>
        <p:spPr>
          <a:xfrm>
            <a:off x="4714334" y="1419225"/>
            <a:ext cx="3960000" cy="288000"/>
          </a:xfrm>
          <a:prstGeom prst="rect">
            <a:avLst/>
          </a:prstGeom>
        </p:spPr>
        <p:txBody>
          <a:bodyPr/>
          <a:lstStyle>
            <a:lvl1pPr>
              <a:defRPr sz="1000" b="1" cap="all" spc="100" baseline="0"/>
            </a:lvl1pPr>
            <a:lvl2pPr>
              <a:defRPr sz="1000" cap="all" spc="550" baseline="0"/>
            </a:lvl2pPr>
            <a:lvl3pPr>
              <a:defRPr sz="1000" cap="all" spc="550" baseline="0"/>
            </a:lvl3pPr>
            <a:lvl4pPr>
              <a:defRPr sz="1000" cap="all" spc="550" baseline="0"/>
            </a:lvl4pPr>
            <a:lvl5pPr>
              <a:defRPr sz="1000" cap="all" spc="550" baseline="0"/>
            </a:lvl5pPr>
          </a:lstStyle>
          <a:p>
            <a:pPr lvl="0"/>
            <a:r>
              <a:rPr lang="en-US" noProof="0" dirty="0"/>
              <a:t>SUBHEADER 02</a:t>
            </a:r>
          </a:p>
        </p:txBody>
      </p:sp>
      <p:sp>
        <p:nvSpPr>
          <p:cNvPr id="19" name="Inhaltsplatzhalter 2">
            <a:extLst>
              <a:ext uri="{FF2B5EF4-FFF2-40B4-BE49-F238E27FC236}">
                <a16:creationId xmlns:a16="http://schemas.microsoft.com/office/drawing/2014/main" id="{B720C857-1E35-44B4-8143-84D9F34AF047}"/>
              </a:ext>
            </a:extLst>
          </p:cNvPr>
          <p:cNvSpPr>
            <a:spLocks noGrp="1"/>
          </p:cNvSpPr>
          <p:nvPr>
            <p:ph idx="17" hasCustomPrompt="1"/>
          </p:nvPr>
        </p:nvSpPr>
        <p:spPr>
          <a:xfrm>
            <a:off x="4715688" y="1780338"/>
            <a:ext cx="3960000" cy="2952000"/>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cxnSp>
        <p:nvCxnSpPr>
          <p:cNvPr id="20" name="Gerader Verbinder 19">
            <a:extLst>
              <a:ext uri="{FF2B5EF4-FFF2-40B4-BE49-F238E27FC236}">
                <a16:creationId xmlns:a16="http://schemas.microsoft.com/office/drawing/2014/main" id="{0801D24B-DA3B-4874-BAA5-01FCEB7CC094}"/>
              </a:ext>
            </a:extLst>
          </p:cNvPr>
          <p:cNvCxnSpPr/>
          <p:nvPr userDrawn="1"/>
        </p:nvCxnSpPr>
        <p:spPr>
          <a:xfrm>
            <a:off x="4714534" y="1632278"/>
            <a:ext cx="39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ußzeilenplatzhalter 3">
            <a:extLst>
              <a:ext uri="{FF2B5EF4-FFF2-40B4-BE49-F238E27FC236}">
                <a16:creationId xmlns:a16="http://schemas.microsoft.com/office/drawing/2014/main" id="{0B3AB4DC-2B27-4BBC-B870-D5D8ED2D7693}"/>
              </a:ext>
            </a:extLst>
          </p:cNvPr>
          <p:cNvSpPr>
            <a:spLocks noGrp="1"/>
          </p:cNvSpPr>
          <p:nvPr>
            <p:ph type="ftr" sz="quarter" idx="18"/>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5270582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with box">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419226"/>
            <a:ext cx="3960000" cy="3312512"/>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8" name="Textplatzhalter 6">
            <a:extLst>
              <a:ext uri="{FF2B5EF4-FFF2-40B4-BE49-F238E27FC236}">
                <a16:creationId xmlns:a16="http://schemas.microsoft.com/office/drawing/2014/main" id="{502E6BAD-6E4E-4D07-A82A-780F6E283F64}"/>
              </a:ext>
            </a:extLst>
          </p:cNvPr>
          <p:cNvSpPr>
            <a:spLocks noGrp="1"/>
          </p:cNvSpPr>
          <p:nvPr>
            <p:ph type="body" sz="quarter" idx="18" hasCustomPrompt="1"/>
          </p:nvPr>
        </p:nvSpPr>
        <p:spPr>
          <a:xfrm>
            <a:off x="5651688" y="1276350"/>
            <a:ext cx="3024000" cy="3455988"/>
          </a:xfrm>
          <a:custGeom>
            <a:avLst/>
            <a:gdLst>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000" h="3455988">
                <a:moveTo>
                  <a:pt x="0" y="0"/>
                </a:moveTo>
                <a:lnTo>
                  <a:pt x="3024000" y="0"/>
                </a:lnTo>
                <a:lnTo>
                  <a:pt x="3024000" y="3455988"/>
                </a:lnTo>
                <a:lnTo>
                  <a:pt x="0" y="3455988"/>
                </a:lnTo>
                <a:lnTo>
                  <a:pt x="0" y="0"/>
                </a:lnTo>
                <a:close/>
              </a:path>
            </a:pathLst>
          </a:custGeom>
          <a:solidFill>
            <a:schemeClr val="accent5"/>
          </a:solidFill>
        </p:spPr>
        <p:txBody>
          <a:bodyPr lIns="144000" tIns="144000" rIns="144000" bIns="144000"/>
          <a:lstStyle>
            <a:lvl1pPr>
              <a:defRPr sz="1000" b="1" cap="all" spc="1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SUBHEADER 01</a:t>
            </a:r>
            <a:endParaRPr lang="en-GB" dirty="0"/>
          </a:p>
        </p:txBody>
      </p:sp>
      <p:sp>
        <p:nvSpPr>
          <p:cNvPr id="19" name="Inhaltsplatzhalter 2">
            <a:extLst>
              <a:ext uri="{FF2B5EF4-FFF2-40B4-BE49-F238E27FC236}">
                <a16:creationId xmlns:a16="http://schemas.microsoft.com/office/drawing/2014/main" id="{CCF51AAC-2B62-472D-A6F1-28123342252B}"/>
              </a:ext>
            </a:extLst>
          </p:cNvPr>
          <p:cNvSpPr>
            <a:spLocks noGrp="1"/>
          </p:cNvSpPr>
          <p:nvPr>
            <p:ph idx="17" hasCustomPrompt="1"/>
          </p:nvPr>
        </p:nvSpPr>
        <p:spPr>
          <a:xfrm>
            <a:off x="5801685" y="1706179"/>
            <a:ext cx="2735999" cy="2848430"/>
          </a:xfrm>
          <a:prstGeom prst="rect">
            <a:avLst/>
          </a:prstGeom>
          <a:ln>
            <a:noFill/>
          </a:ln>
        </p:spPr>
        <p:txBody>
          <a:bodyPr/>
          <a:lstStyle>
            <a:lvl1pPr>
              <a:defRPr sz="1000">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vl6pPr>
              <a:defRPr sz="1000">
                <a:solidFill>
                  <a:schemeClr val="bg2"/>
                </a:solidFill>
              </a:defRPr>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4" name="Fußzeilenplatzhalter 3">
            <a:extLst>
              <a:ext uri="{FF2B5EF4-FFF2-40B4-BE49-F238E27FC236}">
                <a16:creationId xmlns:a16="http://schemas.microsoft.com/office/drawing/2014/main" id="{881FCF14-A16C-4C7A-8B50-9ADC5F9767E5}"/>
              </a:ext>
            </a:extLst>
          </p:cNvPr>
          <p:cNvSpPr>
            <a:spLocks noGrp="1"/>
          </p:cNvSpPr>
          <p:nvPr>
            <p:ph type="ftr" sz="quarter" idx="19"/>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644072245"/>
      </p:ext>
    </p:extLst>
  </p:cSld>
  <p:clrMapOvr>
    <a:masterClrMapping/>
  </p:clrMapOvr>
  <p:extLst>
    <p:ext uri="{DCECCB84-F9BA-43D5-87BE-67443E8EF086}">
      <p15:sldGuideLst xmlns:p15="http://schemas.microsoft.com/office/powerpoint/2012/main">
        <p15:guide id="1" orient="horz" pos="804"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with picture right">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008E9E1E-14EA-4E11-85B9-ED9C90AD9829}"/>
              </a:ext>
            </a:extLst>
          </p:cNvPr>
          <p:cNvSpPr>
            <a:spLocks noGrp="1"/>
          </p:cNvSpPr>
          <p:nvPr>
            <p:ph type="pic" sz="quarter" idx="13" hasCustomPrompt="1"/>
          </p:nvPr>
        </p:nvSpPr>
        <p:spPr>
          <a:xfrm>
            <a:off x="4845965" y="-3563"/>
            <a:ext cx="4305152" cy="5147058"/>
          </a:xfrm>
          <a:custGeom>
            <a:avLst/>
            <a:gdLst>
              <a:gd name="connsiteX0" fmla="*/ 3218185 w 4305152"/>
              <a:gd name="connsiteY0" fmla="*/ 3563 h 5147058"/>
              <a:gd name="connsiteX1" fmla="*/ 3218185 w 4305152"/>
              <a:gd name="connsiteY1" fmla="*/ 385163 h 5147058"/>
              <a:gd name="connsiteX2" fmla="*/ 3974185 w 4305152"/>
              <a:gd name="connsiteY2" fmla="*/ 385163 h 5147058"/>
              <a:gd name="connsiteX3" fmla="*/ 3974185 w 4305152"/>
              <a:gd name="connsiteY3" fmla="*/ 3563 h 5147058"/>
              <a:gd name="connsiteX4" fmla="*/ 4305152 w 4305152"/>
              <a:gd name="connsiteY4" fmla="*/ 0 h 5147058"/>
              <a:gd name="connsiteX5" fmla="*/ 4298036 w 4305152"/>
              <a:gd name="connsiteY5" fmla="*/ 5147058 h 5147058"/>
              <a:gd name="connsiteX6" fmla="*/ 0 w 4305152"/>
              <a:gd name="connsiteY6" fmla="*/ 5147058 h 5147058"/>
              <a:gd name="connsiteX7" fmla="*/ 1754083 w 4305152"/>
              <a:gd name="connsiteY7" fmla="*/ 3558 h 514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5152" h="5147058">
                <a:moveTo>
                  <a:pt x="3218185" y="3563"/>
                </a:moveTo>
                <a:lnTo>
                  <a:pt x="3218185" y="385163"/>
                </a:lnTo>
                <a:lnTo>
                  <a:pt x="3974185" y="385163"/>
                </a:lnTo>
                <a:lnTo>
                  <a:pt x="3974185" y="3563"/>
                </a:lnTo>
                <a:close/>
                <a:moveTo>
                  <a:pt x="4305152" y="0"/>
                </a:moveTo>
                <a:lnTo>
                  <a:pt x="4298036" y="5147058"/>
                </a:lnTo>
                <a:lnTo>
                  <a:pt x="0" y="5147058"/>
                </a:lnTo>
                <a:lnTo>
                  <a:pt x="1754083" y="3558"/>
                </a:lnTo>
                <a:close/>
              </a:path>
            </a:pathLst>
          </a:custGeom>
          <a:ln>
            <a:noFill/>
          </a:ln>
        </p:spPr>
        <p:txBody>
          <a:bodyPr wrap="square" tIns="1980000" rIns="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Click icon to add picture</a:t>
            </a:r>
          </a:p>
        </p:txBody>
      </p:sp>
      <p:sp>
        <p:nvSpPr>
          <p:cNvPr id="4" name="Rechteck 3">
            <a:extLst>
              <a:ext uri="{FF2B5EF4-FFF2-40B4-BE49-F238E27FC236}">
                <a16:creationId xmlns:a16="http://schemas.microsoft.com/office/drawing/2014/main" id="{90056FCF-836C-44E2-9DF2-C633DABA911E}"/>
              </a:ext>
            </a:extLst>
          </p:cNvPr>
          <p:cNvSpPr/>
          <p:nvPr userDrawn="1"/>
        </p:nvSpPr>
        <p:spPr>
          <a:xfrm>
            <a:off x="0" y="0"/>
            <a:ext cx="6600551" cy="5143500"/>
          </a:xfrm>
          <a:custGeom>
            <a:avLst/>
            <a:gdLst>
              <a:gd name="connsiteX0" fmla="*/ 0 w 4844764"/>
              <a:gd name="connsiteY0" fmla="*/ 0 h 5143500"/>
              <a:gd name="connsiteX1" fmla="*/ 4844764 w 4844764"/>
              <a:gd name="connsiteY1" fmla="*/ 0 h 5143500"/>
              <a:gd name="connsiteX2" fmla="*/ 4844764 w 4844764"/>
              <a:gd name="connsiteY2" fmla="*/ 5143500 h 5143500"/>
              <a:gd name="connsiteX3" fmla="*/ 0 w 4844764"/>
              <a:gd name="connsiteY3" fmla="*/ 5143500 h 5143500"/>
              <a:gd name="connsiteX4" fmla="*/ 0 w 4844764"/>
              <a:gd name="connsiteY4" fmla="*/ 0 h 5143500"/>
              <a:gd name="connsiteX0" fmla="*/ 0 w 6600551"/>
              <a:gd name="connsiteY0" fmla="*/ 0 h 5143500"/>
              <a:gd name="connsiteX1" fmla="*/ 6600551 w 6600551"/>
              <a:gd name="connsiteY1" fmla="*/ 0 h 5143500"/>
              <a:gd name="connsiteX2" fmla="*/ 4844764 w 6600551"/>
              <a:gd name="connsiteY2" fmla="*/ 5143500 h 5143500"/>
              <a:gd name="connsiteX3" fmla="*/ 0 w 6600551"/>
              <a:gd name="connsiteY3" fmla="*/ 5143500 h 5143500"/>
              <a:gd name="connsiteX4" fmla="*/ 0 w 6600551"/>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0551" h="5143500">
                <a:moveTo>
                  <a:pt x="0" y="0"/>
                </a:moveTo>
                <a:lnTo>
                  <a:pt x="6600551" y="0"/>
                </a:lnTo>
                <a:lnTo>
                  <a:pt x="4844764" y="5143500"/>
                </a:lnTo>
                <a:lnTo>
                  <a:pt x="0" y="5143500"/>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5" y="1419226"/>
            <a:ext cx="4305152" cy="3312512"/>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Fußzeilenplatzhalter 4">
            <a:extLst>
              <a:ext uri="{FF2B5EF4-FFF2-40B4-BE49-F238E27FC236}">
                <a16:creationId xmlns:a16="http://schemas.microsoft.com/office/drawing/2014/main" id="{512C81E2-A44C-49B2-B09C-AA570D2E4725}"/>
              </a:ext>
            </a:extLst>
          </p:cNvPr>
          <p:cNvSpPr>
            <a:spLocks noGrp="1"/>
          </p:cNvSpPr>
          <p:nvPr>
            <p:ph type="ftr" sz="quarter" idx="14"/>
          </p:nvPr>
        </p:nvSpPr>
        <p:spPr/>
        <p:txBody>
          <a:bodyPr/>
          <a:lstStyle/>
          <a:p>
            <a:r>
              <a:rPr lang="en-GB"/>
              <a:t>#AllAboutSports</a:t>
            </a:r>
            <a:endParaRPr lang="en-GB" dirty="0"/>
          </a:p>
        </p:txBody>
      </p:sp>
    </p:spTree>
    <p:extLst>
      <p:ext uri="{BB962C8B-B14F-4D97-AF65-F5344CB8AC3E}">
        <p14:creationId xmlns:p14="http://schemas.microsoft.com/office/powerpoint/2010/main" val="7489050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with picture left">
    <p:bg>
      <p:bgPr>
        <a:solidFill>
          <a:schemeClr val="bg1"/>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056FCF-836C-44E2-9DF2-C633DABA911E}"/>
              </a:ext>
            </a:extLst>
          </p:cNvPr>
          <p:cNvSpPr/>
          <p:nvPr userDrawn="1"/>
        </p:nvSpPr>
        <p:spPr>
          <a:xfrm flipH="1" flipV="1">
            <a:off x="2542094" y="0"/>
            <a:ext cx="6600551" cy="5143500"/>
          </a:xfrm>
          <a:custGeom>
            <a:avLst/>
            <a:gdLst>
              <a:gd name="connsiteX0" fmla="*/ 0 w 4844764"/>
              <a:gd name="connsiteY0" fmla="*/ 0 h 5143500"/>
              <a:gd name="connsiteX1" fmla="*/ 4844764 w 4844764"/>
              <a:gd name="connsiteY1" fmla="*/ 0 h 5143500"/>
              <a:gd name="connsiteX2" fmla="*/ 4844764 w 4844764"/>
              <a:gd name="connsiteY2" fmla="*/ 5143500 h 5143500"/>
              <a:gd name="connsiteX3" fmla="*/ 0 w 4844764"/>
              <a:gd name="connsiteY3" fmla="*/ 5143500 h 5143500"/>
              <a:gd name="connsiteX4" fmla="*/ 0 w 4844764"/>
              <a:gd name="connsiteY4" fmla="*/ 0 h 5143500"/>
              <a:gd name="connsiteX0" fmla="*/ 0 w 6600551"/>
              <a:gd name="connsiteY0" fmla="*/ 0 h 5143500"/>
              <a:gd name="connsiteX1" fmla="*/ 6600551 w 6600551"/>
              <a:gd name="connsiteY1" fmla="*/ 0 h 5143500"/>
              <a:gd name="connsiteX2" fmla="*/ 4844764 w 6600551"/>
              <a:gd name="connsiteY2" fmla="*/ 5143500 h 5143500"/>
              <a:gd name="connsiteX3" fmla="*/ 0 w 6600551"/>
              <a:gd name="connsiteY3" fmla="*/ 5143500 h 5143500"/>
              <a:gd name="connsiteX4" fmla="*/ 0 w 6600551"/>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0551" h="5143500">
                <a:moveTo>
                  <a:pt x="0" y="0"/>
                </a:moveTo>
                <a:lnTo>
                  <a:pt x="6600551" y="0"/>
                </a:lnTo>
                <a:lnTo>
                  <a:pt x="4844764" y="5143500"/>
                </a:lnTo>
                <a:lnTo>
                  <a:pt x="0" y="51435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464000" y="941082"/>
            <a:ext cx="4356150" cy="612000"/>
          </a:xfrm>
        </p:spPr>
        <p:txBody>
          <a:bodyPr/>
          <a:lstStyle>
            <a:lvl1pPr>
              <a:defRPr/>
            </a:lvl1pPr>
          </a:lstStyle>
          <a:p>
            <a:r>
              <a:rPr lang="en-US" noProof="0" dirty="0"/>
              <a:t>Click to edit master text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464000" y="1733244"/>
            <a:ext cx="4212000" cy="2988000"/>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en-US" noProof="0" smtClean="0"/>
              <a:t>‹N°›</a:t>
            </a:fld>
            <a:endParaRPr lang="en-US" noProof="0"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464000" y="1358019"/>
            <a:ext cx="421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en-US" sz="600" b="1" noProof="0" dirty="0">
                <a:solidFill>
                  <a:srgbClr val="686A6E"/>
                </a:solidFill>
              </a:rPr>
              <a:t>© Infront Sports &amp; Media AG │</a:t>
            </a:r>
          </a:p>
        </p:txBody>
      </p:sp>
      <p:sp>
        <p:nvSpPr>
          <p:cNvPr id="11" name="Bildplatzhalter 3">
            <a:extLst>
              <a:ext uri="{FF2B5EF4-FFF2-40B4-BE49-F238E27FC236}">
                <a16:creationId xmlns:a16="http://schemas.microsoft.com/office/drawing/2014/main" id="{ED4666AA-DA85-4857-AB03-1DDA2BE68625}"/>
              </a:ext>
            </a:extLst>
          </p:cNvPr>
          <p:cNvSpPr>
            <a:spLocks noGrp="1"/>
          </p:cNvSpPr>
          <p:nvPr>
            <p:ph type="pic" sz="quarter" idx="17" hasCustomPrompt="1"/>
          </p:nvPr>
        </p:nvSpPr>
        <p:spPr>
          <a:xfrm>
            <a:off x="-1784" y="-6594"/>
            <a:ext cx="4297024" cy="5152292"/>
          </a:xfrm>
          <a:custGeom>
            <a:avLst/>
            <a:gdLst>
              <a:gd name="connsiteX0" fmla="*/ 714789 w 4288646"/>
              <a:gd name="connsiteY0" fmla="*/ 0 h 5143500"/>
              <a:gd name="connsiteX1" fmla="*/ 3573857 w 4288646"/>
              <a:gd name="connsiteY1" fmla="*/ 0 h 5143500"/>
              <a:gd name="connsiteX2" fmla="*/ 4288646 w 4288646"/>
              <a:gd name="connsiteY2" fmla="*/ 714789 h 5143500"/>
              <a:gd name="connsiteX3" fmla="*/ 4288646 w 4288646"/>
              <a:gd name="connsiteY3" fmla="*/ 5143500 h 5143500"/>
              <a:gd name="connsiteX4" fmla="*/ 4288646 w 4288646"/>
              <a:gd name="connsiteY4" fmla="*/ 5143500 h 5143500"/>
              <a:gd name="connsiteX5" fmla="*/ 0 w 4288646"/>
              <a:gd name="connsiteY5" fmla="*/ 5143500 h 5143500"/>
              <a:gd name="connsiteX6" fmla="*/ 0 w 4288646"/>
              <a:gd name="connsiteY6" fmla="*/ 5143500 h 5143500"/>
              <a:gd name="connsiteX7" fmla="*/ 0 w 4288646"/>
              <a:gd name="connsiteY7" fmla="*/ 714789 h 5143500"/>
              <a:gd name="connsiteX8" fmla="*/ 714789 w 4288646"/>
              <a:gd name="connsiteY8" fmla="*/ 0 h 5143500"/>
              <a:gd name="connsiteX0" fmla="*/ 714789 w 4288646"/>
              <a:gd name="connsiteY0" fmla="*/ 0 h 5145698"/>
              <a:gd name="connsiteX1" fmla="*/ 3573857 w 4288646"/>
              <a:gd name="connsiteY1" fmla="*/ 0 h 5145698"/>
              <a:gd name="connsiteX2" fmla="*/ 4288646 w 4288646"/>
              <a:gd name="connsiteY2" fmla="*/ 714789 h 5145698"/>
              <a:gd name="connsiteX3" fmla="*/ 4288646 w 4288646"/>
              <a:gd name="connsiteY3" fmla="*/ 5143500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576469 w 4288646"/>
              <a:gd name="connsiteY3" fmla="*/ 4908306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097289 w 4288646"/>
              <a:gd name="connsiteY3" fmla="*/ 4890721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266540 w 4288646"/>
              <a:gd name="connsiteY3" fmla="*/ 3020158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95240"/>
              <a:gd name="connsiteY0" fmla="*/ 0 h 5145698"/>
              <a:gd name="connsiteX1" fmla="*/ 3573857 w 4295240"/>
              <a:gd name="connsiteY1" fmla="*/ 0 h 5145698"/>
              <a:gd name="connsiteX2" fmla="*/ 4295240 w 4295240"/>
              <a:gd name="connsiteY2" fmla="*/ 414 h 5145698"/>
              <a:gd name="connsiteX3" fmla="*/ 3266540 w 4295240"/>
              <a:gd name="connsiteY3" fmla="*/ 3020158 h 5145698"/>
              <a:gd name="connsiteX4" fmla="*/ 2534580 w 4295240"/>
              <a:gd name="connsiteY4" fmla="*/ 5145698 h 5145698"/>
              <a:gd name="connsiteX5" fmla="*/ 0 w 4295240"/>
              <a:gd name="connsiteY5" fmla="*/ 5143500 h 5145698"/>
              <a:gd name="connsiteX6" fmla="*/ 0 w 4295240"/>
              <a:gd name="connsiteY6" fmla="*/ 5143500 h 5145698"/>
              <a:gd name="connsiteX7" fmla="*/ 0 w 4295240"/>
              <a:gd name="connsiteY7" fmla="*/ 714789 h 5145698"/>
              <a:gd name="connsiteX8" fmla="*/ 714789 w 4295240"/>
              <a:gd name="connsiteY8" fmla="*/ 0 h 5145698"/>
              <a:gd name="connsiteX0" fmla="*/ 0 w 4297024"/>
              <a:gd name="connsiteY0" fmla="*/ 0 h 5152292"/>
              <a:gd name="connsiteX1" fmla="*/ 3575641 w 4297024"/>
              <a:gd name="connsiteY1" fmla="*/ 6594 h 5152292"/>
              <a:gd name="connsiteX2" fmla="*/ 4297024 w 4297024"/>
              <a:gd name="connsiteY2" fmla="*/ 7008 h 5152292"/>
              <a:gd name="connsiteX3" fmla="*/ 3268324 w 4297024"/>
              <a:gd name="connsiteY3" fmla="*/ 3026752 h 5152292"/>
              <a:gd name="connsiteX4" fmla="*/ 2536364 w 4297024"/>
              <a:gd name="connsiteY4" fmla="*/ 5152292 h 5152292"/>
              <a:gd name="connsiteX5" fmla="*/ 1784 w 4297024"/>
              <a:gd name="connsiteY5" fmla="*/ 5150094 h 5152292"/>
              <a:gd name="connsiteX6" fmla="*/ 1784 w 4297024"/>
              <a:gd name="connsiteY6" fmla="*/ 5150094 h 5152292"/>
              <a:gd name="connsiteX7" fmla="*/ 1784 w 4297024"/>
              <a:gd name="connsiteY7" fmla="*/ 721383 h 5152292"/>
              <a:gd name="connsiteX8" fmla="*/ 0 w 4297024"/>
              <a:gd name="connsiteY8" fmla="*/ 0 h 515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7024" h="5152292">
                <a:moveTo>
                  <a:pt x="0" y="0"/>
                </a:moveTo>
                <a:lnTo>
                  <a:pt x="3575641" y="6594"/>
                </a:lnTo>
                <a:lnTo>
                  <a:pt x="4297024" y="7008"/>
                </a:lnTo>
                <a:lnTo>
                  <a:pt x="3268324" y="3026752"/>
                </a:lnTo>
                <a:lnTo>
                  <a:pt x="2536364" y="5152292"/>
                </a:lnTo>
                <a:lnTo>
                  <a:pt x="1784" y="5150094"/>
                </a:lnTo>
                <a:lnTo>
                  <a:pt x="1784" y="5150094"/>
                </a:lnTo>
                <a:lnTo>
                  <a:pt x="1784" y="721383"/>
                </a:lnTo>
                <a:cubicBezTo>
                  <a:pt x="1189" y="480922"/>
                  <a:pt x="595" y="240461"/>
                  <a:pt x="0" y="0"/>
                </a:cubicBezTo>
                <a:close/>
              </a:path>
            </a:pathLst>
          </a:custGeom>
          <a:ln>
            <a:noFill/>
          </a:ln>
        </p:spPr>
        <p:txBody>
          <a:bodyPr tIns="1980000"/>
          <a:lstStyle>
            <a:lvl1pPr algn="ctr">
              <a:defRPr/>
            </a:lvl1pPr>
          </a:lstStyle>
          <a:p>
            <a:r>
              <a:rPr lang="en-US" noProof="0" dirty="0"/>
              <a:t>Click icon to add picture</a:t>
            </a:r>
          </a:p>
        </p:txBody>
      </p:sp>
      <p:sp>
        <p:nvSpPr>
          <p:cNvPr id="5" name="Fußzeilenplatzhalter 4">
            <a:extLst>
              <a:ext uri="{FF2B5EF4-FFF2-40B4-BE49-F238E27FC236}">
                <a16:creationId xmlns:a16="http://schemas.microsoft.com/office/drawing/2014/main" id="{AEED9390-B914-419E-892A-0ABF6A5ACD9F}"/>
              </a:ext>
            </a:extLst>
          </p:cNvPr>
          <p:cNvSpPr>
            <a:spLocks noGrp="1"/>
          </p:cNvSpPr>
          <p:nvPr>
            <p:ph type="ftr" sz="quarter" idx="18"/>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6034911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umeration 01">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844000" y="1584000"/>
            <a:ext cx="2340000" cy="900000"/>
          </a:xfrm>
          <a:prstGeom prst="rect">
            <a:avLst/>
          </a:prstGeom>
        </p:spPr>
        <p:txBody>
          <a:bodyPr/>
          <a:lstStyle>
            <a:lvl4pPr marL="87313" indent="0">
              <a:buNone/>
              <a:defRPr/>
            </a:lvl4pPr>
          </a:lstStyle>
          <a:p>
            <a:pPr lvl="0"/>
            <a:r>
              <a:rPr lang="en-US" noProof="0" dirty="0"/>
              <a:t>Click to edit master text style</a:t>
            </a:r>
          </a:p>
          <a:p>
            <a:pPr lvl="1"/>
            <a:r>
              <a:rPr lang="en-US" noProof="0" dirty="0"/>
              <a:t>Second level</a:t>
            </a:r>
          </a:p>
          <a:p>
            <a:pPr lvl="2"/>
            <a:r>
              <a:rPr lang="en-US" noProof="0" dirty="0"/>
              <a:t>Third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0" name="Inhaltsplatzhalter 2">
            <a:extLst>
              <a:ext uri="{FF2B5EF4-FFF2-40B4-BE49-F238E27FC236}">
                <a16:creationId xmlns:a16="http://schemas.microsoft.com/office/drawing/2014/main" id="{69BC9582-78E4-4444-A703-E94DBDCFB335}"/>
              </a:ext>
            </a:extLst>
          </p:cNvPr>
          <p:cNvSpPr>
            <a:spLocks noGrp="1"/>
          </p:cNvSpPr>
          <p:nvPr>
            <p:ph idx="13" hasCustomPrompt="1"/>
          </p:nvPr>
        </p:nvSpPr>
        <p:spPr>
          <a:xfrm>
            <a:off x="2464230" y="2727373"/>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1" name="Inhaltsplatzhalter 2">
            <a:extLst>
              <a:ext uri="{FF2B5EF4-FFF2-40B4-BE49-F238E27FC236}">
                <a16:creationId xmlns:a16="http://schemas.microsoft.com/office/drawing/2014/main" id="{73AB19BC-BE89-4D1D-9262-2FB670F79F5E}"/>
              </a:ext>
            </a:extLst>
          </p:cNvPr>
          <p:cNvSpPr>
            <a:spLocks noGrp="1"/>
          </p:cNvSpPr>
          <p:nvPr>
            <p:ph idx="14" hasCustomPrompt="1"/>
          </p:nvPr>
        </p:nvSpPr>
        <p:spPr>
          <a:xfrm>
            <a:off x="2037990" y="3874539"/>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18" name="Textplatzhalter 4">
            <a:extLst>
              <a:ext uri="{FF2B5EF4-FFF2-40B4-BE49-F238E27FC236}">
                <a16:creationId xmlns:a16="http://schemas.microsoft.com/office/drawing/2014/main" id="{84CE57FF-25EA-4283-87A3-4B80B8B8972B}"/>
              </a:ext>
            </a:extLst>
          </p:cNvPr>
          <p:cNvSpPr>
            <a:spLocks noGrp="1"/>
          </p:cNvSpPr>
          <p:nvPr>
            <p:ph type="body" sz="quarter" idx="17" hasCustomPrompt="1"/>
          </p:nvPr>
        </p:nvSpPr>
        <p:spPr>
          <a:xfrm>
            <a:off x="1043608" y="3601284"/>
            <a:ext cx="802800" cy="763200"/>
          </a:xfrm>
          <a:prstGeom prst="pentagon">
            <a:avLst/>
          </a:prstGeom>
          <a:solidFill>
            <a:schemeClr val="accent5"/>
          </a:solidFill>
          <a:ln>
            <a:noFill/>
          </a:ln>
        </p:spPr>
        <p:txBody>
          <a:bodyPr tIns="0" bIns="0"/>
          <a:lstStyle>
            <a:lvl1pPr algn="ctr">
              <a:defRPr sz="3000" b="1">
                <a:solidFill>
                  <a:schemeClr val="bg1"/>
                </a:solidFill>
              </a:defRPr>
            </a:lvl1pPr>
          </a:lstStyle>
          <a:p>
            <a:pPr lvl="0"/>
            <a:r>
              <a:rPr lang="de-DE" dirty="0"/>
              <a:t>03</a:t>
            </a:r>
            <a:endParaRPr lang="en-GB" dirty="0"/>
          </a:p>
        </p:txBody>
      </p:sp>
      <p:sp>
        <p:nvSpPr>
          <p:cNvPr id="19" name="Textplatzhalter 4">
            <a:extLst>
              <a:ext uri="{FF2B5EF4-FFF2-40B4-BE49-F238E27FC236}">
                <a16:creationId xmlns:a16="http://schemas.microsoft.com/office/drawing/2014/main" id="{C0A1C096-C92D-4E0F-8BAE-36643B26E65F}"/>
              </a:ext>
            </a:extLst>
          </p:cNvPr>
          <p:cNvSpPr>
            <a:spLocks noGrp="1"/>
          </p:cNvSpPr>
          <p:nvPr>
            <p:ph type="body" sz="quarter" idx="16" hasCustomPrompt="1"/>
          </p:nvPr>
        </p:nvSpPr>
        <p:spPr>
          <a:xfrm>
            <a:off x="1468023" y="2469314"/>
            <a:ext cx="802800" cy="763200"/>
          </a:xfrm>
          <a:prstGeom prst="pentagon">
            <a:avLst/>
          </a:prstGeom>
          <a:solidFill>
            <a:srgbClr val="BAD1D7"/>
          </a:solidFill>
        </p:spPr>
        <p:txBody>
          <a:bodyPr tIns="0" bIns="0"/>
          <a:lstStyle>
            <a:lvl1pPr algn="ctr">
              <a:defRPr sz="3000" b="1">
                <a:solidFill>
                  <a:schemeClr val="bg1"/>
                </a:solidFill>
              </a:defRPr>
            </a:lvl1pPr>
          </a:lstStyle>
          <a:p>
            <a:pPr lvl="0"/>
            <a:r>
              <a:rPr lang="de-DE" dirty="0"/>
              <a:t>02</a:t>
            </a:r>
            <a:endParaRPr lang="en-GB" dirty="0"/>
          </a:p>
        </p:txBody>
      </p:sp>
      <p:sp>
        <p:nvSpPr>
          <p:cNvPr id="22" name="Textplatzhalter 4">
            <a:extLst>
              <a:ext uri="{FF2B5EF4-FFF2-40B4-BE49-F238E27FC236}">
                <a16:creationId xmlns:a16="http://schemas.microsoft.com/office/drawing/2014/main" id="{82712203-AFFE-43D7-9E37-537DAB914761}"/>
              </a:ext>
            </a:extLst>
          </p:cNvPr>
          <p:cNvSpPr>
            <a:spLocks noGrp="1"/>
          </p:cNvSpPr>
          <p:nvPr>
            <p:ph type="body" sz="quarter" idx="15" hasCustomPrompt="1"/>
          </p:nvPr>
        </p:nvSpPr>
        <p:spPr>
          <a:xfrm>
            <a:off x="1844583" y="1330600"/>
            <a:ext cx="802800" cy="763200"/>
          </a:xfrm>
          <a:prstGeom prst="pentagon">
            <a:avLst/>
          </a:prstGeom>
          <a:solidFill>
            <a:schemeClr val="accent2"/>
          </a:solidFill>
        </p:spPr>
        <p:txBody>
          <a:bodyPr tIns="0" bIns="0"/>
          <a:lstStyle>
            <a:lvl1pPr algn="ctr">
              <a:defRPr sz="3000" b="1">
                <a:solidFill>
                  <a:schemeClr val="bg1"/>
                </a:solidFill>
              </a:defRPr>
            </a:lvl1pPr>
          </a:lstStyle>
          <a:p>
            <a:pPr lvl="0"/>
            <a:r>
              <a:rPr lang="de-DE" dirty="0"/>
              <a:t>01</a:t>
            </a:r>
            <a:endParaRPr lang="en-GB" dirty="0"/>
          </a:p>
        </p:txBody>
      </p:sp>
      <p:sp>
        <p:nvSpPr>
          <p:cNvPr id="4" name="Fußzeilenplatzhalter 3">
            <a:extLst>
              <a:ext uri="{FF2B5EF4-FFF2-40B4-BE49-F238E27FC236}">
                <a16:creationId xmlns:a16="http://schemas.microsoft.com/office/drawing/2014/main" id="{578E18E7-2F67-4101-ADCD-2D98DA538AAD}"/>
              </a:ext>
            </a:extLst>
          </p:cNvPr>
          <p:cNvSpPr>
            <a:spLocks noGrp="1"/>
          </p:cNvSpPr>
          <p:nvPr>
            <p:ph type="ftr" sz="quarter" idx="18"/>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4143586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Numeration 02">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844000" y="1584000"/>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8" name="Inhaltsplatzhalter 2">
            <a:extLst>
              <a:ext uri="{FF2B5EF4-FFF2-40B4-BE49-F238E27FC236}">
                <a16:creationId xmlns:a16="http://schemas.microsoft.com/office/drawing/2014/main" id="{1247BBC5-A61E-4001-9FBA-125072BB8ECE}"/>
              </a:ext>
            </a:extLst>
          </p:cNvPr>
          <p:cNvSpPr>
            <a:spLocks noGrp="1"/>
          </p:cNvSpPr>
          <p:nvPr>
            <p:ph idx="13" hasCustomPrompt="1"/>
          </p:nvPr>
        </p:nvSpPr>
        <p:spPr>
          <a:xfrm>
            <a:off x="2464230" y="2727373"/>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19" name="Inhaltsplatzhalter 2">
            <a:extLst>
              <a:ext uri="{FF2B5EF4-FFF2-40B4-BE49-F238E27FC236}">
                <a16:creationId xmlns:a16="http://schemas.microsoft.com/office/drawing/2014/main" id="{70615D39-3BB5-401C-AABA-A4E3485E58EA}"/>
              </a:ext>
            </a:extLst>
          </p:cNvPr>
          <p:cNvSpPr>
            <a:spLocks noGrp="1"/>
          </p:cNvSpPr>
          <p:nvPr>
            <p:ph idx="14" hasCustomPrompt="1"/>
          </p:nvPr>
        </p:nvSpPr>
        <p:spPr>
          <a:xfrm>
            <a:off x="2037990" y="3874539"/>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3" name="Inhaltsplatzhalter 2">
            <a:extLst>
              <a:ext uri="{FF2B5EF4-FFF2-40B4-BE49-F238E27FC236}">
                <a16:creationId xmlns:a16="http://schemas.microsoft.com/office/drawing/2014/main" id="{00C78152-9A8B-42E5-B566-F31E31C3B2BD}"/>
              </a:ext>
            </a:extLst>
          </p:cNvPr>
          <p:cNvSpPr>
            <a:spLocks noGrp="1"/>
          </p:cNvSpPr>
          <p:nvPr>
            <p:ph idx="15" hasCustomPrompt="1"/>
          </p:nvPr>
        </p:nvSpPr>
        <p:spPr>
          <a:xfrm>
            <a:off x="6467646" y="1584000"/>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4" name="Inhaltsplatzhalter 2">
            <a:extLst>
              <a:ext uri="{FF2B5EF4-FFF2-40B4-BE49-F238E27FC236}">
                <a16:creationId xmlns:a16="http://schemas.microsoft.com/office/drawing/2014/main" id="{1FB20E7A-1318-4094-A8BD-146C190C425B}"/>
              </a:ext>
            </a:extLst>
          </p:cNvPr>
          <p:cNvSpPr>
            <a:spLocks noGrp="1"/>
          </p:cNvSpPr>
          <p:nvPr>
            <p:ph idx="16" hasCustomPrompt="1"/>
          </p:nvPr>
        </p:nvSpPr>
        <p:spPr>
          <a:xfrm>
            <a:off x="6079373" y="2727373"/>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5" name="Inhaltsplatzhalter 2">
            <a:extLst>
              <a:ext uri="{FF2B5EF4-FFF2-40B4-BE49-F238E27FC236}">
                <a16:creationId xmlns:a16="http://schemas.microsoft.com/office/drawing/2014/main" id="{A9E60A14-29CD-4BC3-959D-C7918D3A4532}"/>
              </a:ext>
            </a:extLst>
          </p:cNvPr>
          <p:cNvSpPr>
            <a:spLocks noGrp="1"/>
          </p:cNvSpPr>
          <p:nvPr>
            <p:ph idx="17" hasCustomPrompt="1"/>
          </p:nvPr>
        </p:nvSpPr>
        <p:spPr>
          <a:xfrm>
            <a:off x="5666671" y="3874539"/>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6" name="Textplatzhalter 4">
            <a:extLst>
              <a:ext uri="{FF2B5EF4-FFF2-40B4-BE49-F238E27FC236}">
                <a16:creationId xmlns:a16="http://schemas.microsoft.com/office/drawing/2014/main" id="{B87B1D08-2F3D-4E26-9C70-88DBA8ED71F6}"/>
              </a:ext>
            </a:extLst>
          </p:cNvPr>
          <p:cNvSpPr>
            <a:spLocks noGrp="1"/>
          </p:cNvSpPr>
          <p:nvPr>
            <p:ph type="body" sz="quarter" idx="18" hasCustomPrompt="1"/>
          </p:nvPr>
        </p:nvSpPr>
        <p:spPr>
          <a:xfrm>
            <a:off x="1043608" y="3601284"/>
            <a:ext cx="802800" cy="763200"/>
          </a:xfrm>
          <a:prstGeom prst="pentagon">
            <a:avLst/>
          </a:prstGeom>
          <a:solidFill>
            <a:schemeClr val="accent5"/>
          </a:solidFill>
          <a:ln>
            <a:noFill/>
          </a:ln>
        </p:spPr>
        <p:txBody>
          <a:bodyPr tIns="0" bIns="0"/>
          <a:lstStyle>
            <a:lvl1pPr algn="ctr">
              <a:defRPr sz="3000" b="1">
                <a:solidFill>
                  <a:schemeClr val="bg1"/>
                </a:solidFill>
              </a:defRPr>
            </a:lvl1pPr>
          </a:lstStyle>
          <a:p>
            <a:pPr lvl="0"/>
            <a:r>
              <a:rPr lang="de-DE" dirty="0"/>
              <a:t>03</a:t>
            </a:r>
            <a:endParaRPr lang="en-GB" dirty="0"/>
          </a:p>
        </p:txBody>
      </p:sp>
      <p:sp>
        <p:nvSpPr>
          <p:cNvPr id="27" name="Textplatzhalter 4">
            <a:extLst>
              <a:ext uri="{FF2B5EF4-FFF2-40B4-BE49-F238E27FC236}">
                <a16:creationId xmlns:a16="http://schemas.microsoft.com/office/drawing/2014/main" id="{EEF61701-8262-446E-8F10-F75045B89BA0}"/>
              </a:ext>
            </a:extLst>
          </p:cNvPr>
          <p:cNvSpPr>
            <a:spLocks noGrp="1"/>
          </p:cNvSpPr>
          <p:nvPr>
            <p:ph type="body" sz="quarter" idx="19" hasCustomPrompt="1"/>
          </p:nvPr>
        </p:nvSpPr>
        <p:spPr>
          <a:xfrm>
            <a:off x="1468023" y="2469314"/>
            <a:ext cx="802800" cy="763200"/>
          </a:xfrm>
          <a:prstGeom prst="pentagon">
            <a:avLst/>
          </a:prstGeom>
          <a:solidFill>
            <a:srgbClr val="BAD1D7"/>
          </a:solidFill>
        </p:spPr>
        <p:txBody>
          <a:bodyPr tIns="0" bIns="0"/>
          <a:lstStyle>
            <a:lvl1pPr algn="ctr">
              <a:defRPr sz="3000" b="1">
                <a:solidFill>
                  <a:schemeClr val="bg1"/>
                </a:solidFill>
              </a:defRPr>
            </a:lvl1pPr>
          </a:lstStyle>
          <a:p>
            <a:pPr lvl="0"/>
            <a:r>
              <a:rPr lang="de-DE" dirty="0"/>
              <a:t>02</a:t>
            </a:r>
            <a:endParaRPr lang="en-GB" dirty="0"/>
          </a:p>
        </p:txBody>
      </p:sp>
      <p:sp>
        <p:nvSpPr>
          <p:cNvPr id="28" name="Textplatzhalter 4">
            <a:extLst>
              <a:ext uri="{FF2B5EF4-FFF2-40B4-BE49-F238E27FC236}">
                <a16:creationId xmlns:a16="http://schemas.microsoft.com/office/drawing/2014/main" id="{8D209D8C-EAB6-450B-96E5-3F0ABC63503B}"/>
              </a:ext>
            </a:extLst>
          </p:cNvPr>
          <p:cNvSpPr>
            <a:spLocks noGrp="1"/>
          </p:cNvSpPr>
          <p:nvPr>
            <p:ph type="body" sz="quarter" idx="20" hasCustomPrompt="1"/>
          </p:nvPr>
        </p:nvSpPr>
        <p:spPr>
          <a:xfrm>
            <a:off x="1844583" y="1330600"/>
            <a:ext cx="802800" cy="763200"/>
          </a:xfrm>
          <a:prstGeom prst="pentagon">
            <a:avLst/>
          </a:prstGeom>
          <a:solidFill>
            <a:schemeClr val="accent2"/>
          </a:solidFill>
        </p:spPr>
        <p:txBody>
          <a:bodyPr tIns="0" bIns="0"/>
          <a:lstStyle>
            <a:lvl1pPr algn="ctr">
              <a:defRPr sz="3000" b="1">
                <a:solidFill>
                  <a:schemeClr val="bg1"/>
                </a:solidFill>
              </a:defRPr>
            </a:lvl1pPr>
          </a:lstStyle>
          <a:p>
            <a:pPr lvl="0"/>
            <a:r>
              <a:rPr lang="de-DE" dirty="0"/>
              <a:t>01</a:t>
            </a:r>
            <a:endParaRPr lang="en-GB" dirty="0"/>
          </a:p>
        </p:txBody>
      </p:sp>
      <p:sp>
        <p:nvSpPr>
          <p:cNvPr id="29" name="Textplatzhalter 4">
            <a:extLst>
              <a:ext uri="{FF2B5EF4-FFF2-40B4-BE49-F238E27FC236}">
                <a16:creationId xmlns:a16="http://schemas.microsoft.com/office/drawing/2014/main" id="{A8727F2F-5AAE-4D35-95EB-1B8DD7CCCD83}"/>
              </a:ext>
            </a:extLst>
          </p:cNvPr>
          <p:cNvSpPr>
            <a:spLocks noGrp="1"/>
          </p:cNvSpPr>
          <p:nvPr>
            <p:ph type="body" sz="quarter" idx="21" hasCustomPrompt="1"/>
          </p:nvPr>
        </p:nvSpPr>
        <p:spPr>
          <a:xfrm>
            <a:off x="4672289" y="3600917"/>
            <a:ext cx="802800" cy="763200"/>
          </a:xfrm>
          <a:prstGeom prst="pentagon">
            <a:avLst/>
          </a:prstGeom>
          <a:solidFill>
            <a:schemeClr val="tx2"/>
          </a:solidFill>
          <a:ln>
            <a:noFill/>
          </a:ln>
        </p:spPr>
        <p:txBody>
          <a:bodyPr tIns="0" bIns="0"/>
          <a:lstStyle>
            <a:lvl1pPr algn="ctr">
              <a:defRPr sz="3000" b="1">
                <a:solidFill>
                  <a:schemeClr val="bg1"/>
                </a:solidFill>
              </a:defRPr>
            </a:lvl1pPr>
          </a:lstStyle>
          <a:p>
            <a:pPr lvl="0"/>
            <a:r>
              <a:rPr lang="de-DE" dirty="0"/>
              <a:t>06</a:t>
            </a:r>
            <a:endParaRPr lang="en-GB" dirty="0"/>
          </a:p>
        </p:txBody>
      </p:sp>
      <p:sp>
        <p:nvSpPr>
          <p:cNvPr id="30" name="Textplatzhalter 4">
            <a:extLst>
              <a:ext uri="{FF2B5EF4-FFF2-40B4-BE49-F238E27FC236}">
                <a16:creationId xmlns:a16="http://schemas.microsoft.com/office/drawing/2014/main" id="{DD443ECF-51D3-4EEC-912B-045DE48CA368}"/>
              </a:ext>
            </a:extLst>
          </p:cNvPr>
          <p:cNvSpPr>
            <a:spLocks noGrp="1"/>
          </p:cNvSpPr>
          <p:nvPr>
            <p:ph type="body" sz="quarter" idx="22" hasCustomPrompt="1"/>
          </p:nvPr>
        </p:nvSpPr>
        <p:spPr>
          <a:xfrm>
            <a:off x="5096704" y="2468947"/>
            <a:ext cx="802800" cy="763200"/>
          </a:xfrm>
          <a:prstGeom prst="pentagon">
            <a:avLst/>
          </a:prstGeom>
          <a:solidFill>
            <a:schemeClr val="bg1">
              <a:lumMod val="75000"/>
            </a:schemeClr>
          </a:solidFill>
        </p:spPr>
        <p:txBody>
          <a:bodyPr tIns="0" bIns="0"/>
          <a:lstStyle>
            <a:lvl1pPr algn="ctr">
              <a:defRPr sz="3000" b="1">
                <a:solidFill>
                  <a:schemeClr val="bg1"/>
                </a:solidFill>
              </a:defRPr>
            </a:lvl1pPr>
          </a:lstStyle>
          <a:p>
            <a:pPr lvl="0"/>
            <a:r>
              <a:rPr lang="de-DE" dirty="0"/>
              <a:t>05</a:t>
            </a:r>
            <a:endParaRPr lang="en-GB" dirty="0"/>
          </a:p>
        </p:txBody>
      </p:sp>
      <p:sp>
        <p:nvSpPr>
          <p:cNvPr id="31" name="Textplatzhalter 4">
            <a:extLst>
              <a:ext uri="{FF2B5EF4-FFF2-40B4-BE49-F238E27FC236}">
                <a16:creationId xmlns:a16="http://schemas.microsoft.com/office/drawing/2014/main" id="{3619B808-7468-4538-BA19-A6273049CC53}"/>
              </a:ext>
            </a:extLst>
          </p:cNvPr>
          <p:cNvSpPr>
            <a:spLocks noGrp="1"/>
          </p:cNvSpPr>
          <p:nvPr>
            <p:ph type="body" sz="quarter" idx="23" hasCustomPrompt="1"/>
          </p:nvPr>
        </p:nvSpPr>
        <p:spPr>
          <a:xfrm>
            <a:off x="5473264" y="1330233"/>
            <a:ext cx="802800" cy="763200"/>
          </a:xfrm>
          <a:prstGeom prst="pentagon">
            <a:avLst/>
          </a:prstGeom>
          <a:solidFill>
            <a:srgbClr val="68658A"/>
          </a:solidFill>
        </p:spPr>
        <p:txBody>
          <a:bodyPr tIns="0" bIns="0"/>
          <a:lstStyle>
            <a:lvl1pPr algn="ctr">
              <a:defRPr sz="3000" b="1">
                <a:solidFill>
                  <a:schemeClr val="bg1"/>
                </a:solidFill>
              </a:defRPr>
            </a:lvl1pPr>
          </a:lstStyle>
          <a:p>
            <a:pPr lvl="0"/>
            <a:r>
              <a:rPr lang="de-DE" dirty="0"/>
              <a:t>04</a:t>
            </a:r>
            <a:endParaRPr lang="en-GB" dirty="0"/>
          </a:p>
        </p:txBody>
      </p:sp>
      <p:sp>
        <p:nvSpPr>
          <p:cNvPr id="4" name="Fußzeilenplatzhalter 3">
            <a:extLst>
              <a:ext uri="{FF2B5EF4-FFF2-40B4-BE49-F238E27FC236}">
                <a16:creationId xmlns:a16="http://schemas.microsoft.com/office/drawing/2014/main" id="{9B973BF7-FA68-4447-979D-53E5074DCAAA}"/>
              </a:ext>
            </a:extLst>
          </p:cNvPr>
          <p:cNvSpPr>
            <a:spLocks noGrp="1"/>
          </p:cNvSpPr>
          <p:nvPr>
            <p:ph type="ftr" sz="quarter" idx="24"/>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9467470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two boxes">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700000" y="1419226"/>
            <a:ext cx="2160000" cy="1548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6" name="Textplatzhalter 15">
            <a:extLst>
              <a:ext uri="{FF2B5EF4-FFF2-40B4-BE49-F238E27FC236}">
                <a16:creationId xmlns:a16="http://schemas.microsoft.com/office/drawing/2014/main" id="{5D37B192-2D05-499F-BED5-03FBDEE14831}"/>
              </a:ext>
            </a:extLst>
          </p:cNvPr>
          <p:cNvSpPr>
            <a:spLocks noGrp="1"/>
          </p:cNvSpPr>
          <p:nvPr>
            <p:ph type="body" sz="quarter" idx="13" hasCustomPrompt="1"/>
          </p:nvPr>
        </p:nvSpPr>
        <p:spPr>
          <a:xfrm>
            <a:off x="431799" y="1419225"/>
            <a:ext cx="2052000" cy="1548000"/>
          </a:xfrm>
          <a:prstGeom prst="rect">
            <a:avLst/>
          </a:prstGeom>
          <a:solidFill>
            <a:schemeClr val="accent5"/>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17" name="Inhaltsplatzhalter 2">
            <a:extLst>
              <a:ext uri="{FF2B5EF4-FFF2-40B4-BE49-F238E27FC236}">
                <a16:creationId xmlns:a16="http://schemas.microsoft.com/office/drawing/2014/main" id="{0F5CE197-CB0B-4A8D-8557-410F976B7CFE}"/>
              </a:ext>
            </a:extLst>
          </p:cNvPr>
          <p:cNvSpPr>
            <a:spLocks noGrp="1"/>
          </p:cNvSpPr>
          <p:nvPr>
            <p:ph idx="14" hasCustomPrompt="1"/>
          </p:nvPr>
        </p:nvSpPr>
        <p:spPr>
          <a:xfrm>
            <a:off x="2700001" y="3184338"/>
            <a:ext cx="2160000" cy="1548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18" name="Textplatzhalter 15">
            <a:extLst>
              <a:ext uri="{FF2B5EF4-FFF2-40B4-BE49-F238E27FC236}">
                <a16:creationId xmlns:a16="http://schemas.microsoft.com/office/drawing/2014/main" id="{BCEF6216-F40C-4603-9F5E-ED91B062AE32}"/>
              </a:ext>
            </a:extLst>
          </p:cNvPr>
          <p:cNvSpPr>
            <a:spLocks noGrp="1"/>
          </p:cNvSpPr>
          <p:nvPr>
            <p:ph type="body" sz="quarter" idx="15" hasCustomPrompt="1"/>
          </p:nvPr>
        </p:nvSpPr>
        <p:spPr>
          <a:xfrm>
            <a:off x="431800" y="3184337"/>
            <a:ext cx="2052000" cy="1548000"/>
          </a:xfrm>
          <a:prstGeom prst="rect">
            <a:avLst/>
          </a:prstGeom>
          <a:solidFill>
            <a:schemeClr val="accent5"/>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4" name="Fußzeilenplatzhalter 3">
            <a:extLst>
              <a:ext uri="{FF2B5EF4-FFF2-40B4-BE49-F238E27FC236}">
                <a16:creationId xmlns:a16="http://schemas.microsoft.com/office/drawing/2014/main" id="{508A4629-303D-4216-94A9-88556A9BF9BC}"/>
              </a:ext>
            </a:extLst>
          </p:cNvPr>
          <p:cNvSpPr>
            <a:spLocks noGrp="1"/>
          </p:cNvSpPr>
          <p:nvPr>
            <p:ph type="ftr" sz="quarter" idx="16"/>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8091436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four boxes">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700000" y="1419226"/>
            <a:ext cx="2160000" cy="719999"/>
          </a:xfrm>
          <a:prstGeom prst="rect">
            <a:avLst/>
          </a:prstGeom>
        </p:spPr>
        <p:txBody>
          <a:bodyPr/>
          <a:lstStyle>
            <a:lvl4pPr>
              <a:defRPr/>
            </a:lvl4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6" name="Textplatzhalter 15">
            <a:extLst>
              <a:ext uri="{FF2B5EF4-FFF2-40B4-BE49-F238E27FC236}">
                <a16:creationId xmlns:a16="http://schemas.microsoft.com/office/drawing/2014/main" id="{5D37B192-2D05-499F-BED5-03FBDEE14831}"/>
              </a:ext>
            </a:extLst>
          </p:cNvPr>
          <p:cNvSpPr>
            <a:spLocks noGrp="1"/>
          </p:cNvSpPr>
          <p:nvPr>
            <p:ph type="body" sz="quarter" idx="13" hasCustomPrompt="1"/>
          </p:nvPr>
        </p:nvSpPr>
        <p:spPr>
          <a:xfrm>
            <a:off x="431799" y="1419225"/>
            <a:ext cx="2052000" cy="720000"/>
          </a:xfrm>
          <a:prstGeom prst="rect">
            <a:avLst/>
          </a:prstGeom>
          <a:solidFill>
            <a:schemeClr val="accent5"/>
          </a:solidFill>
        </p:spPr>
        <p:txBody>
          <a:bodyPr lIns="252000" tIns="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19" name="Inhaltsplatzhalter 2">
            <a:extLst>
              <a:ext uri="{FF2B5EF4-FFF2-40B4-BE49-F238E27FC236}">
                <a16:creationId xmlns:a16="http://schemas.microsoft.com/office/drawing/2014/main" id="{BB217E49-5AD1-452F-B099-00837ABD50CD}"/>
              </a:ext>
            </a:extLst>
          </p:cNvPr>
          <p:cNvSpPr>
            <a:spLocks noGrp="1"/>
          </p:cNvSpPr>
          <p:nvPr>
            <p:ph idx="14" hasCustomPrompt="1"/>
          </p:nvPr>
        </p:nvSpPr>
        <p:spPr>
          <a:xfrm>
            <a:off x="2700001" y="2284686"/>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0" name="Textplatzhalter 15">
            <a:extLst>
              <a:ext uri="{FF2B5EF4-FFF2-40B4-BE49-F238E27FC236}">
                <a16:creationId xmlns:a16="http://schemas.microsoft.com/office/drawing/2014/main" id="{D035F31F-C3D8-4E43-9934-402152A4B730}"/>
              </a:ext>
            </a:extLst>
          </p:cNvPr>
          <p:cNvSpPr>
            <a:spLocks noGrp="1"/>
          </p:cNvSpPr>
          <p:nvPr>
            <p:ph type="body" sz="quarter" idx="15" hasCustomPrompt="1"/>
          </p:nvPr>
        </p:nvSpPr>
        <p:spPr>
          <a:xfrm>
            <a:off x="431800" y="2284685"/>
            <a:ext cx="2052000" cy="720000"/>
          </a:xfrm>
          <a:prstGeom prst="rect">
            <a:avLst/>
          </a:prstGeom>
          <a:solidFill>
            <a:schemeClr val="tx2"/>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21" name="Inhaltsplatzhalter 2">
            <a:extLst>
              <a:ext uri="{FF2B5EF4-FFF2-40B4-BE49-F238E27FC236}">
                <a16:creationId xmlns:a16="http://schemas.microsoft.com/office/drawing/2014/main" id="{67CFEBA3-06E2-49EA-A3EA-BC97C3E98627}"/>
              </a:ext>
            </a:extLst>
          </p:cNvPr>
          <p:cNvSpPr>
            <a:spLocks noGrp="1"/>
          </p:cNvSpPr>
          <p:nvPr>
            <p:ph idx="16" hasCustomPrompt="1"/>
          </p:nvPr>
        </p:nvSpPr>
        <p:spPr>
          <a:xfrm>
            <a:off x="2700001" y="4012339"/>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2" name="Textplatzhalter 15">
            <a:extLst>
              <a:ext uri="{FF2B5EF4-FFF2-40B4-BE49-F238E27FC236}">
                <a16:creationId xmlns:a16="http://schemas.microsoft.com/office/drawing/2014/main" id="{AA70BB0F-4757-4AC9-BFC4-51024B236BD1}"/>
              </a:ext>
            </a:extLst>
          </p:cNvPr>
          <p:cNvSpPr>
            <a:spLocks noGrp="1"/>
          </p:cNvSpPr>
          <p:nvPr>
            <p:ph type="body" sz="quarter" idx="17" hasCustomPrompt="1"/>
          </p:nvPr>
        </p:nvSpPr>
        <p:spPr>
          <a:xfrm>
            <a:off x="431800" y="4012338"/>
            <a:ext cx="2052000" cy="720000"/>
          </a:xfrm>
          <a:prstGeom prst="rect">
            <a:avLst/>
          </a:prstGeom>
          <a:solidFill>
            <a:schemeClr val="accent2"/>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23" name="Inhaltsplatzhalter 2">
            <a:extLst>
              <a:ext uri="{FF2B5EF4-FFF2-40B4-BE49-F238E27FC236}">
                <a16:creationId xmlns:a16="http://schemas.microsoft.com/office/drawing/2014/main" id="{21FCB89C-8093-47D6-BD29-374816470D57}"/>
              </a:ext>
            </a:extLst>
          </p:cNvPr>
          <p:cNvSpPr>
            <a:spLocks noGrp="1"/>
          </p:cNvSpPr>
          <p:nvPr>
            <p:ph idx="18" hasCustomPrompt="1"/>
          </p:nvPr>
        </p:nvSpPr>
        <p:spPr>
          <a:xfrm>
            <a:off x="2700001" y="3146878"/>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4" name="Textplatzhalter 15">
            <a:extLst>
              <a:ext uri="{FF2B5EF4-FFF2-40B4-BE49-F238E27FC236}">
                <a16:creationId xmlns:a16="http://schemas.microsoft.com/office/drawing/2014/main" id="{C2740252-F706-4CD8-9CB6-C0F060503EFF}"/>
              </a:ext>
            </a:extLst>
          </p:cNvPr>
          <p:cNvSpPr>
            <a:spLocks noGrp="1"/>
          </p:cNvSpPr>
          <p:nvPr>
            <p:ph type="body" sz="quarter" idx="19" hasCustomPrompt="1"/>
          </p:nvPr>
        </p:nvSpPr>
        <p:spPr>
          <a:xfrm>
            <a:off x="431800" y="3146877"/>
            <a:ext cx="2052000" cy="720000"/>
          </a:xfrm>
          <a:prstGeom prst="rect">
            <a:avLst/>
          </a:prstGeom>
          <a:solidFill>
            <a:schemeClr val="accent3"/>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4" name="Fußzeilenplatzhalter 3">
            <a:extLst>
              <a:ext uri="{FF2B5EF4-FFF2-40B4-BE49-F238E27FC236}">
                <a16:creationId xmlns:a16="http://schemas.microsoft.com/office/drawing/2014/main" id="{58F1832E-9F08-42FD-A028-EEEFE7BAB96B}"/>
              </a:ext>
            </a:extLst>
          </p:cNvPr>
          <p:cNvSpPr>
            <a:spLocks noGrp="1"/>
          </p:cNvSpPr>
          <p:nvPr>
            <p:ph type="ftr" sz="quarter" idx="2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7004379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icture">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845249"/>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2831332"/>
            <a:ext cx="4320000" cy="1241822"/>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431800" y="2535549"/>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33CFFC0-7C50-4C2C-A557-39059CC3BA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800" y="4423578"/>
            <a:ext cx="1621656" cy="211223"/>
          </a:xfrm>
          <a:prstGeom prst="rect">
            <a:avLst/>
          </a:prstGeom>
        </p:spPr>
      </p:pic>
      <p:pic>
        <p:nvPicPr>
          <p:cNvPr id="14" name="Graphic 9">
            <a:extLst>
              <a:ext uri="{FF2B5EF4-FFF2-40B4-BE49-F238E27FC236}">
                <a16:creationId xmlns:a16="http://schemas.microsoft.com/office/drawing/2014/main" id="{211D252E-A012-487A-8355-D6C45AB066B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508382" y="0"/>
            <a:ext cx="1311768" cy="660815"/>
          </a:xfrm>
          <a:prstGeom prst="rect">
            <a:avLst/>
          </a:prstGeom>
        </p:spPr>
      </p:pic>
      <p:sp>
        <p:nvSpPr>
          <p:cNvPr id="9" name="Bildplatzhalter 14">
            <a:extLst>
              <a:ext uri="{FF2B5EF4-FFF2-40B4-BE49-F238E27FC236}">
                <a16:creationId xmlns:a16="http://schemas.microsoft.com/office/drawing/2014/main" id="{48474463-6991-4CB0-82AD-15812DF6AF5A}"/>
              </a:ext>
            </a:extLst>
          </p:cNvPr>
          <p:cNvSpPr>
            <a:spLocks noGrp="1"/>
          </p:cNvSpPr>
          <p:nvPr>
            <p:ph type="pic" sz="quarter" idx="10" hasCustomPrompt="1"/>
          </p:nvPr>
        </p:nvSpPr>
        <p:spPr>
          <a:xfrm>
            <a:off x="3031958" y="-1840"/>
            <a:ext cx="6112041" cy="5146745"/>
          </a:xfrm>
          <a:custGeom>
            <a:avLst/>
            <a:gdLst>
              <a:gd name="connsiteX0" fmla="*/ 4476424 w 6112041"/>
              <a:gd name="connsiteY0" fmla="*/ 255 h 5146745"/>
              <a:gd name="connsiteX1" fmla="*/ 4476424 w 6112041"/>
              <a:gd name="connsiteY1" fmla="*/ 662655 h 5146745"/>
              <a:gd name="connsiteX2" fmla="*/ 5786824 w 6112041"/>
              <a:gd name="connsiteY2" fmla="*/ 662655 h 5146745"/>
              <a:gd name="connsiteX3" fmla="*/ 5786824 w 6112041"/>
              <a:gd name="connsiteY3" fmla="*/ 255 h 5146745"/>
              <a:gd name="connsiteX4" fmla="*/ 1775581 w 6112041"/>
              <a:gd name="connsiteY4" fmla="*/ 0 h 5146745"/>
              <a:gd name="connsiteX5" fmla="*/ 6111905 w 6112041"/>
              <a:gd name="connsiteY5" fmla="*/ 0 h 5146745"/>
              <a:gd name="connsiteX6" fmla="*/ 6112041 w 6112041"/>
              <a:gd name="connsiteY6" fmla="*/ 859341 h 5146745"/>
              <a:gd name="connsiteX7" fmla="*/ 6112041 w 6112041"/>
              <a:gd name="connsiteY7" fmla="*/ 5146745 h 5146745"/>
              <a:gd name="connsiteX8" fmla="*/ 0 w 6112041"/>
              <a:gd name="connsiteY8" fmla="*/ 5146745 h 5146745"/>
              <a:gd name="connsiteX9" fmla="*/ 1328364 w 6112041"/>
              <a:gd name="connsiteY9" fmla="*/ 1300902 h 5146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2041" h="5146745">
                <a:moveTo>
                  <a:pt x="4476424" y="255"/>
                </a:moveTo>
                <a:lnTo>
                  <a:pt x="4476424" y="662655"/>
                </a:lnTo>
                <a:lnTo>
                  <a:pt x="5786824" y="662655"/>
                </a:lnTo>
                <a:lnTo>
                  <a:pt x="5786824" y="255"/>
                </a:lnTo>
                <a:close/>
                <a:moveTo>
                  <a:pt x="1775581" y="0"/>
                </a:moveTo>
                <a:lnTo>
                  <a:pt x="6111905" y="0"/>
                </a:lnTo>
                <a:cubicBezTo>
                  <a:pt x="6111950" y="286447"/>
                  <a:pt x="6111996" y="572894"/>
                  <a:pt x="6112041" y="859341"/>
                </a:cubicBezTo>
                <a:lnTo>
                  <a:pt x="6112041" y="5146745"/>
                </a:lnTo>
                <a:lnTo>
                  <a:pt x="0" y="5146745"/>
                </a:lnTo>
                <a:lnTo>
                  <a:pt x="1328364" y="1300902"/>
                </a:lnTo>
                <a:close/>
              </a:path>
            </a:pathLst>
          </a:custGeom>
          <a:ln>
            <a:noFill/>
          </a:ln>
        </p:spPr>
        <p:txBody>
          <a:bodyPr wrap="square" tIns="1980000" anchor="t" anchorCtr="0">
            <a:noAutofit/>
          </a:bodyPr>
          <a:lstStyle>
            <a:lvl1pPr algn="ctr">
              <a:defRPr/>
            </a:lvl1pPr>
          </a:lstStyle>
          <a:p>
            <a:r>
              <a:rPr lang="en-US" noProof="0" dirty="0"/>
              <a:t>Click icon to add picture</a:t>
            </a:r>
          </a:p>
        </p:txBody>
      </p:sp>
    </p:spTree>
    <p:extLst>
      <p:ext uri="{BB962C8B-B14F-4D97-AF65-F5344CB8AC3E}">
        <p14:creationId xmlns:p14="http://schemas.microsoft.com/office/powerpoint/2010/main" val="21797030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ontent two box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CDC3B9-D320-4189-BA4B-AF3C30304657}"/>
              </a:ext>
            </a:extLst>
          </p:cNvPr>
          <p:cNvGraphicFramePr>
            <a:graphicFrameLocks noChangeAspect="1"/>
          </p:cNvGraphicFramePr>
          <p:nvPr userDrawn="1">
            <p:custDataLst>
              <p:tags r:id="rId1"/>
            </p:custDataLst>
            <p:extLst>
              <p:ext uri="{D42A27DB-BD31-4B8C-83A1-F6EECF244321}">
                <p14:modId xmlns:p14="http://schemas.microsoft.com/office/powerpoint/2010/main" val="70456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69CDC3B9-D320-4189-BA4B-AF3C303046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132E297-8F9C-4F8B-91CA-63A46F8B110E}"/>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14" name="Bildplatzhalter 14">
            <a:extLst>
              <a:ext uri="{FF2B5EF4-FFF2-40B4-BE49-F238E27FC236}">
                <a16:creationId xmlns:a16="http://schemas.microsoft.com/office/drawing/2014/main" id="{A275AB90-F077-4387-A7B6-9F06C7004082}"/>
              </a:ext>
            </a:extLst>
          </p:cNvPr>
          <p:cNvSpPr>
            <a:spLocks noGrp="1"/>
          </p:cNvSpPr>
          <p:nvPr>
            <p:ph type="pic" sz="quarter" idx="17" hasCustomPrompt="1"/>
          </p:nvPr>
        </p:nvSpPr>
        <p:spPr>
          <a:xfrm>
            <a:off x="4845965" y="-3563"/>
            <a:ext cx="4305152" cy="5147058"/>
          </a:xfrm>
          <a:custGeom>
            <a:avLst/>
            <a:gdLst>
              <a:gd name="connsiteX0" fmla="*/ 3218185 w 4305152"/>
              <a:gd name="connsiteY0" fmla="*/ 3563 h 5147058"/>
              <a:gd name="connsiteX1" fmla="*/ 3218185 w 4305152"/>
              <a:gd name="connsiteY1" fmla="*/ 385163 h 5147058"/>
              <a:gd name="connsiteX2" fmla="*/ 3974185 w 4305152"/>
              <a:gd name="connsiteY2" fmla="*/ 385163 h 5147058"/>
              <a:gd name="connsiteX3" fmla="*/ 3974185 w 4305152"/>
              <a:gd name="connsiteY3" fmla="*/ 3563 h 5147058"/>
              <a:gd name="connsiteX4" fmla="*/ 4305152 w 4305152"/>
              <a:gd name="connsiteY4" fmla="*/ 0 h 5147058"/>
              <a:gd name="connsiteX5" fmla="*/ 4298036 w 4305152"/>
              <a:gd name="connsiteY5" fmla="*/ 5147058 h 5147058"/>
              <a:gd name="connsiteX6" fmla="*/ 0 w 4305152"/>
              <a:gd name="connsiteY6" fmla="*/ 5147058 h 5147058"/>
              <a:gd name="connsiteX7" fmla="*/ 1754083 w 4305152"/>
              <a:gd name="connsiteY7" fmla="*/ 3558 h 514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5152" h="5147058">
                <a:moveTo>
                  <a:pt x="3218185" y="3563"/>
                </a:moveTo>
                <a:lnTo>
                  <a:pt x="3218185" y="385163"/>
                </a:lnTo>
                <a:lnTo>
                  <a:pt x="3974185" y="385163"/>
                </a:lnTo>
                <a:lnTo>
                  <a:pt x="3974185" y="3563"/>
                </a:lnTo>
                <a:close/>
                <a:moveTo>
                  <a:pt x="4305152" y="0"/>
                </a:moveTo>
                <a:lnTo>
                  <a:pt x="4298036" y="5147058"/>
                </a:lnTo>
                <a:lnTo>
                  <a:pt x="0" y="5147058"/>
                </a:lnTo>
                <a:lnTo>
                  <a:pt x="1754083" y="3558"/>
                </a:lnTo>
                <a:close/>
              </a:path>
            </a:pathLst>
          </a:custGeom>
          <a:ln>
            <a:noFill/>
          </a:ln>
        </p:spPr>
        <p:txBody>
          <a:bodyPr wrap="square" tIns="1980000" rIns="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Click icon to add picture</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700000" y="1419226"/>
            <a:ext cx="2160000" cy="1548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6" name="Textplatzhalter 15">
            <a:extLst>
              <a:ext uri="{FF2B5EF4-FFF2-40B4-BE49-F238E27FC236}">
                <a16:creationId xmlns:a16="http://schemas.microsoft.com/office/drawing/2014/main" id="{5D37B192-2D05-499F-BED5-03FBDEE14831}"/>
              </a:ext>
            </a:extLst>
          </p:cNvPr>
          <p:cNvSpPr>
            <a:spLocks noGrp="1"/>
          </p:cNvSpPr>
          <p:nvPr>
            <p:ph type="body" sz="quarter" idx="13" hasCustomPrompt="1"/>
          </p:nvPr>
        </p:nvSpPr>
        <p:spPr>
          <a:xfrm>
            <a:off x="431799" y="1419225"/>
            <a:ext cx="2052000" cy="1548000"/>
          </a:xfrm>
          <a:prstGeom prst="rect">
            <a:avLst/>
          </a:prstGeom>
          <a:solidFill>
            <a:schemeClr val="accent5"/>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17" name="Inhaltsplatzhalter 2">
            <a:extLst>
              <a:ext uri="{FF2B5EF4-FFF2-40B4-BE49-F238E27FC236}">
                <a16:creationId xmlns:a16="http://schemas.microsoft.com/office/drawing/2014/main" id="{0F5CE197-CB0B-4A8D-8557-410F976B7CFE}"/>
              </a:ext>
            </a:extLst>
          </p:cNvPr>
          <p:cNvSpPr>
            <a:spLocks noGrp="1"/>
          </p:cNvSpPr>
          <p:nvPr>
            <p:ph idx="14" hasCustomPrompt="1"/>
          </p:nvPr>
        </p:nvSpPr>
        <p:spPr>
          <a:xfrm>
            <a:off x="2700001" y="3184338"/>
            <a:ext cx="2160000" cy="1548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18" name="Textplatzhalter 15">
            <a:extLst>
              <a:ext uri="{FF2B5EF4-FFF2-40B4-BE49-F238E27FC236}">
                <a16:creationId xmlns:a16="http://schemas.microsoft.com/office/drawing/2014/main" id="{BCEF6216-F40C-4603-9F5E-ED91B062AE32}"/>
              </a:ext>
            </a:extLst>
          </p:cNvPr>
          <p:cNvSpPr>
            <a:spLocks noGrp="1"/>
          </p:cNvSpPr>
          <p:nvPr>
            <p:ph type="body" sz="quarter" idx="15" hasCustomPrompt="1"/>
          </p:nvPr>
        </p:nvSpPr>
        <p:spPr>
          <a:xfrm>
            <a:off x="431800" y="3184337"/>
            <a:ext cx="2052000" cy="1548000"/>
          </a:xfrm>
          <a:prstGeom prst="rect">
            <a:avLst/>
          </a:prstGeom>
          <a:solidFill>
            <a:schemeClr val="accent5"/>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4" name="Fußzeilenplatzhalter 3">
            <a:extLst>
              <a:ext uri="{FF2B5EF4-FFF2-40B4-BE49-F238E27FC236}">
                <a16:creationId xmlns:a16="http://schemas.microsoft.com/office/drawing/2014/main" id="{508A4629-303D-4216-94A9-88556A9BF9BC}"/>
              </a:ext>
            </a:extLst>
          </p:cNvPr>
          <p:cNvSpPr>
            <a:spLocks noGrp="1"/>
          </p:cNvSpPr>
          <p:nvPr>
            <p:ph type="ftr" sz="quarter" idx="16"/>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1236407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ntent four box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A8AD40-5489-4BA0-8E03-755C60FBFABA}"/>
              </a:ext>
            </a:extLst>
          </p:cNvPr>
          <p:cNvGraphicFramePr>
            <a:graphicFrameLocks noChangeAspect="1"/>
          </p:cNvGraphicFramePr>
          <p:nvPr userDrawn="1">
            <p:custDataLst>
              <p:tags r:id="rId1"/>
            </p:custDataLst>
            <p:extLst>
              <p:ext uri="{D42A27DB-BD31-4B8C-83A1-F6EECF244321}">
                <p14:modId xmlns:p14="http://schemas.microsoft.com/office/powerpoint/2010/main" val="1629887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A1A8AD40-5489-4BA0-8E03-755C60FBFA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404721A-7601-4728-BCC8-27F3EBAA2C8C}"/>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17" name="Bildplatzhalter 14">
            <a:extLst>
              <a:ext uri="{FF2B5EF4-FFF2-40B4-BE49-F238E27FC236}">
                <a16:creationId xmlns:a16="http://schemas.microsoft.com/office/drawing/2014/main" id="{2F1FFA89-9DC7-4CA4-83C9-92D01F2834F4}"/>
              </a:ext>
            </a:extLst>
          </p:cNvPr>
          <p:cNvSpPr>
            <a:spLocks noGrp="1"/>
          </p:cNvSpPr>
          <p:nvPr>
            <p:ph type="pic" sz="quarter" idx="21" hasCustomPrompt="1"/>
          </p:nvPr>
        </p:nvSpPr>
        <p:spPr>
          <a:xfrm>
            <a:off x="4845965" y="-3563"/>
            <a:ext cx="4305152" cy="5147058"/>
          </a:xfrm>
          <a:custGeom>
            <a:avLst/>
            <a:gdLst>
              <a:gd name="connsiteX0" fmla="*/ 3218185 w 4305152"/>
              <a:gd name="connsiteY0" fmla="*/ 3563 h 5147058"/>
              <a:gd name="connsiteX1" fmla="*/ 3218185 w 4305152"/>
              <a:gd name="connsiteY1" fmla="*/ 385163 h 5147058"/>
              <a:gd name="connsiteX2" fmla="*/ 3974185 w 4305152"/>
              <a:gd name="connsiteY2" fmla="*/ 385163 h 5147058"/>
              <a:gd name="connsiteX3" fmla="*/ 3974185 w 4305152"/>
              <a:gd name="connsiteY3" fmla="*/ 3563 h 5147058"/>
              <a:gd name="connsiteX4" fmla="*/ 4305152 w 4305152"/>
              <a:gd name="connsiteY4" fmla="*/ 0 h 5147058"/>
              <a:gd name="connsiteX5" fmla="*/ 4298036 w 4305152"/>
              <a:gd name="connsiteY5" fmla="*/ 5147058 h 5147058"/>
              <a:gd name="connsiteX6" fmla="*/ 0 w 4305152"/>
              <a:gd name="connsiteY6" fmla="*/ 5147058 h 5147058"/>
              <a:gd name="connsiteX7" fmla="*/ 1754083 w 4305152"/>
              <a:gd name="connsiteY7" fmla="*/ 3558 h 514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5152" h="5147058">
                <a:moveTo>
                  <a:pt x="3218185" y="3563"/>
                </a:moveTo>
                <a:lnTo>
                  <a:pt x="3218185" y="385163"/>
                </a:lnTo>
                <a:lnTo>
                  <a:pt x="3974185" y="385163"/>
                </a:lnTo>
                <a:lnTo>
                  <a:pt x="3974185" y="3563"/>
                </a:lnTo>
                <a:close/>
                <a:moveTo>
                  <a:pt x="4305152" y="0"/>
                </a:moveTo>
                <a:lnTo>
                  <a:pt x="4298036" y="5147058"/>
                </a:lnTo>
                <a:lnTo>
                  <a:pt x="0" y="5147058"/>
                </a:lnTo>
                <a:lnTo>
                  <a:pt x="1754083" y="3558"/>
                </a:lnTo>
                <a:close/>
              </a:path>
            </a:pathLst>
          </a:custGeom>
          <a:ln>
            <a:noFill/>
          </a:ln>
        </p:spPr>
        <p:txBody>
          <a:bodyPr wrap="square" tIns="1980000" rIns="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Click icon to add picture</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700000" y="1419226"/>
            <a:ext cx="2160000" cy="719999"/>
          </a:xfrm>
          <a:prstGeom prst="rect">
            <a:avLst/>
          </a:prstGeom>
        </p:spPr>
        <p:txBody>
          <a:bodyPr/>
          <a:lstStyle>
            <a:lvl4pPr>
              <a:defRPr/>
            </a:lvl4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6" name="Textplatzhalter 15">
            <a:extLst>
              <a:ext uri="{FF2B5EF4-FFF2-40B4-BE49-F238E27FC236}">
                <a16:creationId xmlns:a16="http://schemas.microsoft.com/office/drawing/2014/main" id="{5D37B192-2D05-499F-BED5-03FBDEE14831}"/>
              </a:ext>
            </a:extLst>
          </p:cNvPr>
          <p:cNvSpPr>
            <a:spLocks noGrp="1"/>
          </p:cNvSpPr>
          <p:nvPr>
            <p:ph type="body" sz="quarter" idx="13" hasCustomPrompt="1"/>
          </p:nvPr>
        </p:nvSpPr>
        <p:spPr>
          <a:xfrm>
            <a:off x="431799" y="1419225"/>
            <a:ext cx="2052000" cy="720000"/>
          </a:xfrm>
          <a:prstGeom prst="rect">
            <a:avLst/>
          </a:prstGeom>
          <a:solidFill>
            <a:schemeClr val="accent5"/>
          </a:solidFill>
        </p:spPr>
        <p:txBody>
          <a:bodyPr lIns="252000" tIns="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19" name="Inhaltsplatzhalter 2">
            <a:extLst>
              <a:ext uri="{FF2B5EF4-FFF2-40B4-BE49-F238E27FC236}">
                <a16:creationId xmlns:a16="http://schemas.microsoft.com/office/drawing/2014/main" id="{BB217E49-5AD1-452F-B099-00837ABD50CD}"/>
              </a:ext>
            </a:extLst>
          </p:cNvPr>
          <p:cNvSpPr>
            <a:spLocks noGrp="1"/>
          </p:cNvSpPr>
          <p:nvPr>
            <p:ph idx="14" hasCustomPrompt="1"/>
          </p:nvPr>
        </p:nvSpPr>
        <p:spPr>
          <a:xfrm>
            <a:off x="2700001" y="2284686"/>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0" name="Textplatzhalter 15">
            <a:extLst>
              <a:ext uri="{FF2B5EF4-FFF2-40B4-BE49-F238E27FC236}">
                <a16:creationId xmlns:a16="http://schemas.microsoft.com/office/drawing/2014/main" id="{D035F31F-C3D8-4E43-9934-402152A4B730}"/>
              </a:ext>
            </a:extLst>
          </p:cNvPr>
          <p:cNvSpPr>
            <a:spLocks noGrp="1"/>
          </p:cNvSpPr>
          <p:nvPr>
            <p:ph type="body" sz="quarter" idx="15" hasCustomPrompt="1"/>
          </p:nvPr>
        </p:nvSpPr>
        <p:spPr>
          <a:xfrm>
            <a:off x="431800" y="2284685"/>
            <a:ext cx="2052000" cy="720000"/>
          </a:xfrm>
          <a:prstGeom prst="rect">
            <a:avLst/>
          </a:prstGeom>
          <a:solidFill>
            <a:schemeClr val="tx2"/>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21" name="Inhaltsplatzhalter 2">
            <a:extLst>
              <a:ext uri="{FF2B5EF4-FFF2-40B4-BE49-F238E27FC236}">
                <a16:creationId xmlns:a16="http://schemas.microsoft.com/office/drawing/2014/main" id="{67CFEBA3-06E2-49EA-A3EA-BC97C3E98627}"/>
              </a:ext>
            </a:extLst>
          </p:cNvPr>
          <p:cNvSpPr>
            <a:spLocks noGrp="1"/>
          </p:cNvSpPr>
          <p:nvPr>
            <p:ph idx="16" hasCustomPrompt="1"/>
          </p:nvPr>
        </p:nvSpPr>
        <p:spPr>
          <a:xfrm>
            <a:off x="2700001" y="4012339"/>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2" name="Textplatzhalter 15">
            <a:extLst>
              <a:ext uri="{FF2B5EF4-FFF2-40B4-BE49-F238E27FC236}">
                <a16:creationId xmlns:a16="http://schemas.microsoft.com/office/drawing/2014/main" id="{AA70BB0F-4757-4AC9-BFC4-51024B236BD1}"/>
              </a:ext>
            </a:extLst>
          </p:cNvPr>
          <p:cNvSpPr>
            <a:spLocks noGrp="1"/>
          </p:cNvSpPr>
          <p:nvPr>
            <p:ph type="body" sz="quarter" idx="17" hasCustomPrompt="1"/>
          </p:nvPr>
        </p:nvSpPr>
        <p:spPr>
          <a:xfrm>
            <a:off x="431800" y="4012338"/>
            <a:ext cx="2052000" cy="720000"/>
          </a:xfrm>
          <a:prstGeom prst="rect">
            <a:avLst/>
          </a:prstGeom>
          <a:solidFill>
            <a:schemeClr val="accent2"/>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23" name="Inhaltsplatzhalter 2">
            <a:extLst>
              <a:ext uri="{FF2B5EF4-FFF2-40B4-BE49-F238E27FC236}">
                <a16:creationId xmlns:a16="http://schemas.microsoft.com/office/drawing/2014/main" id="{21FCB89C-8093-47D6-BD29-374816470D57}"/>
              </a:ext>
            </a:extLst>
          </p:cNvPr>
          <p:cNvSpPr>
            <a:spLocks noGrp="1"/>
          </p:cNvSpPr>
          <p:nvPr>
            <p:ph idx="18" hasCustomPrompt="1"/>
          </p:nvPr>
        </p:nvSpPr>
        <p:spPr>
          <a:xfrm>
            <a:off x="2700001" y="3146878"/>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4" name="Textplatzhalter 15">
            <a:extLst>
              <a:ext uri="{FF2B5EF4-FFF2-40B4-BE49-F238E27FC236}">
                <a16:creationId xmlns:a16="http://schemas.microsoft.com/office/drawing/2014/main" id="{C2740252-F706-4CD8-9CB6-C0F060503EFF}"/>
              </a:ext>
            </a:extLst>
          </p:cNvPr>
          <p:cNvSpPr>
            <a:spLocks noGrp="1"/>
          </p:cNvSpPr>
          <p:nvPr>
            <p:ph type="body" sz="quarter" idx="19" hasCustomPrompt="1"/>
          </p:nvPr>
        </p:nvSpPr>
        <p:spPr>
          <a:xfrm>
            <a:off x="431800" y="3146877"/>
            <a:ext cx="2052000" cy="720000"/>
          </a:xfrm>
          <a:prstGeom prst="rect">
            <a:avLst/>
          </a:prstGeom>
          <a:solidFill>
            <a:schemeClr val="accent3"/>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4" name="Fußzeilenplatzhalter 3">
            <a:extLst>
              <a:ext uri="{FF2B5EF4-FFF2-40B4-BE49-F238E27FC236}">
                <a16:creationId xmlns:a16="http://schemas.microsoft.com/office/drawing/2014/main" id="{58F1832E-9F08-42FD-A028-EEEFE7BAB96B}"/>
              </a:ext>
            </a:extLst>
          </p:cNvPr>
          <p:cNvSpPr>
            <a:spLocks noGrp="1"/>
          </p:cNvSpPr>
          <p:nvPr>
            <p:ph type="ftr" sz="quarter" idx="2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4295290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ext and pictures 01">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419226"/>
            <a:ext cx="3600000" cy="1980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585939"/>
            <a:ext cx="3600000" cy="648000"/>
          </a:xfrm>
        </p:spPr>
        <p:txBody>
          <a:bodyPr/>
          <a:lstStyle>
            <a:lvl1pPr>
              <a:lnSpc>
                <a:spcPts val="2600"/>
              </a:lnSpc>
              <a:defRPr/>
            </a:lvl1pPr>
          </a:lstStyle>
          <a:p>
            <a:r>
              <a:rPr lang="en-US" noProof="0" dirty="0"/>
              <a:t>Click to edit master </a:t>
            </a:r>
            <a:br>
              <a:rPr lang="en-US" noProof="0" dirty="0"/>
            </a:br>
            <a:r>
              <a:rPr lang="en-US" noProof="0" dirty="0"/>
              <a:t>title style</a:t>
            </a:r>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276943"/>
            <a:ext cx="360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646889" y="627062"/>
            <a:ext cx="4173260" cy="4255949"/>
          </a:xfrm>
          <a:custGeom>
            <a:avLst/>
            <a:gdLst>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000" h="1440000">
                <a:moveTo>
                  <a:pt x="0" y="0"/>
                </a:moveTo>
                <a:lnTo>
                  <a:pt x="2196000" y="0"/>
                </a:lnTo>
                <a:lnTo>
                  <a:pt x="2196000" y="1440000"/>
                </a:lnTo>
                <a:lnTo>
                  <a:pt x="0" y="1440000"/>
                </a:lnTo>
                <a:lnTo>
                  <a:pt x="0" y="0"/>
                </a:lnTo>
                <a:close/>
              </a:path>
            </a:pathLst>
          </a:custGeom>
        </p:spPr>
        <p:txBody>
          <a:bodyPr tIns="252000"/>
          <a:lstStyle>
            <a:lvl1pPr algn="ctr">
              <a:defRPr/>
            </a:lvl1pPr>
          </a:lstStyle>
          <a:p>
            <a:r>
              <a:rPr lang="en-GB" dirty="0"/>
              <a:t>Click icon to add picture</a:t>
            </a:r>
          </a:p>
        </p:txBody>
      </p:sp>
      <p:sp>
        <p:nvSpPr>
          <p:cNvPr id="22" name="Textplatzhalter 6">
            <a:extLst>
              <a:ext uri="{FF2B5EF4-FFF2-40B4-BE49-F238E27FC236}">
                <a16:creationId xmlns:a16="http://schemas.microsoft.com/office/drawing/2014/main" id="{C0B699A7-9FF9-4AC3-8041-956F2D3D7AB1}"/>
              </a:ext>
            </a:extLst>
          </p:cNvPr>
          <p:cNvSpPr>
            <a:spLocks noGrp="1"/>
          </p:cNvSpPr>
          <p:nvPr>
            <p:ph type="body" sz="quarter" idx="21" hasCustomPrompt="1"/>
          </p:nvPr>
        </p:nvSpPr>
        <p:spPr>
          <a:xfrm>
            <a:off x="431800" y="3623023"/>
            <a:ext cx="3600000" cy="1260000"/>
          </a:xfrm>
          <a:custGeom>
            <a:avLst/>
            <a:gdLst>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000" h="3455988">
                <a:moveTo>
                  <a:pt x="0" y="0"/>
                </a:moveTo>
                <a:lnTo>
                  <a:pt x="3024000" y="0"/>
                </a:lnTo>
                <a:lnTo>
                  <a:pt x="3024000" y="3455988"/>
                </a:lnTo>
                <a:lnTo>
                  <a:pt x="0" y="3455988"/>
                </a:lnTo>
                <a:lnTo>
                  <a:pt x="0" y="0"/>
                </a:lnTo>
                <a:close/>
              </a:path>
            </a:pathLst>
          </a:custGeom>
          <a:solidFill>
            <a:schemeClr val="accent3"/>
          </a:solidFill>
        </p:spPr>
        <p:txBody>
          <a:bodyPr lIns="144000" tIns="144000" rIns="144000" bIns="144000"/>
          <a:lstStyle>
            <a:lvl1pPr>
              <a:defRPr sz="1000" b="1" cap="all" spc="1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SUBHEADER 01</a:t>
            </a:r>
            <a:endParaRPr lang="en-GB" dirty="0"/>
          </a:p>
        </p:txBody>
      </p:sp>
      <p:sp>
        <p:nvSpPr>
          <p:cNvPr id="25" name="Inhaltsplatzhalter 2">
            <a:extLst>
              <a:ext uri="{FF2B5EF4-FFF2-40B4-BE49-F238E27FC236}">
                <a16:creationId xmlns:a16="http://schemas.microsoft.com/office/drawing/2014/main" id="{2D28AD88-647A-4E27-8DA9-AE30B82AB3BA}"/>
              </a:ext>
            </a:extLst>
          </p:cNvPr>
          <p:cNvSpPr>
            <a:spLocks noGrp="1"/>
          </p:cNvSpPr>
          <p:nvPr>
            <p:ph idx="20" hasCustomPrompt="1"/>
          </p:nvPr>
        </p:nvSpPr>
        <p:spPr>
          <a:xfrm>
            <a:off x="571062" y="4053490"/>
            <a:ext cx="3348000" cy="829533"/>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marL="87313" indent="0">
              <a:buNone/>
              <a:defRPr>
                <a:solidFill>
                  <a:schemeClr val="bg1"/>
                </a:solidFill>
              </a:defRPr>
            </a:lvl4pPr>
            <a:lvl5pPr>
              <a:defRPr>
                <a:solidFill>
                  <a:schemeClr val="bg1"/>
                </a:solidFill>
              </a:defRPr>
            </a:lvl5pPr>
          </a:lstStyle>
          <a:p>
            <a:pPr lvl="0"/>
            <a:r>
              <a:rPr lang="en-US" noProof="0" dirty="0"/>
              <a:t>Click to edit master text style</a:t>
            </a:r>
          </a:p>
          <a:p>
            <a:pPr lvl="1"/>
            <a:r>
              <a:rPr lang="en-US" noProof="0" dirty="0"/>
              <a:t>Second level</a:t>
            </a:r>
          </a:p>
          <a:p>
            <a:pPr lvl="2"/>
            <a:r>
              <a:rPr lang="en-US" noProof="0" dirty="0"/>
              <a:t>Third level</a:t>
            </a:r>
          </a:p>
        </p:txBody>
      </p:sp>
      <p:sp>
        <p:nvSpPr>
          <p:cNvPr id="4" name="Fußzeilenplatzhalter 3">
            <a:extLst>
              <a:ext uri="{FF2B5EF4-FFF2-40B4-BE49-F238E27FC236}">
                <a16:creationId xmlns:a16="http://schemas.microsoft.com/office/drawing/2014/main" id="{49454675-EC99-4B9B-B39C-EF947840422F}"/>
              </a:ext>
            </a:extLst>
          </p:cNvPr>
          <p:cNvSpPr>
            <a:spLocks noGrp="1"/>
          </p:cNvSpPr>
          <p:nvPr>
            <p:ph type="ftr" sz="quarter" idx="22"/>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9253272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ext and pictures 01">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419226"/>
            <a:ext cx="3600000" cy="1980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585939"/>
            <a:ext cx="3600000" cy="648000"/>
          </a:xfrm>
        </p:spPr>
        <p:txBody>
          <a:bodyPr/>
          <a:lstStyle>
            <a:lvl1pPr>
              <a:lnSpc>
                <a:spcPts val="2600"/>
              </a:lnSpc>
              <a:defRPr/>
            </a:lvl1pPr>
          </a:lstStyle>
          <a:p>
            <a:r>
              <a:rPr lang="en-US" noProof="0" dirty="0"/>
              <a:t>Click to edit master </a:t>
            </a:r>
            <a:br>
              <a:rPr lang="en-US" noProof="0" dirty="0"/>
            </a:br>
            <a:r>
              <a:rPr lang="en-US" noProof="0" dirty="0"/>
              <a:t>title style</a:t>
            </a:r>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276943"/>
            <a:ext cx="360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646889" y="627062"/>
            <a:ext cx="4173260" cy="2046465"/>
          </a:xfrm>
          <a:custGeom>
            <a:avLst/>
            <a:gdLst>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000" h="1440000">
                <a:moveTo>
                  <a:pt x="0" y="0"/>
                </a:moveTo>
                <a:lnTo>
                  <a:pt x="2196000" y="0"/>
                </a:lnTo>
                <a:lnTo>
                  <a:pt x="2196000" y="1440000"/>
                </a:lnTo>
                <a:lnTo>
                  <a:pt x="0" y="1440000"/>
                </a:lnTo>
                <a:lnTo>
                  <a:pt x="0" y="0"/>
                </a:lnTo>
                <a:close/>
              </a:path>
            </a:pathLst>
          </a:custGeom>
        </p:spPr>
        <p:txBody>
          <a:bodyPr tIns="252000"/>
          <a:lstStyle>
            <a:lvl1pPr algn="ctr">
              <a:defRPr/>
            </a:lvl1pPr>
          </a:lstStyle>
          <a:p>
            <a:r>
              <a:rPr lang="en-GB" dirty="0"/>
              <a:t>Click icon to add picture</a:t>
            </a:r>
          </a:p>
        </p:txBody>
      </p:sp>
      <p:sp>
        <p:nvSpPr>
          <p:cNvPr id="22" name="Textplatzhalter 6">
            <a:extLst>
              <a:ext uri="{FF2B5EF4-FFF2-40B4-BE49-F238E27FC236}">
                <a16:creationId xmlns:a16="http://schemas.microsoft.com/office/drawing/2014/main" id="{C0B699A7-9FF9-4AC3-8041-956F2D3D7AB1}"/>
              </a:ext>
            </a:extLst>
          </p:cNvPr>
          <p:cNvSpPr>
            <a:spLocks noGrp="1"/>
          </p:cNvSpPr>
          <p:nvPr>
            <p:ph type="body" sz="quarter" idx="21" hasCustomPrompt="1"/>
          </p:nvPr>
        </p:nvSpPr>
        <p:spPr>
          <a:xfrm>
            <a:off x="431800" y="3623023"/>
            <a:ext cx="3600000" cy="1260000"/>
          </a:xfrm>
          <a:custGeom>
            <a:avLst/>
            <a:gdLst>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000" h="3455988">
                <a:moveTo>
                  <a:pt x="0" y="0"/>
                </a:moveTo>
                <a:lnTo>
                  <a:pt x="3024000" y="0"/>
                </a:lnTo>
                <a:lnTo>
                  <a:pt x="3024000" y="3455988"/>
                </a:lnTo>
                <a:lnTo>
                  <a:pt x="0" y="3455988"/>
                </a:lnTo>
                <a:lnTo>
                  <a:pt x="0" y="0"/>
                </a:lnTo>
                <a:close/>
              </a:path>
            </a:pathLst>
          </a:custGeom>
          <a:solidFill>
            <a:schemeClr val="accent3"/>
          </a:solidFill>
        </p:spPr>
        <p:txBody>
          <a:bodyPr lIns="144000" tIns="144000" rIns="144000" bIns="144000"/>
          <a:lstStyle>
            <a:lvl1pPr>
              <a:defRPr sz="1000" b="1" cap="all" spc="1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SUBHEADER 01</a:t>
            </a:r>
            <a:endParaRPr lang="en-GB" dirty="0"/>
          </a:p>
        </p:txBody>
      </p:sp>
      <p:sp>
        <p:nvSpPr>
          <p:cNvPr id="25" name="Inhaltsplatzhalter 2">
            <a:extLst>
              <a:ext uri="{FF2B5EF4-FFF2-40B4-BE49-F238E27FC236}">
                <a16:creationId xmlns:a16="http://schemas.microsoft.com/office/drawing/2014/main" id="{2D28AD88-647A-4E27-8DA9-AE30B82AB3BA}"/>
              </a:ext>
            </a:extLst>
          </p:cNvPr>
          <p:cNvSpPr>
            <a:spLocks noGrp="1"/>
          </p:cNvSpPr>
          <p:nvPr>
            <p:ph idx="20" hasCustomPrompt="1"/>
          </p:nvPr>
        </p:nvSpPr>
        <p:spPr>
          <a:xfrm>
            <a:off x="571062" y="4053490"/>
            <a:ext cx="3348000" cy="829533"/>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marL="87313" indent="0">
              <a:buNone/>
              <a:defRPr>
                <a:solidFill>
                  <a:schemeClr val="bg1"/>
                </a:solidFill>
              </a:defRPr>
            </a:lvl4pPr>
            <a:lvl5pPr>
              <a:defRPr>
                <a:solidFill>
                  <a:schemeClr val="bg1"/>
                </a:solidFill>
              </a:defRPr>
            </a:lvl5pPr>
          </a:lstStyle>
          <a:p>
            <a:pPr lvl="0"/>
            <a:r>
              <a:rPr lang="en-US" noProof="0" dirty="0"/>
              <a:t>Click to edit master text style</a:t>
            </a:r>
          </a:p>
          <a:p>
            <a:pPr lvl="1"/>
            <a:r>
              <a:rPr lang="en-US" noProof="0" dirty="0"/>
              <a:t>Second level</a:t>
            </a:r>
          </a:p>
          <a:p>
            <a:pPr lvl="2"/>
            <a:r>
              <a:rPr lang="en-US" noProof="0" dirty="0"/>
              <a:t>Third level</a:t>
            </a:r>
          </a:p>
        </p:txBody>
      </p:sp>
      <p:sp>
        <p:nvSpPr>
          <p:cNvPr id="4" name="Fußzeilenplatzhalter 3">
            <a:extLst>
              <a:ext uri="{FF2B5EF4-FFF2-40B4-BE49-F238E27FC236}">
                <a16:creationId xmlns:a16="http://schemas.microsoft.com/office/drawing/2014/main" id="{49454675-EC99-4B9B-B39C-EF947840422F}"/>
              </a:ext>
            </a:extLst>
          </p:cNvPr>
          <p:cNvSpPr>
            <a:spLocks noGrp="1"/>
          </p:cNvSpPr>
          <p:nvPr>
            <p:ph type="ftr" sz="quarter" idx="22"/>
          </p:nvPr>
        </p:nvSpPr>
        <p:spPr/>
        <p:txBody>
          <a:bodyPr/>
          <a:lstStyle>
            <a:lvl1pPr>
              <a:defRPr>
                <a:solidFill>
                  <a:schemeClr val="tx2"/>
                </a:solidFill>
              </a:defRPr>
            </a:lvl1pPr>
          </a:lstStyle>
          <a:p>
            <a:r>
              <a:rPr lang="en-GB"/>
              <a:t>#AllAboutSports</a:t>
            </a:r>
            <a:endParaRPr lang="en-GB" dirty="0"/>
          </a:p>
        </p:txBody>
      </p:sp>
      <p:sp>
        <p:nvSpPr>
          <p:cNvPr id="10" name="Bildplatzhalter 4">
            <a:extLst>
              <a:ext uri="{FF2B5EF4-FFF2-40B4-BE49-F238E27FC236}">
                <a16:creationId xmlns:a16="http://schemas.microsoft.com/office/drawing/2014/main" id="{EFD3D2BA-8499-4CFF-A0B3-8330545CBABB}"/>
              </a:ext>
            </a:extLst>
          </p:cNvPr>
          <p:cNvSpPr>
            <a:spLocks noGrp="1"/>
          </p:cNvSpPr>
          <p:nvPr>
            <p:ph type="pic" sz="quarter" idx="23" hasCustomPrompt="1"/>
          </p:nvPr>
        </p:nvSpPr>
        <p:spPr>
          <a:xfrm>
            <a:off x="4646889" y="2836558"/>
            <a:ext cx="4173260" cy="2046465"/>
          </a:xfrm>
          <a:custGeom>
            <a:avLst/>
            <a:gdLst>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000" h="1440000">
                <a:moveTo>
                  <a:pt x="0" y="0"/>
                </a:moveTo>
                <a:lnTo>
                  <a:pt x="2196000" y="0"/>
                </a:lnTo>
                <a:lnTo>
                  <a:pt x="2196000" y="1440000"/>
                </a:lnTo>
                <a:lnTo>
                  <a:pt x="0" y="1440000"/>
                </a:lnTo>
                <a:lnTo>
                  <a:pt x="0" y="0"/>
                </a:lnTo>
                <a:close/>
              </a:path>
            </a:pathLst>
          </a:custGeom>
        </p:spPr>
        <p:txBody>
          <a:bodyPr tIns="252000"/>
          <a:lstStyle>
            <a:lvl1pPr algn="ctr">
              <a:defRPr/>
            </a:lvl1pPr>
          </a:lstStyle>
          <a:p>
            <a:r>
              <a:rPr lang="en-GB" dirty="0"/>
              <a:t>Click icon to add picture</a:t>
            </a:r>
          </a:p>
        </p:txBody>
      </p:sp>
    </p:spTree>
    <p:extLst>
      <p:ext uri="{BB962C8B-B14F-4D97-AF65-F5344CB8AC3E}">
        <p14:creationId xmlns:p14="http://schemas.microsoft.com/office/powerpoint/2010/main" val="6343517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and pictures 01">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D90921AE-8DFE-4DA1-88BB-ED3A205874F2}"/>
              </a:ext>
            </a:extLst>
          </p:cNvPr>
          <p:cNvSpPr>
            <a:spLocks noGrp="1"/>
          </p:cNvSpPr>
          <p:nvPr>
            <p:ph type="pic" sz="quarter" idx="18" hasCustomPrompt="1"/>
          </p:nvPr>
        </p:nvSpPr>
        <p:spPr>
          <a:xfrm>
            <a:off x="6948000" y="3703500"/>
            <a:ext cx="2196000" cy="1440000"/>
          </a:xfrm>
          <a:prstGeom prst="rect">
            <a:avLst/>
          </a:prstGeom>
        </p:spPr>
        <p:txBody>
          <a:bodyPr tIns="252000"/>
          <a:lstStyle>
            <a:lvl1pPr algn="ctr">
              <a:defRPr/>
            </a:lvl1pPr>
          </a:lstStyle>
          <a:p>
            <a:r>
              <a:rPr lang="en-GB" dirty="0"/>
              <a:t>Click icon to add pictur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419226"/>
            <a:ext cx="3600000" cy="1980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585939"/>
            <a:ext cx="3600000" cy="648000"/>
          </a:xfrm>
        </p:spPr>
        <p:txBody>
          <a:bodyPr/>
          <a:lstStyle>
            <a:lvl1pPr>
              <a:lnSpc>
                <a:spcPts val="2600"/>
              </a:lnSpc>
              <a:defRPr/>
            </a:lvl1pPr>
          </a:lstStyle>
          <a:p>
            <a:r>
              <a:rPr lang="en-US" noProof="0" dirty="0"/>
              <a:t>Click to edit master </a:t>
            </a:r>
            <a:br>
              <a:rPr lang="en-US" noProof="0" dirty="0"/>
            </a:br>
            <a:r>
              <a:rPr lang="en-US" noProof="0" dirty="0"/>
              <a:t>title style</a:t>
            </a:r>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276943"/>
            <a:ext cx="360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646889" y="627063"/>
            <a:ext cx="2196000" cy="1440000"/>
          </a:xfrm>
          <a:custGeom>
            <a:avLst/>
            <a:gdLst>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000" h="1440000">
                <a:moveTo>
                  <a:pt x="0" y="0"/>
                </a:moveTo>
                <a:lnTo>
                  <a:pt x="2196000" y="0"/>
                </a:lnTo>
                <a:lnTo>
                  <a:pt x="2196000" y="1440000"/>
                </a:lnTo>
                <a:lnTo>
                  <a:pt x="0" y="1440000"/>
                </a:lnTo>
                <a:lnTo>
                  <a:pt x="0" y="0"/>
                </a:lnTo>
                <a:close/>
              </a:path>
            </a:pathLst>
          </a:custGeom>
        </p:spPr>
        <p:txBody>
          <a:bodyPr tIns="252000"/>
          <a:lstStyle>
            <a:lvl1pPr algn="ctr">
              <a:defRPr/>
            </a:lvl1pPr>
          </a:lstStyle>
          <a:p>
            <a:r>
              <a:rPr lang="en-GB" dirty="0"/>
              <a:t>Click icon to add picture</a:t>
            </a:r>
          </a:p>
        </p:txBody>
      </p:sp>
      <p:sp>
        <p:nvSpPr>
          <p:cNvPr id="16" name="Bildplatzhalter 4">
            <a:extLst>
              <a:ext uri="{FF2B5EF4-FFF2-40B4-BE49-F238E27FC236}">
                <a16:creationId xmlns:a16="http://schemas.microsoft.com/office/drawing/2014/main" id="{650108E6-DFFA-4143-94C4-12B34C548FF6}"/>
              </a:ext>
            </a:extLst>
          </p:cNvPr>
          <p:cNvSpPr>
            <a:spLocks noGrp="1"/>
          </p:cNvSpPr>
          <p:nvPr>
            <p:ph type="pic" sz="quarter" idx="14" hasCustomPrompt="1"/>
          </p:nvPr>
        </p:nvSpPr>
        <p:spPr>
          <a:xfrm>
            <a:off x="6946645" y="627063"/>
            <a:ext cx="2196000" cy="1440000"/>
          </a:xfrm>
          <a:prstGeom prst="rect">
            <a:avLst/>
          </a:prstGeom>
        </p:spPr>
        <p:txBody>
          <a:bodyPr tIns="252000"/>
          <a:lstStyle>
            <a:lvl1pPr algn="ctr">
              <a:defRPr/>
            </a:lvl1pPr>
          </a:lstStyle>
          <a:p>
            <a:r>
              <a:rPr lang="en-GB" dirty="0"/>
              <a:t>Click icon to add picture</a:t>
            </a:r>
          </a:p>
        </p:txBody>
      </p:sp>
      <p:sp>
        <p:nvSpPr>
          <p:cNvPr id="17" name="Bildplatzhalter 4">
            <a:extLst>
              <a:ext uri="{FF2B5EF4-FFF2-40B4-BE49-F238E27FC236}">
                <a16:creationId xmlns:a16="http://schemas.microsoft.com/office/drawing/2014/main" id="{F872D036-A6D2-4FA4-B7D2-B9F45A3160F8}"/>
              </a:ext>
            </a:extLst>
          </p:cNvPr>
          <p:cNvSpPr>
            <a:spLocks noGrp="1"/>
          </p:cNvSpPr>
          <p:nvPr>
            <p:ph type="pic" sz="quarter" idx="15" hasCustomPrompt="1"/>
          </p:nvPr>
        </p:nvSpPr>
        <p:spPr>
          <a:xfrm>
            <a:off x="4646889" y="2165281"/>
            <a:ext cx="2196000" cy="1440000"/>
          </a:xfrm>
          <a:prstGeom prst="rect">
            <a:avLst/>
          </a:prstGeom>
        </p:spPr>
        <p:txBody>
          <a:bodyPr tIns="252000"/>
          <a:lstStyle>
            <a:lvl1pPr algn="ctr">
              <a:defRPr/>
            </a:lvl1pPr>
          </a:lstStyle>
          <a:p>
            <a:r>
              <a:rPr lang="en-GB" dirty="0"/>
              <a:t>Click icon to add picture</a:t>
            </a:r>
          </a:p>
        </p:txBody>
      </p:sp>
      <p:sp>
        <p:nvSpPr>
          <p:cNvPr id="18" name="Bildplatzhalter 4">
            <a:extLst>
              <a:ext uri="{FF2B5EF4-FFF2-40B4-BE49-F238E27FC236}">
                <a16:creationId xmlns:a16="http://schemas.microsoft.com/office/drawing/2014/main" id="{47A5E027-4BD0-4108-87DE-EF0C9808591D}"/>
              </a:ext>
            </a:extLst>
          </p:cNvPr>
          <p:cNvSpPr>
            <a:spLocks noGrp="1"/>
          </p:cNvSpPr>
          <p:nvPr>
            <p:ph type="pic" sz="quarter" idx="16" hasCustomPrompt="1"/>
          </p:nvPr>
        </p:nvSpPr>
        <p:spPr>
          <a:xfrm>
            <a:off x="6946645" y="2165281"/>
            <a:ext cx="2196000" cy="1440000"/>
          </a:xfrm>
          <a:prstGeom prst="rect">
            <a:avLst/>
          </a:prstGeom>
        </p:spPr>
        <p:txBody>
          <a:bodyPr tIns="252000"/>
          <a:lstStyle>
            <a:lvl1pPr algn="ctr">
              <a:defRPr/>
            </a:lvl1pPr>
          </a:lstStyle>
          <a:p>
            <a:r>
              <a:rPr lang="en-GB" dirty="0"/>
              <a:t>Click icon to add picture</a:t>
            </a:r>
          </a:p>
        </p:txBody>
      </p:sp>
      <p:sp>
        <p:nvSpPr>
          <p:cNvPr id="19" name="Bildplatzhalter 4">
            <a:extLst>
              <a:ext uri="{FF2B5EF4-FFF2-40B4-BE49-F238E27FC236}">
                <a16:creationId xmlns:a16="http://schemas.microsoft.com/office/drawing/2014/main" id="{0D451ECA-BC23-481F-A8D2-5B957EEA5E11}"/>
              </a:ext>
            </a:extLst>
          </p:cNvPr>
          <p:cNvSpPr>
            <a:spLocks noGrp="1"/>
          </p:cNvSpPr>
          <p:nvPr>
            <p:ph type="pic" sz="quarter" idx="17" hasCustomPrompt="1"/>
          </p:nvPr>
        </p:nvSpPr>
        <p:spPr>
          <a:xfrm>
            <a:off x="4648244" y="3703500"/>
            <a:ext cx="2196000" cy="1440000"/>
          </a:xfrm>
          <a:prstGeom prst="rect">
            <a:avLst/>
          </a:prstGeom>
        </p:spPr>
        <p:txBody>
          <a:bodyPr tIns="252000"/>
          <a:lstStyle>
            <a:lvl1pPr algn="ctr">
              <a:defRPr/>
            </a:lvl1pPr>
          </a:lstStyle>
          <a:p>
            <a:r>
              <a:rPr lang="en-GB" dirty="0"/>
              <a:t>Click icon to add picture</a:t>
            </a:r>
          </a:p>
        </p:txBody>
      </p:sp>
      <p:sp>
        <p:nvSpPr>
          <p:cNvPr id="22" name="Textplatzhalter 6">
            <a:extLst>
              <a:ext uri="{FF2B5EF4-FFF2-40B4-BE49-F238E27FC236}">
                <a16:creationId xmlns:a16="http://schemas.microsoft.com/office/drawing/2014/main" id="{C0B699A7-9FF9-4AC3-8041-956F2D3D7AB1}"/>
              </a:ext>
            </a:extLst>
          </p:cNvPr>
          <p:cNvSpPr>
            <a:spLocks noGrp="1"/>
          </p:cNvSpPr>
          <p:nvPr>
            <p:ph type="body" sz="quarter" idx="21" hasCustomPrompt="1"/>
          </p:nvPr>
        </p:nvSpPr>
        <p:spPr>
          <a:xfrm>
            <a:off x="431800" y="3623023"/>
            <a:ext cx="3600000" cy="1260000"/>
          </a:xfrm>
          <a:custGeom>
            <a:avLst/>
            <a:gdLst>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000" h="3455988">
                <a:moveTo>
                  <a:pt x="0" y="0"/>
                </a:moveTo>
                <a:lnTo>
                  <a:pt x="3024000" y="0"/>
                </a:lnTo>
                <a:lnTo>
                  <a:pt x="3024000" y="3455988"/>
                </a:lnTo>
                <a:lnTo>
                  <a:pt x="0" y="3455988"/>
                </a:lnTo>
                <a:lnTo>
                  <a:pt x="0" y="0"/>
                </a:lnTo>
                <a:close/>
              </a:path>
            </a:pathLst>
          </a:custGeom>
          <a:solidFill>
            <a:schemeClr val="accent3"/>
          </a:solidFill>
        </p:spPr>
        <p:txBody>
          <a:bodyPr lIns="144000" tIns="144000" rIns="144000" bIns="144000"/>
          <a:lstStyle>
            <a:lvl1pPr>
              <a:defRPr sz="1000" b="1" cap="all" spc="1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SUBHEADER 01</a:t>
            </a:r>
            <a:endParaRPr lang="en-GB" dirty="0"/>
          </a:p>
        </p:txBody>
      </p:sp>
      <p:sp>
        <p:nvSpPr>
          <p:cNvPr id="25" name="Inhaltsplatzhalter 2">
            <a:extLst>
              <a:ext uri="{FF2B5EF4-FFF2-40B4-BE49-F238E27FC236}">
                <a16:creationId xmlns:a16="http://schemas.microsoft.com/office/drawing/2014/main" id="{2D28AD88-647A-4E27-8DA9-AE30B82AB3BA}"/>
              </a:ext>
            </a:extLst>
          </p:cNvPr>
          <p:cNvSpPr>
            <a:spLocks noGrp="1"/>
          </p:cNvSpPr>
          <p:nvPr>
            <p:ph idx="20" hasCustomPrompt="1"/>
          </p:nvPr>
        </p:nvSpPr>
        <p:spPr>
          <a:xfrm>
            <a:off x="571062" y="4053490"/>
            <a:ext cx="3348000" cy="829533"/>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marL="87313" indent="0">
              <a:buNone/>
              <a:defRPr>
                <a:solidFill>
                  <a:schemeClr val="bg1"/>
                </a:solidFill>
              </a:defRPr>
            </a:lvl4pPr>
            <a:lvl5pPr>
              <a:defRPr>
                <a:solidFill>
                  <a:schemeClr val="bg1"/>
                </a:solidFill>
              </a:defRPr>
            </a:lvl5pPr>
          </a:lstStyle>
          <a:p>
            <a:pPr lvl="0"/>
            <a:r>
              <a:rPr lang="en-US" noProof="0" dirty="0"/>
              <a:t>Click to edit master text style</a:t>
            </a:r>
          </a:p>
          <a:p>
            <a:pPr lvl="1"/>
            <a:r>
              <a:rPr lang="en-US" noProof="0" dirty="0"/>
              <a:t>Second level</a:t>
            </a:r>
          </a:p>
          <a:p>
            <a:pPr lvl="2"/>
            <a:r>
              <a:rPr lang="en-US" noProof="0" dirty="0"/>
              <a:t>Third level</a:t>
            </a:r>
          </a:p>
        </p:txBody>
      </p:sp>
      <p:sp>
        <p:nvSpPr>
          <p:cNvPr id="4" name="Fußzeilenplatzhalter 3">
            <a:extLst>
              <a:ext uri="{FF2B5EF4-FFF2-40B4-BE49-F238E27FC236}">
                <a16:creationId xmlns:a16="http://schemas.microsoft.com/office/drawing/2014/main" id="{49454675-EC99-4B9B-B39C-EF947840422F}"/>
              </a:ext>
            </a:extLst>
          </p:cNvPr>
          <p:cNvSpPr>
            <a:spLocks noGrp="1"/>
          </p:cNvSpPr>
          <p:nvPr>
            <p:ph type="ftr" sz="quarter" idx="22"/>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2965340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and pictures 02">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D90921AE-8DFE-4DA1-88BB-ED3A205874F2}"/>
              </a:ext>
            </a:extLst>
          </p:cNvPr>
          <p:cNvSpPr>
            <a:spLocks noGrp="1"/>
          </p:cNvSpPr>
          <p:nvPr>
            <p:ph type="pic" sz="quarter" idx="18" hasCustomPrompt="1"/>
          </p:nvPr>
        </p:nvSpPr>
        <p:spPr>
          <a:xfrm>
            <a:off x="6509541" y="3094176"/>
            <a:ext cx="2634458" cy="2052000"/>
          </a:xfrm>
          <a:prstGeom prst="rect">
            <a:avLst/>
          </a:prstGeom>
        </p:spPr>
        <p:txBody>
          <a:bodyPr tIns="468000"/>
          <a:lstStyle>
            <a:lvl1pPr algn="ctr">
              <a:defRPr/>
            </a:lvl1pPr>
          </a:lstStyle>
          <a:p>
            <a:r>
              <a:rPr lang="en-GB" dirty="0"/>
              <a:t>Click icon to add picture</a:t>
            </a:r>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2339999" y="1276350"/>
            <a:ext cx="2052000" cy="1692000"/>
          </a:xfrm>
          <a:prstGeom prst="rect">
            <a:avLst/>
          </a:prstGeom>
        </p:spPr>
        <p:txBody>
          <a:bodyPr tIns="252000"/>
          <a:lstStyle>
            <a:lvl1pPr algn="ctr">
              <a:defRPr/>
            </a:lvl1pPr>
          </a:lstStyle>
          <a:p>
            <a:r>
              <a:rPr lang="en-GB" dirty="0"/>
              <a:t>Click icon to add picture</a:t>
            </a:r>
          </a:p>
        </p:txBody>
      </p:sp>
      <p:sp>
        <p:nvSpPr>
          <p:cNvPr id="16" name="Bildplatzhalter 4">
            <a:extLst>
              <a:ext uri="{FF2B5EF4-FFF2-40B4-BE49-F238E27FC236}">
                <a16:creationId xmlns:a16="http://schemas.microsoft.com/office/drawing/2014/main" id="{650108E6-DFFA-4143-94C4-12B34C548FF6}"/>
              </a:ext>
            </a:extLst>
          </p:cNvPr>
          <p:cNvSpPr>
            <a:spLocks noGrp="1"/>
          </p:cNvSpPr>
          <p:nvPr>
            <p:ph type="pic" sz="quarter" idx="14" hasCustomPrompt="1"/>
          </p:nvPr>
        </p:nvSpPr>
        <p:spPr>
          <a:xfrm>
            <a:off x="6509936" y="1276350"/>
            <a:ext cx="2628000" cy="1692000"/>
          </a:xfrm>
          <a:prstGeom prst="rect">
            <a:avLst/>
          </a:prstGeom>
        </p:spPr>
        <p:txBody>
          <a:bodyPr tIns="252000"/>
          <a:lstStyle>
            <a:lvl1pPr algn="ctr">
              <a:defRPr/>
            </a:lvl1pPr>
          </a:lstStyle>
          <a:p>
            <a:r>
              <a:rPr lang="en-GB" dirty="0"/>
              <a:t>Click icon to add picture</a:t>
            </a:r>
          </a:p>
        </p:txBody>
      </p:sp>
      <p:sp>
        <p:nvSpPr>
          <p:cNvPr id="17" name="Bildplatzhalter 4">
            <a:extLst>
              <a:ext uri="{FF2B5EF4-FFF2-40B4-BE49-F238E27FC236}">
                <a16:creationId xmlns:a16="http://schemas.microsoft.com/office/drawing/2014/main" id="{F872D036-A6D2-4FA4-B7D2-B9F45A3160F8}"/>
              </a:ext>
            </a:extLst>
          </p:cNvPr>
          <p:cNvSpPr>
            <a:spLocks noGrp="1"/>
          </p:cNvSpPr>
          <p:nvPr>
            <p:ph type="pic" sz="quarter" idx="15" hasCustomPrompt="1"/>
          </p:nvPr>
        </p:nvSpPr>
        <p:spPr>
          <a:xfrm>
            <a:off x="4514770" y="1275581"/>
            <a:ext cx="1872000" cy="1116000"/>
          </a:xfrm>
          <a:prstGeom prst="rect">
            <a:avLst/>
          </a:prstGeom>
        </p:spPr>
        <p:txBody>
          <a:bodyPr tIns="36000"/>
          <a:lstStyle>
            <a:lvl1pPr algn="ctr">
              <a:defRPr/>
            </a:lvl1pPr>
          </a:lstStyle>
          <a:p>
            <a:r>
              <a:rPr lang="en-GB" dirty="0"/>
              <a:t>Click icon to add picture</a:t>
            </a:r>
          </a:p>
        </p:txBody>
      </p:sp>
      <p:sp>
        <p:nvSpPr>
          <p:cNvPr id="18" name="Bildplatzhalter 4">
            <a:extLst>
              <a:ext uri="{FF2B5EF4-FFF2-40B4-BE49-F238E27FC236}">
                <a16:creationId xmlns:a16="http://schemas.microsoft.com/office/drawing/2014/main" id="{47A5E027-4BD0-4108-87DE-EF0C9808591D}"/>
              </a:ext>
            </a:extLst>
          </p:cNvPr>
          <p:cNvSpPr>
            <a:spLocks noGrp="1"/>
          </p:cNvSpPr>
          <p:nvPr>
            <p:ph type="pic" sz="quarter" idx="16" hasCustomPrompt="1"/>
          </p:nvPr>
        </p:nvSpPr>
        <p:spPr>
          <a:xfrm>
            <a:off x="4514770" y="2515497"/>
            <a:ext cx="1872000" cy="2628000"/>
          </a:xfrm>
          <a:prstGeom prst="rect">
            <a:avLst/>
          </a:prstGeom>
        </p:spPr>
        <p:txBody>
          <a:bodyPr tIns="756000"/>
          <a:lstStyle>
            <a:lvl1pPr algn="ctr">
              <a:defRPr/>
            </a:lvl1pPr>
          </a:lstStyle>
          <a:p>
            <a:r>
              <a:rPr lang="en-GB" dirty="0"/>
              <a:t>Click icon to add picture</a:t>
            </a:r>
          </a:p>
        </p:txBody>
      </p:sp>
      <p:sp>
        <p:nvSpPr>
          <p:cNvPr id="19" name="Bildplatzhalter 4">
            <a:extLst>
              <a:ext uri="{FF2B5EF4-FFF2-40B4-BE49-F238E27FC236}">
                <a16:creationId xmlns:a16="http://schemas.microsoft.com/office/drawing/2014/main" id="{0D451ECA-BC23-481F-A8D2-5B957EEA5E11}"/>
              </a:ext>
            </a:extLst>
          </p:cNvPr>
          <p:cNvSpPr>
            <a:spLocks noGrp="1"/>
          </p:cNvSpPr>
          <p:nvPr>
            <p:ph type="pic" sz="quarter" idx="17" hasCustomPrompt="1"/>
          </p:nvPr>
        </p:nvSpPr>
        <p:spPr>
          <a:xfrm>
            <a:off x="-1" y="3077675"/>
            <a:ext cx="4392000" cy="2065822"/>
          </a:xfrm>
          <a:prstGeom prst="rect">
            <a:avLst/>
          </a:prstGeom>
        </p:spPr>
        <p:txBody>
          <a:bodyPr tIns="648000"/>
          <a:lstStyle>
            <a:lvl1pPr algn="ctr">
              <a:defRPr/>
            </a:lvl1pPr>
          </a:lstStyle>
          <a:p>
            <a:r>
              <a:rPr lang="en-GB" dirty="0"/>
              <a:t>Click icon to add picture</a:t>
            </a:r>
          </a:p>
        </p:txBody>
      </p:sp>
      <p:sp>
        <p:nvSpPr>
          <p:cNvPr id="22" name="Titel 1">
            <a:extLst>
              <a:ext uri="{FF2B5EF4-FFF2-40B4-BE49-F238E27FC236}">
                <a16:creationId xmlns:a16="http://schemas.microsoft.com/office/drawing/2014/main" id="{DD8A9B8C-8751-4C67-B5F9-EA1A2886F1F0}"/>
              </a:ext>
            </a:extLst>
          </p:cNvPr>
          <p:cNvSpPr>
            <a:spLocks noGrp="1"/>
          </p:cNvSpPr>
          <p:nvPr>
            <p:ph type="title" hasCustomPrompt="1"/>
          </p:nvPr>
        </p:nvSpPr>
        <p:spPr>
          <a:xfrm>
            <a:off x="431800" y="560004"/>
            <a:ext cx="8243888" cy="612000"/>
          </a:xfrm>
        </p:spPr>
        <p:txBody>
          <a:bodyPr/>
          <a:lstStyle>
            <a:lvl1pPr>
              <a:defRPr/>
            </a:lvl1pPr>
          </a:lstStyle>
          <a:p>
            <a:r>
              <a:rPr lang="en-US" noProof="0" dirty="0"/>
              <a:t>Click to edit master title style</a:t>
            </a:r>
          </a:p>
        </p:txBody>
      </p:sp>
      <p:cxnSp>
        <p:nvCxnSpPr>
          <p:cNvPr id="25" name="Gerader Verbinder 24">
            <a:extLst>
              <a:ext uri="{FF2B5EF4-FFF2-40B4-BE49-F238E27FC236}">
                <a16:creationId xmlns:a16="http://schemas.microsoft.com/office/drawing/2014/main" id="{D3C3C8B0-451F-4A2D-A541-8062D1C3423B}"/>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Inhaltsplatzhalter 2">
            <a:extLst>
              <a:ext uri="{FF2B5EF4-FFF2-40B4-BE49-F238E27FC236}">
                <a16:creationId xmlns:a16="http://schemas.microsoft.com/office/drawing/2014/main" id="{6D6406F3-F103-44BE-BE5E-595C9FD6DE39}"/>
              </a:ext>
            </a:extLst>
          </p:cNvPr>
          <p:cNvSpPr>
            <a:spLocks noGrp="1"/>
          </p:cNvSpPr>
          <p:nvPr>
            <p:ph idx="1" hasCustomPrompt="1"/>
          </p:nvPr>
        </p:nvSpPr>
        <p:spPr>
          <a:xfrm>
            <a:off x="0" y="1275580"/>
            <a:ext cx="2216834" cy="1691983"/>
          </a:xfrm>
          <a:prstGeom prst="rect">
            <a:avLst/>
          </a:prstGeom>
          <a:solidFill>
            <a:schemeClr val="accent3"/>
          </a:solidFill>
        </p:spPr>
        <p:txBody>
          <a:bodyPr lIns="432000" tIns="144000" rIns="144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a:p>
            <a:pPr lvl="1"/>
            <a:r>
              <a:rPr lang="en-US" noProof="0" dirty="0"/>
              <a:t>Second level</a:t>
            </a:r>
          </a:p>
          <a:p>
            <a:pPr lvl="2"/>
            <a:r>
              <a:rPr lang="en-US" noProof="0" dirty="0"/>
              <a:t>Third level</a:t>
            </a:r>
          </a:p>
        </p:txBody>
      </p:sp>
      <p:sp>
        <p:nvSpPr>
          <p:cNvPr id="2" name="Fußzeilenplatzhalter 1">
            <a:extLst>
              <a:ext uri="{FF2B5EF4-FFF2-40B4-BE49-F238E27FC236}">
                <a16:creationId xmlns:a16="http://schemas.microsoft.com/office/drawing/2014/main" id="{3B400C5B-C1BE-4A86-B8AA-9588D233AF9C}"/>
              </a:ext>
            </a:extLst>
          </p:cNvPr>
          <p:cNvSpPr>
            <a:spLocks noGrp="1"/>
          </p:cNvSpPr>
          <p:nvPr>
            <p:ph type="ftr" sz="quarter" idx="19"/>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918927166"/>
      </p:ext>
    </p:extLst>
  </p:cSld>
  <p:clrMapOvr>
    <a:masterClrMapping/>
  </p:clrMapOvr>
  <p:extLst>
    <p:ext uri="{DCECCB84-F9BA-43D5-87BE-67443E8EF086}">
      <p15:sldGuideLst xmlns:p15="http://schemas.microsoft.com/office/powerpoint/2012/main">
        <p15:guide id="1" orient="horz" pos="804"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ntent and pictures 03">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3105138"/>
            <a:ext cx="396380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31800" y="1418571"/>
            <a:ext cx="3966030" cy="1440000"/>
          </a:xfrm>
          <a:prstGeom prst="rect">
            <a:avLst/>
          </a:prstGeom>
        </p:spPr>
        <p:txBody>
          <a:bodyPr tIns="252000"/>
          <a:lstStyle>
            <a:lvl1pPr algn="ctr">
              <a:defRPr/>
            </a:lvl1pPr>
          </a:lstStyle>
          <a:p>
            <a:r>
              <a:rPr lang="en-GB" dirty="0"/>
              <a:t>Click icon to add picture</a:t>
            </a: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lvl1pPr>
              <a:defRPr/>
            </a:lvl1pPr>
          </a:lstStyle>
          <a:p>
            <a:r>
              <a:rPr lang="en-US" noProof="0" dirty="0"/>
              <a:t>Click to edit master title style</a:t>
            </a:r>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365035F6-48EA-43F6-9343-9B5E2EA40F89}"/>
              </a:ext>
            </a:extLst>
          </p:cNvPr>
          <p:cNvSpPr>
            <a:spLocks noGrp="1"/>
          </p:cNvSpPr>
          <p:nvPr>
            <p:ph type="ftr" sz="quarter" idx="21"/>
          </p:nvPr>
        </p:nvSpPr>
        <p:spPr/>
        <p:txBody>
          <a:bodyPr/>
          <a:lstStyle>
            <a:lvl1pPr>
              <a:defRPr>
                <a:solidFill>
                  <a:schemeClr val="tx2"/>
                </a:solidFill>
              </a:defRPr>
            </a:lvl1pPr>
          </a:lstStyle>
          <a:p>
            <a:r>
              <a:rPr lang="en-GB"/>
              <a:t>#AllAboutSports</a:t>
            </a:r>
            <a:endParaRPr lang="en-GB" dirty="0"/>
          </a:p>
        </p:txBody>
      </p:sp>
      <p:sp>
        <p:nvSpPr>
          <p:cNvPr id="19" name="Inhaltsplatzhalter 2">
            <a:extLst>
              <a:ext uri="{FF2B5EF4-FFF2-40B4-BE49-F238E27FC236}">
                <a16:creationId xmlns:a16="http://schemas.microsoft.com/office/drawing/2014/main" id="{6B91F3B9-92B5-42C6-8EB3-7F0CCC2A7F22}"/>
              </a:ext>
            </a:extLst>
          </p:cNvPr>
          <p:cNvSpPr>
            <a:spLocks noGrp="1"/>
          </p:cNvSpPr>
          <p:nvPr>
            <p:ph idx="22" hasCustomPrompt="1"/>
          </p:nvPr>
        </p:nvSpPr>
        <p:spPr>
          <a:xfrm>
            <a:off x="4711012" y="3105138"/>
            <a:ext cx="396380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1" name="Bildplatzhalter 4">
            <a:extLst>
              <a:ext uri="{FF2B5EF4-FFF2-40B4-BE49-F238E27FC236}">
                <a16:creationId xmlns:a16="http://schemas.microsoft.com/office/drawing/2014/main" id="{BA7C831D-B822-46F4-8C86-1B6BC3979E68}"/>
              </a:ext>
            </a:extLst>
          </p:cNvPr>
          <p:cNvSpPr>
            <a:spLocks noGrp="1"/>
          </p:cNvSpPr>
          <p:nvPr>
            <p:ph type="pic" sz="quarter" idx="23" hasCustomPrompt="1"/>
          </p:nvPr>
        </p:nvSpPr>
        <p:spPr>
          <a:xfrm>
            <a:off x="4709658" y="1418571"/>
            <a:ext cx="3966030" cy="1440000"/>
          </a:xfrm>
          <a:prstGeom prst="rect">
            <a:avLst/>
          </a:prstGeom>
        </p:spPr>
        <p:txBody>
          <a:bodyPr tIns="252000"/>
          <a:lstStyle>
            <a:lvl1pPr algn="ctr">
              <a:defRPr/>
            </a:lvl1pPr>
          </a:lstStyle>
          <a:p>
            <a:r>
              <a:rPr lang="en-GB" dirty="0"/>
              <a:t>Click icon to add picture</a:t>
            </a:r>
          </a:p>
        </p:txBody>
      </p:sp>
    </p:spTree>
    <p:extLst>
      <p:ext uri="{BB962C8B-B14F-4D97-AF65-F5344CB8AC3E}">
        <p14:creationId xmlns:p14="http://schemas.microsoft.com/office/powerpoint/2010/main" val="11024973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nd pictures 03">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3109254"/>
            <a:ext cx="2410646" cy="1623085"/>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31800" y="1418571"/>
            <a:ext cx="2412000" cy="1440000"/>
          </a:xfrm>
          <a:prstGeom prst="rect">
            <a:avLst/>
          </a:prstGeom>
        </p:spPr>
        <p:txBody>
          <a:bodyPr tIns="252000"/>
          <a:lstStyle>
            <a:lvl1pPr algn="ctr">
              <a:defRPr/>
            </a:lvl1pPr>
          </a:lstStyle>
          <a:p>
            <a:r>
              <a:rPr lang="en-GB" dirty="0"/>
              <a:t>Click icon to add picture</a:t>
            </a:r>
          </a:p>
        </p:txBody>
      </p:sp>
      <p:sp>
        <p:nvSpPr>
          <p:cNvPr id="17" name="Bildplatzhalter 4">
            <a:extLst>
              <a:ext uri="{FF2B5EF4-FFF2-40B4-BE49-F238E27FC236}">
                <a16:creationId xmlns:a16="http://schemas.microsoft.com/office/drawing/2014/main" id="{F872D036-A6D2-4FA4-B7D2-B9F45A3160F8}"/>
              </a:ext>
            </a:extLst>
          </p:cNvPr>
          <p:cNvSpPr>
            <a:spLocks noGrp="1"/>
          </p:cNvSpPr>
          <p:nvPr>
            <p:ph type="pic" sz="quarter" idx="15" hasCustomPrompt="1"/>
          </p:nvPr>
        </p:nvSpPr>
        <p:spPr>
          <a:xfrm>
            <a:off x="3347744" y="1419225"/>
            <a:ext cx="2412000" cy="1440000"/>
          </a:xfrm>
          <a:prstGeom prst="rect">
            <a:avLst/>
          </a:prstGeom>
        </p:spPr>
        <p:txBody>
          <a:bodyPr tIns="252000"/>
          <a:lstStyle>
            <a:lvl1pPr algn="ctr">
              <a:defRPr/>
            </a:lvl1pPr>
          </a:lstStyle>
          <a:p>
            <a:r>
              <a:rPr lang="en-GB" dirty="0"/>
              <a:t>Click icon to add picture</a:t>
            </a:r>
          </a:p>
        </p:txBody>
      </p:sp>
      <p:sp>
        <p:nvSpPr>
          <p:cNvPr id="20" name="Bildplatzhalter 4">
            <a:extLst>
              <a:ext uri="{FF2B5EF4-FFF2-40B4-BE49-F238E27FC236}">
                <a16:creationId xmlns:a16="http://schemas.microsoft.com/office/drawing/2014/main" id="{D90921AE-8DFE-4DA1-88BB-ED3A205874F2}"/>
              </a:ext>
            </a:extLst>
          </p:cNvPr>
          <p:cNvSpPr>
            <a:spLocks noGrp="1"/>
          </p:cNvSpPr>
          <p:nvPr>
            <p:ph type="pic" sz="quarter" idx="18" hasCustomPrompt="1"/>
          </p:nvPr>
        </p:nvSpPr>
        <p:spPr>
          <a:xfrm>
            <a:off x="6263688" y="1419225"/>
            <a:ext cx="2412000" cy="1440000"/>
          </a:xfrm>
          <a:prstGeom prst="rect">
            <a:avLst/>
          </a:prstGeom>
        </p:spPr>
        <p:txBody>
          <a:bodyPr tIns="252000"/>
          <a:lstStyle>
            <a:lvl1pPr algn="ctr">
              <a:defRPr/>
            </a:lvl1pPr>
          </a:lstStyle>
          <a:p>
            <a:r>
              <a:rPr lang="en-GB" dirty="0"/>
              <a:t>Click icon to add picture</a:t>
            </a: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lvl1pPr>
              <a:defRPr/>
            </a:lvl1pPr>
          </a:lstStyle>
          <a:p>
            <a:r>
              <a:rPr lang="en-US" noProof="0" dirty="0"/>
              <a:t>Click to edit master title style</a:t>
            </a:r>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Inhaltsplatzhalter 2">
            <a:extLst>
              <a:ext uri="{FF2B5EF4-FFF2-40B4-BE49-F238E27FC236}">
                <a16:creationId xmlns:a16="http://schemas.microsoft.com/office/drawing/2014/main" id="{7AE39572-9160-4AF1-929C-2D3870AC3CE7}"/>
              </a:ext>
            </a:extLst>
          </p:cNvPr>
          <p:cNvSpPr>
            <a:spLocks noGrp="1"/>
          </p:cNvSpPr>
          <p:nvPr>
            <p:ph idx="19" hasCustomPrompt="1"/>
          </p:nvPr>
        </p:nvSpPr>
        <p:spPr>
          <a:xfrm>
            <a:off x="3343460" y="3106446"/>
            <a:ext cx="2410646" cy="1623085"/>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7" name="Inhaltsplatzhalter 2">
            <a:extLst>
              <a:ext uri="{FF2B5EF4-FFF2-40B4-BE49-F238E27FC236}">
                <a16:creationId xmlns:a16="http://schemas.microsoft.com/office/drawing/2014/main" id="{0C6C2FF5-9C62-401E-86C3-4FFC5DA47CD0}"/>
              </a:ext>
            </a:extLst>
          </p:cNvPr>
          <p:cNvSpPr>
            <a:spLocks noGrp="1"/>
          </p:cNvSpPr>
          <p:nvPr>
            <p:ph idx="20" hasCustomPrompt="1"/>
          </p:nvPr>
        </p:nvSpPr>
        <p:spPr>
          <a:xfrm>
            <a:off x="6263688" y="3102011"/>
            <a:ext cx="2410646" cy="1623085"/>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 name="Fußzeilenplatzhalter 1">
            <a:extLst>
              <a:ext uri="{FF2B5EF4-FFF2-40B4-BE49-F238E27FC236}">
                <a16:creationId xmlns:a16="http://schemas.microsoft.com/office/drawing/2014/main" id="{365035F6-48EA-43F6-9343-9B5E2EA40F89}"/>
              </a:ext>
            </a:extLst>
          </p:cNvPr>
          <p:cNvSpPr>
            <a:spLocks noGrp="1"/>
          </p:cNvSpPr>
          <p:nvPr>
            <p:ph type="ftr" sz="quarter" idx="21"/>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1058604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ontent and pictures 03">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5" y="3105138"/>
            <a:ext cx="197169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31801" y="1418571"/>
            <a:ext cx="1973047" cy="1440000"/>
          </a:xfrm>
          <a:prstGeom prst="rect">
            <a:avLst/>
          </a:prstGeom>
        </p:spPr>
        <p:txBody>
          <a:bodyPr tIns="252000"/>
          <a:lstStyle>
            <a:lvl1pPr algn="ctr">
              <a:defRPr/>
            </a:lvl1pPr>
          </a:lstStyle>
          <a:p>
            <a:r>
              <a:rPr lang="en-GB" dirty="0"/>
              <a:t>Click icon to add picture</a:t>
            </a: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lvl1pPr>
              <a:defRPr/>
            </a:lvl1pPr>
          </a:lstStyle>
          <a:p>
            <a:r>
              <a:rPr lang="en-US" noProof="0" dirty="0"/>
              <a:t>Click to edit master title style</a:t>
            </a:r>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365035F6-48EA-43F6-9343-9B5E2EA40F89}"/>
              </a:ext>
            </a:extLst>
          </p:cNvPr>
          <p:cNvSpPr>
            <a:spLocks noGrp="1"/>
          </p:cNvSpPr>
          <p:nvPr>
            <p:ph type="ftr" sz="quarter" idx="21"/>
          </p:nvPr>
        </p:nvSpPr>
        <p:spPr/>
        <p:txBody>
          <a:bodyPr/>
          <a:lstStyle>
            <a:lvl1pPr>
              <a:defRPr>
                <a:solidFill>
                  <a:schemeClr val="tx2"/>
                </a:solidFill>
              </a:defRPr>
            </a:lvl1pPr>
          </a:lstStyle>
          <a:p>
            <a:r>
              <a:rPr lang="en-GB"/>
              <a:t>#AllAboutSports</a:t>
            </a:r>
            <a:endParaRPr lang="en-GB" dirty="0"/>
          </a:p>
        </p:txBody>
      </p:sp>
      <p:sp>
        <p:nvSpPr>
          <p:cNvPr id="21" name="Bildplatzhalter 4">
            <a:extLst>
              <a:ext uri="{FF2B5EF4-FFF2-40B4-BE49-F238E27FC236}">
                <a16:creationId xmlns:a16="http://schemas.microsoft.com/office/drawing/2014/main" id="{BA7C831D-B822-46F4-8C86-1B6BC3979E68}"/>
              </a:ext>
            </a:extLst>
          </p:cNvPr>
          <p:cNvSpPr>
            <a:spLocks noGrp="1"/>
          </p:cNvSpPr>
          <p:nvPr>
            <p:ph type="pic" sz="quarter" idx="23" hasCustomPrompt="1"/>
          </p:nvPr>
        </p:nvSpPr>
        <p:spPr>
          <a:xfrm>
            <a:off x="2527887" y="1418571"/>
            <a:ext cx="1973047" cy="1440000"/>
          </a:xfrm>
          <a:prstGeom prst="rect">
            <a:avLst/>
          </a:prstGeom>
        </p:spPr>
        <p:txBody>
          <a:bodyPr tIns="252000"/>
          <a:lstStyle>
            <a:lvl1pPr algn="ctr">
              <a:defRPr/>
            </a:lvl1pPr>
          </a:lstStyle>
          <a:p>
            <a:r>
              <a:rPr lang="en-GB" dirty="0"/>
              <a:t>Click icon to add picture</a:t>
            </a:r>
          </a:p>
        </p:txBody>
      </p:sp>
      <p:sp>
        <p:nvSpPr>
          <p:cNvPr id="16" name="Bildplatzhalter 4">
            <a:extLst>
              <a:ext uri="{FF2B5EF4-FFF2-40B4-BE49-F238E27FC236}">
                <a16:creationId xmlns:a16="http://schemas.microsoft.com/office/drawing/2014/main" id="{88F60992-8A0D-4FFA-A9B4-658502E52A0E}"/>
              </a:ext>
            </a:extLst>
          </p:cNvPr>
          <p:cNvSpPr>
            <a:spLocks noGrp="1"/>
          </p:cNvSpPr>
          <p:nvPr>
            <p:ph type="pic" sz="quarter" idx="25" hasCustomPrompt="1"/>
          </p:nvPr>
        </p:nvSpPr>
        <p:spPr>
          <a:xfrm>
            <a:off x="4623973" y="1418571"/>
            <a:ext cx="1973047" cy="1440000"/>
          </a:xfrm>
          <a:prstGeom prst="rect">
            <a:avLst/>
          </a:prstGeom>
        </p:spPr>
        <p:txBody>
          <a:bodyPr tIns="252000"/>
          <a:lstStyle>
            <a:lvl1pPr algn="ctr">
              <a:defRPr/>
            </a:lvl1pPr>
          </a:lstStyle>
          <a:p>
            <a:r>
              <a:rPr lang="en-GB" dirty="0"/>
              <a:t>Click icon to add picture</a:t>
            </a:r>
          </a:p>
        </p:txBody>
      </p:sp>
      <p:sp>
        <p:nvSpPr>
          <p:cNvPr id="18" name="Bildplatzhalter 4">
            <a:extLst>
              <a:ext uri="{FF2B5EF4-FFF2-40B4-BE49-F238E27FC236}">
                <a16:creationId xmlns:a16="http://schemas.microsoft.com/office/drawing/2014/main" id="{BF5856A9-D902-4205-B690-C2BA9AFB4A79}"/>
              </a:ext>
            </a:extLst>
          </p:cNvPr>
          <p:cNvSpPr>
            <a:spLocks noGrp="1"/>
          </p:cNvSpPr>
          <p:nvPr>
            <p:ph type="pic" sz="quarter" idx="27" hasCustomPrompt="1"/>
          </p:nvPr>
        </p:nvSpPr>
        <p:spPr>
          <a:xfrm>
            <a:off x="6720058" y="1418571"/>
            <a:ext cx="1973047" cy="1440000"/>
          </a:xfrm>
          <a:prstGeom prst="rect">
            <a:avLst/>
          </a:prstGeom>
        </p:spPr>
        <p:txBody>
          <a:bodyPr tIns="252000"/>
          <a:lstStyle>
            <a:lvl1pPr algn="ctr">
              <a:defRPr/>
            </a:lvl1pPr>
          </a:lstStyle>
          <a:p>
            <a:r>
              <a:rPr lang="en-GB" dirty="0"/>
              <a:t>Click icon to add picture</a:t>
            </a:r>
          </a:p>
        </p:txBody>
      </p:sp>
      <p:sp>
        <p:nvSpPr>
          <p:cNvPr id="20" name="Inhaltsplatzhalter 2">
            <a:extLst>
              <a:ext uri="{FF2B5EF4-FFF2-40B4-BE49-F238E27FC236}">
                <a16:creationId xmlns:a16="http://schemas.microsoft.com/office/drawing/2014/main" id="{C6F0E08E-F86B-407B-A2A4-EADC3EC3B26D}"/>
              </a:ext>
            </a:extLst>
          </p:cNvPr>
          <p:cNvSpPr>
            <a:spLocks noGrp="1"/>
          </p:cNvSpPr>
          <p:nvPr>
            <p:ph idx="28" hasCustomPrompt="1"/>
          </p:nvPr>
        </p:nvSpPr>
        <p:spPr>
          <a:xfrm>
            <a:off x="2529240" y="3105138"/>
            <a:ext cx="197169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3" name="Inhaltsplatzhalter 2">
            <a:extLst>
              <a:ext uri="{FF2B5EF4-FFF2-40B4-BE49-F238E27FC236}">
                <a16:creationId xmlns:a16="http://schemas.microsoft.com/office/drawing/2014/main" id="{AAED7F6C-B34F-4984-8AF7-F857C2267EA1}"/>
              </a:ext>
            </a:extLst>
          </p:cNvPr>
          <p:cNvSpPr>
            <a:spLocks noGrp="1"/>
          </p:cNvSpPr>
          <p:nvPr>
            <p:ph idx="29" hasCustomPrompt="1"/>
          </p:nvPr>
        </p:nvSpPr>
        <p:spPr>
          <a:xfrm>
            <a:off x="4623973" y="3105138"/>
            <a:ext cx="197169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4" name="Inhaltsplatzhalter 2">
            <a:extLst>
              <a:ext uri="{FF2B5EF4-FFF2-40B4-BE49-F238E27FC236}">
                <a16:creationId xmlns:a16="http://schemas.microsoft.com/office/drawing/2014/main" id="{C3AE5FBF-F9DF-4648-9DF5-6FE0A88109AF}"/>
              </a:ext>
            </a:extLst>
          </p:cNvPr>
          <p:cNvSpPr>
            <a:spLocks noGrp="1"/>
          </p:cNvSpPr>
          <p:nvPr>
            <p:ph idx="30" hasCustomPrompt="1"/>
          </p:nvPr>
        </p:nvSpPr>
        <p:spPr>
          <a:xfrm>
            <a:off x="6720058" y="3105138"/>
            <a:ext cx="197169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Tree>
    <p:extLst>
      <p:ext uri="{BB962C8B-B14F-4D97-AF65-F5344CB8AC3E}">
        <p14:creationId xmlns:p14="http://schemas.microsoft.com/office/powerpoint/2010/main" val="30805950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2088837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7" name="Bildplatzhalter 4">
            <a:extLst>
              <a:ext uri="{FF2B5EF4-FFF2-40B4-BE49-F238E27FC236}">
                <a16:creationId xmlns:a16="http://schemas.microsoft.com/office/drawing/2014/main" id="{643CA984-4C24-479B-BE20-079A1EBCE514}"/>
              </a:ext>
            </a:extLst>
          </p:cNvPr>
          <p:cNvSpPr>
            <a:spLocks noGrp="1"/>
          </p:cNvSpPr>
          <p:nvPr>
            <p:ph type="pic" sz="quarter" idx="13" hasCustomPrompt="1"/>
          </p:nvPr>
        </p:nvSpPr>
        <p:spPr>
          <a:xfrm>
            <a:off x="431800" y="1255886"/>
            <a:ext cx="3966030" cy="1440000"/>
          </a:xfrm>
          <a:prstGeom prst="rect">
            <a:avLst/>
          </a:prstGeom>
        </p:spPr>
        <p:txBody>
          <a:bodyPr tIns="252000"/>
          <a:lstStyle>
            <a:lvl1pPr algn="ctr">
              <a:defRPr/>
            </a:lvl1pPr>
          </a:lstStyle>
          <a:p>
            <a:r>
              <a:rPr lang="en-GB" dirty="0"/>
              <a:t>Click icon to add picture</a:t>
            </a:r>
          </a:p>
        </p:txBody>
      </p:sp>
      <p:sp>
        <p:nvSpPr>
          <p:cNvPr id="43" name="Bildplatzhalter 4">
            <a:extLst>
              <a:ext uri="{FF2B5EF4-FFF2-40B4-BE49-F238E27FC236}">
                <a16:creationId xmlns:a16="http://schemas.microsoft.com/office/drawing/2014/main" id="{48E20C01-5162-483D-B5F8-34F409E37FF7}"/>
              </a:ext>
            </a:extLst>
          </p:cNvPr>
          <p:cNvSpPr>
            <a:spLocks noGrp="1"/>
          </p:cNvSpPr>
          <p:nvPr>
            <p:ph type="pic" sz="quarter" idx="23" hasCustomPrompt="1"/>
          </p:nvPr>
        </p:nvSpPr>
        <p:spPr>
          <a:xfrm>
            <a:off x="4709658" y="1255886"/>
            <a:ext cx="3966030" cy="1440000"/>
          </a:xfrm>
          <a:prstGeom prst="rect">
            <a:avLst/>
          </a:prstGeom>
        </p:spPr>
        <p:txBody>
          <a:bodyPr tIns="252000"/>
          <a:lstStyle>
            <a:lvl1pPr algn="ctr">
              <a:defRPr/>
            </a:lvl1pPr>
          </a:lstStyle>
          <a:p>
            <a:r>
              <a:rPr lang="en-GB" dirty="0"/>
              <a:t>Click icon to add picture</a:t>
            </a:r>
          </a:p>
        </p:txBody>
      </p:sp>
      <p:sp>
        <p:nvSpPr>
          <p:cNvPr id="45" name="Bildplatzhalter 4">
            <a:extLst>
              <a:ext uri="{FF2B5EF4-FFF2-40B4-BE49-F238E27FC236}">
                <a16:creationId xmlns:a16="http://schemas.microsoft.com/office/drawing/2014/main" id="{2282F5D1-A303-42BD-B9F8-E0872041AC20}"/>
              </a:ext>
            </a:extLst>
          </p:cNvPr>
          <p:cNvSpPr>
            <a:spLocks noGrp="1"/>
          </p:cNvSpPr>
          <p:nvPr>
            <p:ph type="pic" sz="quarter" idx="43" hasCustomPrompt="1"/>
          </p:nvPr>
        </p:nvSpPr>
        <p:spPr>
          <a:xfrm>
            <a:off x="431800" y="3040414"/>
            <a:ext cx="3966030" cy="1440000"/>
          </a:xfrm>
          <a:prstGeom prst="rect">
            <a:avLst/>
          </a:prstGeom>
        </p:spPr>
        <p:txBody>
          <a:bodyPr tIns="252000"/>
          <a:lstStyle>
            <a:lvl1pPr algn="ctr">
              <a:defRPr/>
            </a:lvl1pPr>
          </a:lstStyle>
          <a:p>
            <a:r>
              <a:rPr lang="en-GB" dirty="0"/>
              <a:t>Click icon to add picture</a:t>
            </a:r>
          </a:p>
        </p:txBody>
      </p:sp>
      <p:sp>
        <p:nvSpPr>
          <p:cNvPr id="46" name="Bildplatzhalter 4">
            <a:extLst>
              <a:ext uri="{FF2B5EF4-FFF2-40B4-BE49-F238E27FC236}">
                <a16:creationId xmlns:a16="http://schemas.microsoft.com/office/drawing/2014/main" id="{9B46A754-F5CE-4D26-9573-5EB843837374}"/>
              </a:ext>
            </a:extLst>
          </p:cNvPr>
          <p:cNvSpPr>
            <a:spLocks noGrp="1"/>
          </p:cNvSpPr>
          <p:nvPr>
            <p:ph type="pic" sz="quarter" idx="44" hasCustomPrompt="1"/>
          </p:nvPr>
        </p:nvSpPr>
        <p:spPr>
          <a:xfrm>
            <a:off x="4709658" y="3040414"/>
            <a:ext cx="3966030" cy="1440000"/>
          </a:xfrm>
          <a:prstGeom prst="rect">
            <a:avLst/>
          </a:prstGeom>
        </p:spPr>
        <p:txBody>
          <a:bodyPr tIns="252000"/>
          <a:lstStyle>
            <a:lvl1pPr algn="ctr">
              <a:defRPr/>
            </a:lvl1pPr>
          </a:lstStyle>
          <a:p>
            <a:r>
              <a:rPr lang="en-GB" dirty="0"/>
              <a:t>Click icon to add pictur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platzhalter 2">
            <a:extLst>
              <a:ext uri="{FF2B5EF4-FFF2-40B4-BE49-F238E27FC236}">
                <a16:creationId xmlns:a16="http://schemas.microsoft.com/office/drawing/2014/main" id="{C233D614-B652-4154-B293-A17642724DDA}"/>
              </a:ext>
            </a:extLst>
          </p:cNvPr>
          <p:cNvSpPr>
            <a:spLocks noGrp="1"/>
          </p:cNvSpPr>
          <p:nvPr>
            <p:ph type="body" sz="quarter" idx="25" hasCustomPrompt="1"/>
          </p:nvPr>
        </p:nvSpPr>
        <p:spPr>
          <a:xfrm>
            <a:off x="278644" y="2453466"/>
            <a:ext cx="1872000" cy="360000"/>
          </a:xfrm>
          <a:prstGeom prst="parallelogram">
            <a:avLst/>
          </a:prstGeom>
          <a:solidFill>
            <a:schemeClr val="accent2"/>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 name="Textplatzhalter 2">
            <a:extLst>
              <a:ext uri="{FF2B5EF4-FFF2-40B4-BE49-F238E27FC236}">
                <a16:creationId xmlns:a16="http://schemas.microsoft.com/office/drawing/2014/main" id="{67C705DD-1A7B-400D-9004-9981BC517060}"/>
              </a:ext>
            </a:extLst>
          </p:cNvPr>
          <p:cNvSpPr>
            <a:spLocks noGrp="1"/>
          </p:cNvSpPr>
          <p:nvPr>
            <p:ph type="body" sz="quarter" idx="31" hasCustomPrompt="1"/>
          </p:nvPr>
        </p:nvSpPr>
        <p:spPr>
          <a:xfrm>
            <a:off x="431801" y="2453033"/>
            <a:ext cx="288000" cy="358557"/>
          </a:xfrm>
        </p:spPr>
        <p:txBody>
          <a:bodyPr anchor="ctr" anchorCtr="0"/>
          <a:lstStyle>
            <a:lvl1pPr>
              <a:defRPr sz="2000">
                <a:solidFill>
                  <a:schemeClr val="bg1"/>
                </a:solidFill>
              </a:defRPr>
            </a:lvl1pPr>
          </a:lstStyle>
          <a:p>
            <a:pPr lvl="0"/>
            <a:r>
              <a:rPr lang="de-DE" dirty="0"/>
              <a:t>1</a:t>
            </a:r>
            <a:endParaRPr lang="en-GB" dirty="0"/>
          </a:p>
        </p:txBody>
      </p:sp>
      <p:sp>
        <p:nvSpPr>
          <p:cNvPr id="29" name="Textplatzhalter 2">
            <a:extLst>
              <a:ext uri="{FF2B5EF4-FFF2-40B4-BE49-F238E27FC236}">
                <a16:creationId xmlns:a16="http://schemas.microsoft.com/office/drawing/2014/main" id="{689136D4-EE0E-4B44-A8F1-9434E3CB5B2E}"/>
              </a:ext>
            </a:extLst>
          </p:cNvPr>
          <p:cNvSpPr>
            <a:spLocks noGrp="1"/>
          </p:cNvSpPr>
          <p:nvPr>
            <p:ph type="body" sz="quarter" idx="32" hasCustomPrompt="1"/>
          </p:nvPr>
        </p:nvSpPr>
        <p:spPr>
          <a:xfrm>
            <a:off x="4572000" y="2451590"/>
            <a:ext cx="1872000" cy="360000"/>
          </a:xfrm>
          <a:prstGeom prst="parallelogram">
            <a:avLst/>
          </a:prstGeom>
          <a:solidFill>
            <a:srgbClr val="68658A"/>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0" name="Textplatzhalter 2">
            <a:extLst>
              <a:ext uri="{FF2B5EF4-FFF2-40B4-BE49-F238E27FC236}">
                <a16:creationId xmlns:a16="http://schemas.microsoft.com/office/drawing/2014/main" id="{91F04682-E729-4EF2-979E-2D52D82C9CD1}"/>
              </a:ext>
            </a:extLst>
          </p:cNvPr>
          <p:cNvSpPr>
            <a:spLocks noGrp="1"/>
          </p:cNvSpPr>
          <p:nvPr>
            <p:ph type="body" sz="quarter" idx="33" hasCustomPrompt="1"/>
          </p:nvPr>
        </p:nvSpPr>
        <p:spPr>
          <a:xfrm>
            <a:off x="4725157" y="2451157"/>
            <a:ext cx="288000" cy="358557"/>
          </a:xfrm>
        </p:spPr>
        <p:txBody>
          <a:bodyPr anchor="ctr" anchorCtr="0"/>
          <a:lstStyle>
            <a:lvl1pPr>
              <a:defRPr sz="2000">
                <a:solidFill>
                  <a:schemeClr val="bg1"/>
                </a:solidFill>
              </a:defRPr>
            </a:lvl1pPr>
          </a:lstStyle>
          <a:p>
            <a:pPr lvl="0"/>
            <a:r>
              <a:rPr lang="de-DE" dirty="0"/>
              <a:t>2</a:t>
            </a:r>
            <a:endParaRPr lang="en-GB" dirty="0"/>
          </a:p>
        </p:txBody>
      </p:sp>
      <p:sp>
        <p:nvSpPr>
          <p:cNvPr id="34" name="Textplatzhalter 2">
            <a:extLst>
              <a:ext uri="{FF2B5EF4-FFF2-40B4-BE49-F238E27FC236}">
                <a16:creationId xmlns:a16="http://schemas.microsoft.com/office/drawing/2014/main" id="{C6898EEB-DDF3-44C0-A71E-ABE38921A00D}"/>
              </a:ext>
            </a:extLst>
          </p:cNvPr>
          <p:cNvSpPr>
            <a:spLocks noGrp="1"/>
          </p:cNvSpPr>
          <p:nvPr>
            <p:ph type="body" sz="quarter" idx="36" hasCustomPrompt="1"/>
          </p:nvPr>
        </p:nvSpPr>
        <p:spPr>
          <a:xfrm>
            <a:off x="275318" y="4176915"/>
            <a:ext cx="1872000" cy="360000"/>
          </a:xfrm>
          <a:prstGeom prst="parallelogram">
            <a:avLst/>
          </a:prstGeom>
          <a:solidFill>
            <a:schemeClr val="tx2"/>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6" name="Textplatzhalter 2">
            <a:extLst>
              <a:ext uri="{FF2B5EF4-FFF2-40B4-BE49-F238E27FC236}">
                <a16:creationId xmlns:a16="http://schemas.microsoft.com/office/drawing/2014/main" id="{CE84F752-38E9-4B44-9CFE-D522A717200A}"/>
              </a:ext>
            </a:extLst>
          </p:cNvPr>
          <p:cNvSpPr>
            <a:spLocks noGrp="1"/>
          </p:cNvSpPr>
          <p:nvPr>
            <p:ph type="body" sz="quarter" idx="37" hasCustomPrompt="1"/>
          </p:nvPr>
        </p:nvSpPr>
        <p:spPr>
          <a:xfrm>
            <a:off x="428475" y="4176482"/>
            <a:ext cx="288000" cy="358557"/>
          </a:xfrm>
        </p:spPr>
        <p:txBody>
          <a:bodyPr anchor="ctr" anchorCtr="0"/>
          <a:lstStyle>
            <a:lvl1pPr>
              <a:defRPr sz="2000">
                <a:solidFill>
                  <a:schemeClr val="bg1"/>
                </a:solidFill>
              </a:defRPr>
            </a:lvl1pPr>
          </a:lstStyle>
          <a:p>
            <a:pPr lvl="0"/>
            <a:r>
              <a:rPr lang="de-DE" dirty="0"/>
              <a:t>3</a:t>
            </a:r>
            <a:endParaRPr lang="en-GB" dirty="0"/>
          </a:p>
        </p:txBody>
      </p:sp>
      <p:sp>
        <p:nvSpPr>
          <p:cNvPr id="37" name="Textplatzhalter 2">
            <a:extLst>
              <a:ext uri="{FF2B5EF4-FFF2-40B4-BE49-F238E27FC236}">
                <a16:creationId xmlns:a16="http://schemas.microsoft.com/office/drawing/2014/main" id="{74A7CF4E-951E-4108-9E4E-0BF02AC2A973}"/>
              </a:ext>
            </a:extLst>
          </p:cNvPr>
          <p:cNvSpPr>
            <a:spLocks noGrp="1"/>
          </p:cNvSpPr>
          <p:nvPr>
            <p:ph type="body" sz="quarter" idx="38" hasCustomPrompt="1"/>
          </p:nvPr>
        </p:nvSpPr>
        <p:spPr>
          <a:xfrm>
            <a:off x="4558402" y="4184370"/>
            <a:ext cx="1872000" cy="360000"/>
          </a:xfrm>
          <a:prstGeom prst="parallelogram">
            <a:avLst/>
          </a:prstGeom>
          <a:solidFill>
            <a:schemeClr val="accent3"/>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9" name="Textplatzhalter 2">
            <a:extLst>
              <a:ext uri="{FF2B5EF4-FFF2-40B4-BE49-F238E27FC236}">
                <a16:creationId xmlns:a16="http://schemas.microsoft.com/office/drawing/2014/main" id="{751FB853-CA6B-40A2-A5FD-7CD327129B97}"/>
              </a:ext>
            </a:extLst>
          </p:cNvPr>
          <p:cNvSpPr>
            <a:spLocks noGrp="1"/>
          </p:cNvSpPr>
          <p:nvPr>
            <p:ph type="body" sz="quarter" idx="39" hasCustomPrompt="1"/>
          </p:nvPr>
        </p:nvSpPr>
        <p:spPr>
          <a:xfrm>
            <a:off x="4711559" y="4183937"/>
            <a:ext cx="288000" cy="358557"/>
          </a:xfrm>
        </p:spPr>
        <p:txBody>
          <a:bodyPr anchor="ctr" anchorCtr="0"/>
          <a:lstStyle>
            <a:lvl1pPr>
              <a:defRPr sz="2000">
                <a:solidFill>
                  <a:schemeClr val="bg1"/>
                </a:solidFill>
              </a:defRPr>
            </a:lvl1pPr>
          </a:lstStyle>
          <a:p>
            <a:pPr lvl="0"/>
            <a:r>
              <a:rPr lang="de-DE" dirty="0"/>
              <a:t>4</a:t>
            </a:r>
            <a:endParaRPr lang="en-GB" dirty="0"/>
          </a:p>
        </p:txBody>
      </p: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Tree>
    <p:extLst>
      <p:ext uri="{BB962C8B-B14F-4D97-AF65-F5344CB8AC3E}">
        <p14:creationId xmlns:p14="http://schemas.microsoft.com/office/powerpoint/2010/main" val="4186175749"/>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gold picture">
    <p:bg>
      <p:bgPr>
        <a:solidFill>
          <a:schemeClr val="accent5"/>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845249"/>
            <a:ext cx="4320000" cy="1512000"/>
          </a:xfrm>
        </p:spPr>
        <p:txBody>
          <a:bodyPr anchor="b" anchorCtr="0"/>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2831332"/>
            <a:ext cx="4320000" cy="1241822"/>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431800" y="2535549"/>
            <a:ext cx="306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33CFFC0-7C50-4C2C-A557-39059CC3BA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800" y="4423578"/>
            <a:ext cx="1621656" cy="211223"/>
          </a:xfrm>
          <a:prstGeom prst="rect">
            <a:avLst/>
          </a:prstGeom>
        </p:spPr>
      </p:pic>
      <p:pic>
        <p:nvPicPr>
          <p:cNvPr id="14" name="Graphic 9">
            <a:extLst>
              <a:ext uri="{FF2B5EF4-FFF2-40B4-BE49-F238E27FC236}">
                <a16:creationId xmlns:a16="http://schemas.microsoft.com/office/drawing/2014/main" id="{211D252E-A012-487A-8355-D6C45AB066B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508382" y="0"/>
            <a:ext cx="1311768" cy="660815"/>
          </a:xfrm>
          <a:prstGeom prst="rect">
            <a:avLst/>
          </a:prstGeom>
        </p:spPr>
      </p:pic>
      <p:sp>
        <p:nvSpPr>
          <p:cNvPr id="9" name="Bildplatzhalter 8">
            <a:extLst>
              <a:ext uri="{FF2B5EF4-FFF2-40B4-BE49-F238E27FC236}">
                <a16:creationId xmlns:a16="http://schemas.microsoft.com/office/drawing/2014/main" id="{22F8D8C7-A94C-4020-8104-20611615A807}"/>
              </a:ext>
            </a:extLst>
          </p:cNvPr>
          <p:cNvSpPr>
            <a:spLocks noGrp="1"/>
          </p:cNvSpPr>
          <p:nvPr>
            <p:ph type="pic" sz="quarter" idx="10" hasCustomPrompt="1"/>
          </p:nvPr>
        </p:nvSpPr>
        <p:spPr>
          <a:xfrm>
            <a:off x="3031958" y="-1840"/>
            <a:ext cx="6112041" cy="5146745"/>
          </a:xfrm>
          <a:custGeom>
            <a:avLst/>
            <a:gdLst>
              <a:gd name="connsiteX0" fmla="*/ 4476424 w 6112041"/>
              <a:gd name="connsiteY0" fmla="*/ 255 h 5146745"/>
              <a:gd name="connsiteX1" fmla="*/ 4476424 w 6112041"/>
              <a:gd name="connsiteY1" fmla="*/ 662655 h 5146745"/>
              <a:gd name="connsiteX2" fmla="*/ 5786824 w 6112041"/>
              <a:gd name="connsiteY2" fmla="*/ 662655 h 5146745"/>
              <a:gd name="connsiteX3" fmla="*/ 5786824 w 6112041"/>
              <a:gd name="connsiteY3" fmla="*/ 255 h 5146745"/>
              <a:gd name="connsiteX4" fmla="*/ 1775581 w 6112041"/>
              <a:gd name="connsiteY4" fmla="*/ 0 h 5146745"/>
              <a:gd name="connsiteX5" fmla="*/ 6111905 w 6112041"/>
              <a:gd name="connsiteY5" fmla="*/ 0 h 5146745"/>
              <a:gd name="connsiteX6" fmla="*/ 6112041 w 6112041"/>
              <a:gd name="connsiteY6" fmla="*/ 859341 h 5146745"/>
              <a:gd name="connsiteX7" fmla="*/ 6112041 w 6112041"/>
              <a:gd name="connsiteY7" fmla="*/ 5146745 h 5146745"/>
              <a:gd name="connsiteX8" fmla="*/ 0 w 6112041"/>
              <a:gd name="connsiteY8" fmla="*/ 5146745 h 5146745"/>
              <a:gd name="connsiteX9" fmla="*/ 1328364 w 6112041"/>
              <a:gd name="connsiteY9" fmla="*/ 1300902 h 5146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2041" h="5146745">
                <a:moveTo>
                  <a:pt x="4476424" y="255"/>
                </a:moveTo>
                <a:lnTo>
                  <a:pt x="4476424" y="662655"/>
                </a:lnTo>
                <a:lnTo>
                  <a:pt x="5786824" y="662655"/>
                </a:lnTo>
                <a:lnTo>
                  <a:pt x="5786824" y="255"/>
                </a:lnTo>
                <a:close/>
                <a:moveTo>
                  <a:pt x="1775581" y="0"/>
                </a:moveTo>
                <a:lnTo>
                  <a:pt x="6111905" y="0"/>
                </a:lnTo>
                <a:cubicBezTo>
                  <a:pt x="6111950" y="286447"/>
                  <a:pt x="6111996" y="572894"/>
                  <a:pt x="6112041" y="859341"/>
                </a:cubicBezTo>
                <a:lnTo>
                  <a:pt x="6112041" y="5146745"/>
                </a:lnTo>
                <a:lnTo>
                  <a:pt x="0" y="5146745"/>
                </a:lnTo>
                <a:lnTo>
                  <a:pt x="1328364" y="1300902"/>
                </a:lnTo>
                <a:close/>
              </a:path>
            </a:pathLst>
          </a:custGeom>
          <a:solidFill>
            <a:schemeClr val="bg1"/>
          </a:solidFill>
          <a:ln>
            <a:noFill/>
          </a:ln>
        </p:spPr>
        <p:txBody>
          <a:bodyPr wrap="square" tIns="1980000" anchor="t" anchorCtr="0">
            <a:noAutofit/>
          </a:bodyPr>
          <a:lstStyle>
            <a:lvl1pPr algn="ctr">
              <a:defRPr/>
            </a:lvl1pPr>
          </a:lstStyle>
          <a:p>
            <a:r>
              <a:rPr lang="en-US" noProof="0" dirty="0"/>
              <a:t>Click icon to add picture</a:t>
            </a:r>
          </a:p>
        </p:txBody>
      </p:sp>
    </p:spTree>
    <p:extLst>
      <p:ext uri="{BB962C8B-B14F-4D97-AF65-F5344CB8AC3E}">
        <p14:creationId xmlns:p14="http://schemas.microsoft.com/office/powerpoint/2010/main" val="28680196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ontent and pictures 04">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38" name="Bildplatzhalter 4">
            <a:extLst>
              <a:ext uri="{FF2B5EF4-FFF2-40B4-BE49-F238E27FC236}">
                <a16:creationId xmlns:a16="http://schemas.microsoft.com/office/drawing/2014/main" id="{4CF5C1B3-78FA-48B2-A890-72DE53D12C1D}"/>
              </a:ext>
            </a:extLst>
          </p:cNvPr>
          <p:cNvSpPr>
            <a:spLocks noGrp="1"/>
          </p:cNvSpPr>
          <p:nvPr>
            <p:ph type="pic" sz="quarter" idx="16" hasCustomPrompt="1"/>
          </p:nvPr>
        </p:nvSpPr>
        <p:spPr>
          <a:xfrm>
            <a:off x="6263688" y="3003951"/>
            <a:ext cx="2412000" cy="1440000"/>
          </a:xfrm>
          <a:prstGeom prst="rect">
            <a:avLst/>
          </a:prstGeom>
        </p:spPr>
        <p:txBody>
          <a:bodyPr tIns="252000"/>
          <a:lstStyle>
            <a:lvl1pPr algn="ctr">
              <a:defRPr/>
            </a:lvl1pPr>
          </a:lstStyle>
          <a:p>
            <a:r>
              <a:rPr lang="en-GB" dirty="0"/>
              <a:t>Click icon to add picture</a:t>
            </a:r>
          </a:p>
        </p:txBody>
      </p:sp>
      <p:sp>
        <p:nvSpPr>
          <p:cNvPr id="32" name="Bildplatzhalter 4">
            <a:extLst>
              <a:ext uri="{FF2B5EF4-FFF2-40B4-BE49-F238E27FC236}">
                <a16:creationId xmlns:a16="http://schemas.microsoft.com/office/drawing/2014/main" id="{7F903F2D-0AB1-4FAC-8BE4-6670660B6EEA}"/>
              </a:ext>
            </a:extLst>
          </p:cNvPr>
          <p:cNvSpPr>
            <a:spLocks noGrp="1"/>
          </p:cNvSpPr>
          <p:nvPr>
            <p:ph type="pic" sz="quarter" idx="14" hasCustomPrompt="1"/>
          </p:nvPr>
        </p:nvSpPr>
        <p:spPr>
          <a:xfrm>
            <a:off x="6263688" y="1276350"/>
            <a:ext cx="2412000" cy="1440000"/>
          </a:xfrm>
          <a:prstGeom prst="rect">
            <a:avLst/>
          </a:prstGeom>
        </p:spPr>
        <p:txBody>
          <a:bodyPr tIns="252000"/>
          <a:lstStyle>
            <a:lvl1pPr algn="ctr">
              <a:defRPr/>
            </a:lvl1pPr>
          </a:lstStyle>
          <a:p>
            <a:r>
              <a:rPr lang="en-GB" dirty="0"/>
              <a:t>Click icon to add picture</a:t>
            </a: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31800" y="1276350"/>
            <a:ext cx="2412000" cy="1440000"/>
          </a:xfrm>
          <a:prstGeom prst="rect">
            <a:avLst/>
          </a:prstGeom>
        </p:spPr>
        <p:txBody>
          <a:bodyPr tIns="252000"/>
          <a:lstStyle>
            <a:lvl1pPr algn="ctr">
              <a:defRPr/>
            </a:lvl1pPr>
          </a:lstStyle>
          <a:p>
            <a:r>
              <a:rPr lang="en-GB" dirty="0"/>
              <a:t>Click icon to add picture</a:t>
            </a:r>
          </a:p>
        </p:txBody>
      </p:sp>
      <p:sp>
        <p:nvSpPr>
          <p:cNvPr id="35" name="Bildplatzhalter 4">
            <a:extLst>
              <a:ext uri="{FF2B5EF4-FFF2-40B4-BE49-F238E27FC236}">
                <a16:creationId xmlns:a16="http://schemas.microsoft.com/office/drawing/2014/main" id="{31CE56E7-8459-4E63-8884-12F6A3FD3779}"/>
              </a:ext>
            </a:extLst>
          </p:cNvPr>
          <p:cNvSpPr>
            <a:spLocks noGrp="1"/>
          </p:cNvSpPr>
          <p:nvPr>
            <p:ph type="pic" sz="quarter" idx="15" hasCustomPrompt="1"/>
          </p:nvPr>
        </p:nvSpPr>
        <p:spPr>
          <a:xfrm>
            <a:off x="431800" y="3003550"/>
            <a:ext cx="2412000" cy="1440000"/>
          </a:xfrm>
          <a:prstGeom prst="rect">
            <a:avLst/>
          </a:prstGeom>
        </p:spPr>
        <p:txBody>
          <a:bodyPr tIns="252000"/>
          <a:lstStyle>
            <a:lvl1pPr algn="ctr">
              <a:defRPr/>
            </a:lvl1pPr>
          </a:lstStyle>
          <a:p>
            <a:r>
              <a:rPr lang="en-GB" dirty="0"/>
              <a:t>Click icon to add picture</a:t>
            </a:r>
          </a:p>
        </p:txBody>
      </p:sp>
      <p:sp>
        <p:nvSpPr>
          <p:cNvPr id="44" name="Bildplatzhalter 4">
            <a:extLst>
              <a:ext uri="{FF2B5EF4-FFF2-40B4-BE49-F238E27FC236}">
                <a16:creationId xmlns:a16="http://schemas.microsoft.com/office/drawing/2014/main" id="{5B0C7535-B439-4B39-8AC6-E1A38C630812}"/>
              </a:ext>
            </a:extLst>
          </p:cNvPr>
          <p:cNvSpPr>
            <a:spLocks noGrp="1"/>
          </p:cNvSpPr>
          <p:nvPr>
            <p:ph type="pic" sz="quarter" idx="18" hasCustomPrompt="1"/>
          </p:nvPr>
        </p:nvSpPr>
        <p:spPr>
          <a:xfrm>
            <a:off x="3366000" y="3003550"/>
            <a:ext cx="2412000" cy="1440000"/>
          </a:xfrm>
          <a:prstGeom prst="rect">
            <a:avLst/>
          </a:prstGeom>
        </p:spPr>
        <p:txBody>
          <a:bodyPr tIns="252000"/>
          <a:lstStyle>
            <a:lvl1pPr algn="ctr">
              <a:defRPr/>
            </a:lvl1pPr>
          </a:lstStyle>
          <a:p>
            <a:r>
              <a:rPr lang="en-GB" dirty="0"/>
              <a:t>Click icon to add picture</a:t>
            </a:r>
          </a:p>
        </p:txBody>
      </p:sp>
      <p:sp>
        <p:nvSpPr>
          <p:cNvPr id="41" name="Bildplatzhalter 4">
            <a:extLst>
              <a:ext uri="{FF2B5EF4-FFF2-40B4-BE49-F238E27FC236}">
                <a16:creationId xmlns:a16="http://schemas.microsoft.com/office/drawing/2014/main" id="{543B743A-98FF-47B5-A2FB-9B8A08EAA6BA}"/>
              </a:ext>
            </a:extLst>
          </p:cNvPr>
          <p:cNvSpPr>
            <a:spLocks noGrp="1"/>
          </p:cNvSpPr>
          <p:nvPr>
            <p:ph type="pic" sz="quarter" idx="17" hasCustomPrompt="1"/>
          </p:nvPr>
        </p:nvSpPr>
        <p:spPr>
          <a:xfrm>
            <a:off x="3366000" y="1276350"/>
            <a:ext cx="2412000" cy="1440000"/>
          </a:xfrm>
          <a:prstGeom prst="rect">
            <a:avLst/>
          </a:prstGeom>
        </p:spPr>
        <p:txBody>
          <a:bodyPr tIns="252000"/>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dirty="0"/>
              <a:t>Click icon to add pictur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platzhalter 2">
            <a:extLst>
              <a:ext uri="{FF2B5EF4-FFF2-40B4-BE49-F238E27FC236}">
                <a16:creationId xmlns:a16="http://schemas.microsoft.com/office/drawing/2014/main" id="{C233D614-B652-4154-B293-A17642724DDA}"/>
              </a:ext>
            </a:extLst>
          </p:cNvPr>
          <p:cNvSpPr>
            <a:spLocks noGrp="1"/>
          </p:cNvSpPr>
          <p:nvPr>
            <p:ph type="body" sz="quarter" idx="25" hasCustomPrompt="1"/>
          </p:nvPr>
        </p:nvSpPr>
        <p:spPr>
          <a:xfrm>
            <a:off x="278644" y="2453466"/>
            <a:ext cx="1872000" cy="360000"/>
          </a:xfrm>
          <a:prstGeom prst="parallelogram">
            <a:avLst/>
          </a:prstGeom>
          <a:solidFill>
            <a:schemeClr val="accent2"/>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 name="Textplatzhalter 2">
            <a:extLst>
              <a:ext uri="{FF2B5EF4-FFF2-40B4-BE49-F238E27FC236}">
                <a16:creationId xmlns:a16="http://schemas.microsoft.com/office/drawing/2014/main" id="{67C705DD-1A7B-400D-9004-9981BC517060}"/>
              </a:ext>
            </a:extLst>
          </p:cNvPr>
          <p:cNvSpPr>
            <a:spLocks noGrp="1"/>
          </p:cNvSpPr>
          <p:nvPr>
            <p:ph type="body" sz="quarter" idx="31" hasCustomPrompt="1"/>
          </p:nvPr>
        </p:nvSpPr>
        <p:spPr>
          <a:xfrm>
            <a:off x="431801" y="2453033"/>
            <a:ext cx="288000" cy="358557"/>
          </a:xfrm>
        </p:spPr>
        <p:txBody>
          <a:bodyPr anchor="ctr" anchorCtr="0"/>
          <a:lstStyle>
            <a:lvl1pPr>
              <a:defRPr sz="2000">
                <a:solidFill>
                  <a:schemeClr val="bg1"/>
                </a:solidFill>
              </a:defRPr>
            </a:lvl1pPr>
          </a:lstStyle>
          <a:p>
            <a:pPr lvl="0"/>
            <a:r>
              <a:rPr lang="de-DE" dirty="0"/>
              <a:t>1</a:t>
            </a:r>
            <a:endParaRPr lang="en-GB" dirty="0"/>
          </a:p>
        </p:txBody>
      </p:sp>
      <p:sp>
        <p:nvSpPr>
          <p:cNvPr id="29" name="Textplatzhalter 2">
            <a:extLst>
              <a:ext uri="{FF2B5EF4-FFF2-40B4-BE49-F238E27FC236}">
                <a16:creationId xmlns:a16="http://schemas.microsoft.com/office/drawing/2014/main" id="{689136D4-EE0E-4B44-A8F1-9434E3CB5B2E}"/>
              </a:ext>
            </a:extLst>
          </p:cNvPr>
          <p:cNvSpPr>
            <a:spLocks noGrp="1"/>
          </p:cNvSpPr>
          <p:nvPr>
            <p:ph type="body" sz="quarter" idx="32" hasCustomPrompt="1"/>
          </p:nvPr>
        </p:nvSpPr>
        <p:spPr>
          <a:xfrm>
            <a:off x="3212844" y="2451590"/>
            <a:ext cx="1872000" cy="360000"/>
          </a:xfrm>
          <a:prstGeom prst="parallelogram">
            <a:avLst/>
          </a:prstGeom>
          <a:solidFill>
            <a:srgbClr val="68658A"/>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0" name="Textplatzhalter 2">
            <a:extLst>
              <a:ext uri="{FF2B5EF4-FFF2-40B4-BE49-F238E27FC236}">
                <a16:creationId xmlns:a16="http://schemas.microsoft.com/office/drawing/2014/main" id="{91F04682-E729-4EF2-979E-2D52D82C9CD1}"/>
              </a:ext>
            </a:extLst>
          </p:cNvPr>
          <p:cNvSpPr>
            <a:spLocks noGrp="1"/>
          </p:cNvSpPr>
          <p:nvPr>
            <p:ph type="body" sz="quarter" idx="33" hasCustomPrompt="1"/>
          </p:nvPr>
        </p:nvSpPr>
        <p:spPr>
          <a:xfrm>
            <a:off x="3366001" y="2451157"/>
            <a:ext cx="288000" cy="358557"/>
          </a:xfrm>
        </p:spPr>
        <p:txBody>
          <a:bodyPr anchor="ctr" anchorCtr="0"/>
          <a:lstStyle>
            <a:lvl1pPr>
              <a:defRPr sz="2000">
                <a:solidFill>
                  <a:schemeClr val="bg1"/>
                </a:solidFill>
              </a:defRPr>
            </a:lvl1pPr>
          </a:lstStyle>
          <a:p>
            <a:pPr lvl="0"/>
            <a:r>
              <a:rPr lang="de-DE" dirty="0"/>
              <a:t>2</a:t>
            </a:r>
            <a:endParaRPr lang="en-GB" dirty="0"/>
          </a:p>
        </p:txBody>
      </p:sp>
      <p:sp>
        <p:nvSpPr>
          <p:cNvPr id="31" name="Textplatzhalter 2">
            <a:extLst>
              <a:ext uri="{FF2B5EF4-FFF2-40B4-BE49-F238E27FC236}">
                <a16:creationId xmlns:a16="http://schemas.microsoft.com/office/drawing/2014/main" id="{61FD6AA2-2EC0-4564-8F53-F5AE3EACF230}"/>
              </a:ext>
            </a:extLst>
          </p:cNvPr>
          <p:cNvSpPr>
            <a:spLocks noGrp="1"/>
          </p:cNvSpPr>
          <p:nvPr>
            <p:ph type="body" sz="quarter" idx="34" hasCustomPrompt="1"/>
          </p:nvPr>
        </p:nvSpPr>
        <p:spPr>
          <a:xfrm>
            <a:off x="6116308" y="2451157"/>
            <a:ext cx="1872000" cy="360000"/>
          </a:xfrm>
          <a:prstGeom prst="parallelogram">
            <a:avLst/>
          </a:prstGeom>
          <a:solidFill>
            <a:schemeClr val="accent5"/>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3" name="Textplatzhalter 2">
            <a:extLst>
              <a:ext uri="{FF2B5EF4-FFF2-40B4-BE49-F238E27FC236}">
                <a16:creationId xmlns:a16="http://schemas.microsoft.com/office/drawing/2014/main" id="{38B8212E-E89F-4BD7-9C06-203D9B6F5002}"/>
              </a:ext>
            </a:extLst>
          </p:cNvPr>
          <p:cNvSpPr>
            <a:spLocks noGrp="1"/>
          </p:cNvSpPr>
          <p:nvPr>
            <p:ph type="body" sz="quarter" idx="35" hasCustomPrompt="1"/>
          </p:nvPr>
        </p:nvSpPr>
        <p:spPr>
          <a:xfrm>
            <a:off x="6269465" y="2450724"/>
            <a:ext cx="288000" cy="358557"/>
          </a:xfrm>
        </p:spPr>
        <p:txBody>
          <a:bodyPr anchor="ctr" anchorCtr="0"/>
          <a:lstStyle>
            <a:lvl1pPr>
              <a:defRPr sz="2000">
                <a:solidFill>
                  <a:schemeClr val="bg1"/>
                </a:solidFill>
              </a:defRPr>
            </a:lvl1pPr>
          </a:lstStyle>
          <a:p>
            <a:pPr lvl="0"/>
            <a:r>
              <a:rPr lang="de-DE" dirty="0"/>
              <a:t>3</a:t>
            </a:r>
            <a:endParaRPr lang="en-GB" dirty="0"/>
          </a:p>
        </p:txBody>
      </p:sp>
      <p:sp>
        <p:nvSpPr>
          <p:cNvPr id="34" name="Textplatzhalter 2">
            <a:extLst>
              <a:ext uri="{FF2B5EF4-FFF2-40B4-BE49-F238E27FC236}">
                <a16:creationId xmlns:a16="http://schemas.microsoft.com/office/drawing/2014/main" id="{C6898EEB-DDF3-44C0-A71E-ABE38921A00D}"/>
              </a:ext>
            </a:extLst>
          </p:cNvPr>
          <p:cNvSpPr>
            <a:spLocks noGrp="1"/>
          </p:cNvSpPr>
          <p:nvPr>
            <p:ph type="body" sz="quarter" idx="36" hasCustomPrompt="1"/>
          </p:nvPr>
        </p:nvSpPr>
        <p:spPr>
          <a:xfrm>
            <a:off x="275318" y="4176915"/>
            <a:ext cx="1872000" cy="360000"/>
          </a:xfrm>
          <a:prstGeom prst="parallelogram">
            <a:avLst/>
          </a:prstGeom>
          <a:solidFill>
            <a:schemeClr val="tx2"/>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6" name="Textplatzhalter 2">
            <a:extLst>
              <a:ext uri="{FF2B5EF4-FFF2-40B4-BE49-F238E27FC236}">
                <a16:creationId xmlns:a16="http://schemas.microsoft.com/office/drawing/2014/main" id="{CE84F752-38E9-4B44-9CFE-D522A717200A}"/>
              </a:ext>
            </a:extLst>
          </p:cNvPr>
          <p:cNvSpPr>
            <a:spLocks noGrp="1"/>
          </p:cNvSpPr>
          <p:nvPr>
            <p:ph type="body" sz="quarter" idx="37" hasCustomPrompt="1"/>
          </p:nvPr>
        </p:nvSpPr>
        <p:spPr>
          <a:xfrm>
            <a:off x="428475" y="4176482"/>
            <a:ext cx="288000" cy="358557"/>
          </a:xfrm>
        </p:spPr>
        <p:txBody>
          <a:bodyPr anchor="ctr" anchorCtr="0"/>
          <a:lstStyle>
            <a:lvl1pPr>
              <a:defRPr sz="2000">
                <a:solidFill>
                  <a:schemeClr val="bg1"/>
                </a:solidFill>
              </a:defRPr>
            </a:lvl1pPr>
          </a:lstStyle>
          <a:p>
            <a:pPr lvl="0"/>
            <a:r>
              <a:rPr lang="de-DE" dirty="0"/>
              <a:t>4</a:t>
            </a:r>
            <a:endParaRPr lang="en-GB" dirty="0"/>
          </a:p>
        </p:txBody>
      </p:sp>
      <p:sp>
        <p:nvSpPr>
          <p:cNvPr id="37" name="Textplatzhalter 2">
            <a:extLst>
              <a:ext uri="{FF2B5EF4-FFF2-40B4-BE49-F238E27FC236}">
                <a16:creationId xmlns:a16="http://schemas.microsoft.com/office/drawing/2014/main" id="{74A7CF4E-951E-4108-9E4E-0BF02AC2A973}"/>
              </a:ext>
            </a:extLst>
          </p:cNvPr>
          <p:cNvSpPr>
            <a:spLocks noGrp="1"/>
          </p:cNvSpPr>
          <p:nvPr>
            <p:ph type="body" sz="quarter" idx="38" hasCustomPrompt="1"/>
          </p:nvPr>
        </p:nvSpPr>
        <p:spPr>
          <a:xfrm>
            <a:off x="3216780" y="4184370"/>
            <a:ext cx="1872000" cy="360000"/>
          </a:xfrm>
          <a:prstGeom prst="parallelogram">
            <a:avLst/>
          </a:prstGeom>
          <a:solidFill>
            <a:schemeClr val="accent3"/>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9" name="Textplatzhalter 2">
            <a:extLst>
              <a:ext uri="{FF2B5EF4-FFF2-40B4-BE49-F238E27FC236}">
                <a16:creationId xmlns:a16="http://schemas.microsoft.com/office/drawing/2014/main" id="{751FB853-CA6B-40A2-A5FD-7CD327129B97}"/>
              </a:ext>
            </a:extLst>
          </p:cNvPr>
          <p:cNvSpPr>
            <a:spLocks noGrp="1"/>
          </p:cNvSpPr>
          <p:nvPr>
            <p:ph type="body" sz="quarter" idx="39" hasCustomPrompt="1"/>
          </p:nvPr>
        </p:nvSpPr>
        <p:spPr>
          <a:xfrm>
            <a:off x="3369937" y="4183937"/>
            <a:ext cx="288000" cy="358557"/>
          </a:xfrm>
        </p:spPr>
        <p:txBody>
          <a:bodyPr anchor="ctr" anchorCtr="0"/>
          <a:lstStyle>
            <a:lvl1pPr>
              <a:defRPr sz="2000">
                <a:solidFill>
                  <a:schemeClr val="bg1"/>
                </a:solidFill>
              </a:defRPr>
            </a:lvl1pPr>
          </a:lstStyle>
          <a:p>
            <a:pPr lvl="0"/>
            <a:r>
              <a:rPr lang="de-DE" dirty="0"/>
              <a:t>5</a:t>
            </a:r>
            <a:endParaRPr lang="en-GB" dirty="0"/>
          </a:p>
        </p:txBody>
      </p:sp>
      <p:sp>
        <p:nvSpPr>
          <p:cNvPr id="40" name="Textplatzhalter 2">
            <a:extLst>
              <a:ext uri="{FF2B5EF4-FFF2-40B4-BE49-F238E27FC236}">
                <a16:creationId xmlns:a16="http://schemas.microsoft.com/office/drawing/2014/main" id="{A60BE607-1D0A-4126-91EA-E7D36E52408E}"/>
              </a:ext>
            </a:extLst>
          </p:cNvPr>
          <p:cNvSpPr>
            <a:spLocks noGrp="1"/>
          </p:cNvSpPr>
          <p:nvPr>
            <p:ph type="body" sz="quarter" idx="40" hasCustomPrompt="1"/>
          </p:nvPr>
        </p:nvSpPr>
        <p:spPr>
          <a:xfrm>
            <a:off x="6116308" y="4183937"/>
            <a:ext cx="1872000" cy="360000"/>
          </a:xfrm>
          <a:prstGeom prst="parallelogram">
            <a:avLst/>
          </a:prstGeom>
          <a:solidFill>
            <a:schemeClr val="bg1">
              <a:lumMod val="75000"/>
            </a:schemeClr>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42" name="Textplatzhalter 2">
            <a:extLst>
              <a:ext uri="{FF2B5EF4-FFF2-40B4-BE49-F238E27FC236}">
                <a16:creationId xmlns:a16="http://schemas.microsoft.com/office/drawing/2014/main" id="{4C771AF4-1E47-4BAD-8A2F-14A1022BD4A1}"/>
              </a:ext>
            </a:extLst>
          </p:cNvPr>
          <p:cNvSpPr>
            <a:spLocks noGrp="1"/>
          </p:cNvSpPr>
          <p:nvPr>
            <p:ph type="body" sz="quarter" idx="41" hasCustomPrompt="1"/>
          </p:nvPr>
        </p:nvSpPr>
        <p:spPr>
          <a:xfrm>
            <a:off x="6269465" y="4183504"/>
            <a:ext cx="288000" cy="358557"/>
          </a:xfrm>
        </p:spPr>
        <p:txBody>
          <a:bodyPr anchor="ctr" anchorCtr="0"/>
          <a:lstStyle>
            <a:lvl1pPr>
              <a:defRPr sz="2000">
                <a:solidFill>
                  <a:schemeClr val="bg1"/>
                </a:solidFill>
              </a:defRPr>
            </a:lvl1pPr>
          </a:lstStyle>
          <a:p>
            <a:pPr lvl="0"/>
            <a:r>
              <a:rPr lang="de-DE" dirty="0"/>
              <a:t>6</a:t>
            </a:r>
            <a:endParaRPr lang="en-GB" dirty="0"/>
          </a:p>
        </p:txBody>
      </p: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Tree>
    <p:extLst>
      <p:ext uri="{BB962C8B-B14F-4D97-AF65-F5344CB8AC3E}">
        <p14:creationId xmlns:p14="http://schemas.microsoft.com/office/powerpoint/2010/main" val="2347441790"/>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and pictures 05">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1" name="Bildplatzhalter 4">
            <a:extLst>
              <a:ext uri="{FF2B5EF4-FFF2-40B4-BE49-F238E27FC236}">
                <a16:creationId xmlns:a16="http://schemas.microsoft.com/office/drawing/2014/main" id="{C5B3FDD5-FD09-4865-9343-95520D132396}"/>
              </a:ext>
            </a:extLst>
          </p:cNvPr>
          <p:cNvSpPr>
            <a:spLocks noGrp="1"/>
          </p:cNvSpPr>
          <p:nvPr>
            <p:ph type="pic" sz="quarter" idx="17" hasCustomPrompt="1"/>
          </p:nvPr>
        </p:nvSpPr>
        <p:spPr>
          <a:xfrm>
            <a:off x="6154397" y="3273028"/>
            <a:ext cx="2988000" cy="1872000"/>
          </a:xfrm>
          <a:prstGeom prst="rect">
            <a:avLst/>
          </a:prstGeom>
        </p:spPr>
        <p:txBody>
          <a:bodyPr tIns="540000"/>
          <a:lstStyle>
            <a:lvl1pPr algn="ctr">
              <a:defRPr/>
            </a:lvl1pPr>
          </a:lstStyle>
          <a:p>
            <a:r>
              <a:rPr lang="en-GB" dirty="0"/>
              <a:t>Click icon to add picture</a:t>
            </a: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2" y="1276350"/>
            <a:ext cx="2988000" cy="1872000"/>
          </a:xfrm>
          <a:prstGeom prst="rect">
            <a:avLst/>
          </a:prstGeom>
        </p:spPr>
        <p:txBody>
          <a:bodyPr tIns="540000"/>
          <a:lstStyle>
            <a:lvl1pPr algn="ctr">
              <a:defRPr/>
            </a:lvl1pPr>
          </a:lstStyle>
          <a:p>
            <a:r>
              <a:rPr lang="en-GB" dirty="0"/>
              <a:t>Click icon to add picture</a:t>
            </a:r>
          </a:p>
        </p:txBody>
      </p:sp>
      <p:sp>
        <p:nvSpPr>
          <p:cNvPr id="49" name="Bildplatzhalter 4">
            <a:extLst>
              <a:ext uri="{FF2B5EF4-FFF2-40B4-BE49-F238E27FC236}">
                <a16:creationId xmlns:a16="http://schemas.microsoft.com/office/drawing/2014/main" id="{60A86232-9890-47B2-B15E-5DC21B15D181}"/>
              </a:ext>
            </a:extLst>
          </p:cNvPr>
          <p:cNvSpPr>
            <a:spLocks noGrp="1"/>
          </p:cNvSpPr>
          <p:nvPr>
            <p:ph type="pic" sz="quarter" idx="14" hasCustomPrompt="1"/>
          </p:nvPr>
        </p:nvSpPr>
        <p:spPr>
          <a:xfrm>
            <a:off x="6154397" y="1276350"/>
            <a:ext cx="2988000" cy="1872000"/>
          </a:xfrm>
          <a:prstGeom prst="rect">
            <a:avLst/>
          </a:prstGeom>
        </p:spPr>
        <p:txBody>
          <a:bodyPr tIns="540000"/>
          <a:lstStyle>
            <a:lvl1pPr algn="ctr">
              <a:defRPr/>
            </a:lvl1pPr>
          </a:lstStyle>
          <a:p>
            <a:r>
              <a:rPr lang="en-GB" dirty="0"/>
              <a:t>Click icon to add picture</a:t>
            </a:r>
          </a:p>
        </p:txBody>
      </p:sp>
      <p:sp>
        <p:nvSpPr>
          <p:cNvPr id="55" name="Bildplatzhalter 4">
            <a:extLst>
              <a:ext uri="{FF2B5EF4-FFF2-40B4-BE49-F238E27FC236}">
                <a16:creationId xmlns:a16="http://schemas.microsoft.com/office/drawing/2014/main" id="{51159B5C-5AD0-4136-BBCE-BA02255FBAB8}"/>
              </a:ext>
            </a:extLst>
          </p:cNvPr>
          <p:cNvSpPr>
            <a:spLocks noGrp="1"/>
          </p:cNvSpPr>
          <p:nvPr>
            <p:ph type="pic" sz="quarter" idx="15" hasCustomPrompt="1"/>
          </p:nvPr>
        </p:nvSpPr>
        <p:spPr>
          <a:xfrm>
            <a:off x="3078000" y="1276350"/>
            <a:ext cx="2988000" cy="1872000"/>
          </a:xfrm>
          <a:prstGeom prst="rect">
            <a:avLst/>
          </a:prstGeom>
        </p:spPr>
        <p:txBody>
          <a:bodyPr tIns="540000"/>
          <a:lstStyle>
            <a:lvl1pPr algn="ctr">
              <a:defRPr/>
            </a:lvl1pPr>
          </a:lstStyle>
          <a:p>
            <a:r>
              <a:rPr lang="en-GB" dirty="0"/>
              <a:t>Click icon to add picture</a:t>
            </a:r>
          </a:p>
        </p:txBody>
      </p:sp>
      <p:sp>
        <p:nvSpPr>
          <p:cNvPr id="58" name="Bildplatzhalter 4">
            <a:extLst>
              <a:ext uri="{FF2B5EF4-FFF2-40B4-BE49-F238E27FC236}">
                <a16:creationId xmlns:a16="http://schemas.microsoft.com/office/drawing/2014/main" id="{D0DFFE84-3AE3-4EAF-8F5A-EAA1B7523848}"/>
              </a:ext>
            </a:extLst>
          </p:cNvPr>
          <p:cNvSpPr>
            <a:spLocks noGrp="1"/>
          </p:cNvSpPr>
          <p:nvPr>
            <p:ph type="pic" sz="quarter" idx="16" hasCustomPrompt="1"/>
          </p:nvPr>
        </p:nvSpPr>
        <p:spPr>
          <a:xfrm>
            <a:off x="-2" y="3271500"/>
            <a:ext cx="2988000" cy="1872000"/>
          </a:xfrm>
          <a:prstGeom prst="rect">
            <a:avLst/>
          </a:prstGeom>
        </p:spPr>
        <p:txBody>
          <a:bodyPr tIns="540000"/>
          <a:lstStyle>
            <a:lvl1pPr algn="ctr">
              <a:defRPr/>
            </a:lvl1pPr>
          </a:lstStyle>
          <a:p>
            <a:r>
              <a:rPr lang="en-GB" dirty="0"/>
              <a:t>Click icon to add picture</a:t>
            </a:r>
          </a:p>
        </p:txBody>
      </p:sp>
      <p:sp>
        <p:nvSpPr>
          <p:cNvPr id="64" name="Bildplatzhalter 4">
            <a:extLst>
              <a:ext uri="{FF2B5EF4-FFF2-40B4-BE49-F238E27FC236}">
                <a16:creationId xmlns:a16="http://schemas.microsoft.com/office/drawing/2014/main" id="{D4BD1F6B-430C-4DA2-8F47-BED1607D6681}"/>
              </a:ext>
            </a:extLst>
          </p:cNvPr>
          <p:cNvSpPr>
            <a:spLocks noGrp="1"/>
          </p:cNvSpPr>
          <p:nvPr>
            <p:ph type="pic" sz="quarter" idx="18" hasCustomPrompt="1"/>
          </p:nvPr>
        </p:nvSpPr>
        <p:spPr>
          <a:xfrm>
            <a:off x="3078000" y="3272264"/>
            <a:ext cx="2988000" cy="1872000"/>
          </a:xfrm>
          <a:prstGeom prst="rect">
            <a:avLst/>
          </a:prstGeom>
        </p:spPr>
        <p:txBody>
          <a:bodyPr tIns="540000"/>
          <a:lstStyle>
            <a:lvl1pPr algn="ctr">
              <a:defRPr/>
            </a:lvl1pPr>
          </a:lstStyle>
          <a:p>
            <a:r>
              <a:rPr lang="en-GB" dirty="0"/>
              <a:t>Click icon to add picture</a:t>
            </a:r>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platzhalter 2">
            <a:extLst>
              <a:ext uri="{FF2B5EF4-FFF2-40B4-BE49-F238E27FC236}">
                <a16:creationId xmlns:a16="http://schemas.microsoft.com/office/drawing/2014/main" id="{C07F60D8-2B46-41DF-A282-D85E64522AE7}"/>
              </a:ext>
            </a:extLst>
          </p:cNvPr>
          <p:cNvSpPr>
            <a:spLocks noGrp="1"/>
          </p:cNvSpPr>
          <p:nvPr>
            <p:ph type="body" sz="quarter" idx="25" hasCustomPrompt="1"/>
          </p:nvPr>
        </p:nvSpPr>
        <p:spPr>
          <a:xfrm>
            <a:off x="-2821" y="2566800"/>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accent2"/>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26" name="Textplatzhalter 2">
            <a:extLst>
              <a:ext uri="{FF2B5EF4-FFF2-40B4-BE49-F238E27FC236}">
                <a16:creationId xmlns:a16="http://schemas.microsoft.com/office/drawing/2014/main" id="{D7EB4CF4-0FD0-40B8-B8ED-D9B108AD69B3}"/>
              </a:ext>
            </a:extLst>
          </p:cNvPr>
          <p:cNvSpPr>
            <a:spLocks noGrp="1"/>
          </p:cNvSpPr>
          <p:nvPr>
            <p:ph type="body" sz="quarter" idx="31" hasCustomPrompt="1"/>
          </p:nvPr>
        </p:nvSpPr>
        <p:spPr>
          <a:xfrm>
            <a:off x="101764" y="2568243"/>
            <a:ext cx="288000" cy="358557"/>
          </a:xfrm>
        </p:spPr>
        <p:txBody>
          <a:bodyPr anchor="ctr" anchorCtr="0"/>
          <a:lstStyle>
            <a:lvl1pPr>
              <a:defRPr sz="2000">
                <a:solidFill>
                  <a:schemeClr val="bg1"/>
                </a:solidFill>
              </a:defRPr>
            </a:lvl1pPr>
          </a:lstStyle>
          <a:p>
            <a:pPr lvl="0"/>
            <a:r>
              <a:rPr lang="de-DE" dirty="0"/>
              <a:t>1</a:t>
            </a:r>
            <a:endParaRPr lang="en-GB" dirty="0"/>
          </a:p>
        </p:txBody>
      </p:sp>
      <p:sp>
        <p:nvSpPr>
          <p:cNvPr id="36" name="Textplatzhalter 2">
            <a:extLst>
              <a:ext uri="{FF2B5EF4-FFF2-40B4-BE49-F238E27FC236}">
                <a16:creationId xmlns:a16="http://schemas.microsoft.com/office/drawing/2014/main" id="{B98FE7F7-7DFA-4FC4-8EAC-1E87C29AA26B}"/>
              </a:ext>
            </a:extLst>
          </p:cNvPr>
          <p:cNvSpPr>
            <a:spLocks noGrp="1"/>
          </p:cNvSpPr>
          <p:nvPr>
            <p:ph type="body" sz="quarter" idx="32" hasCustomPrompt="1"/>
          </p:nvPr>
        </p:nvSpPr>
        <p:spPr>
          <a:xfrm>
            <a:off x="3076395" y="2566800"/>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rgbClr val="68658A"/>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7" name="Textplatzhalter 2">
            <a:extLst>
              <a:ext uri="{FF2B5EF4-FFF2-40B4-BE49-F238E27FC236}">
                <a16:creationId xmlns:a16="http://schemas.microsoft.com/office/drawing/2014/main" id="{5BEDB706-E61A-4B4F-A952-111211F4215C}"/>
              </a:ext>
            </a:extLst>
          </p:cNvPr>
          <p:cNvSpPr>
            <a:spLocks noGrp="1"/>
          </p:cNvSpPr>
          <p:nvPr>
            <p:ph type="body" sz="quarter" idx="33" hasCustomPrompt="1"/>
          </p:nvPr>
        </p:nvSpPr>
        <p:spPr>
          <a:xfrm>
            <a:off x="3180980" y="2568243"/>
            <a:ext cx="288000" cy="358557"/>
          </a:xfrm>
        </p:spPr>
        <p:txBody>
          <a:bodyPr anchor="ctr" anchorCtr="0"/>
          <a:lstStyle>
            <a:lvl1pPr>
              <a:defRPr sz="2000">
                <a:solidFill>
                  <a:schemeClr val="bg1"/>
                </a:solidFill>
              </a:defRPr>
            </a:lvl1pPr>
          </a:lstStyle>
          <a:p>
            <a:pPr lvl="0"/>
            <a:r>
              <a:rPr lang="de-DE" dirty="0"/>
              <a:t>2</a:t>
            </a:r>
            <a:endParaRPr lang="en-GB" dirty="0"/>
          </a:p>
        </p:txBody>
      </p:sp>
      <p:sp>
        <p:nvSpPr>
          <p:cNvPr id="44" name="Textplatzhalter 2">
            <a:extLst>
              <a:ext uri="{FF2B5EF4-FFF2-40B4-BE49-F238E27FC236}">
                <a16:creationId xmlns:a16="http://schemas.microsoft.com/office/drawing/2014/main" id="{7BA4BF16-5E1F-46F6-B971-5B1817EC145F}"/>
              </a:ext>
            </a:extLst>
          </p:cNvPr>
          <p:cNvSpPr>
            <a:spLocks noGrp="1"/>
          </p:cNvSpPr>
          <p:nvPr>
            <p:ph type="body" sz="quarter" idx="34" hasCustomPrompt="1"/>
          </p:nvPr>
        </p:nvSpPr>
        <p:spPr>
          <a:xfrm>
            <a:off x="6152226" y="2566800"/>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accent5"/>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45" name="Textplatzhalter 2">
            <a:extLst>
              <a:ext uri="{FF2B5EF4-FFF2-40B4-BE49-F238E27FC236}">
                <a16:creationId xmlns:a16="http://schemas.microsoft.com/office/drawing/2014/main" id="{AC461193-B038-4B40-A557-5ABEA28CB065}"/>
              </a:ext>
            </a:extLst>
          </p:cNvPr>
          <p:cNvSpPr>
            <a:spLocks noGrp="1"/>
          </p:cNvSpPr>
          <p:nvPr>
            <p:ph type="body" sz="quarter" idx="35" hasCustomPrompt="1"/>
          </p:nvPr>
        </p:nvSpPr>
        <p:spPr>
          <a:xfrm>
            <a:off x="6256811" y="2568243"/>
            <a:ext cx="288000" cy="358557"/>
          </a:xfrm>
        </p:spPr>
        <p:txBody>
          <a:bodyPr anchor="ctr" anchorCtr="0"/>
          <a:lstStyle>
            <a:lvl1pPr>
              <a:defRPr sz="2000">
                <a:solidFill>
                  <a:schemeClr val="bg1"/>
                </a:solidFill>
              </a:defRPr>
            </a:lvl1pPr>
          </a:lstStyle>
          <a:p>
            <a:pPr lvl="0"/>
            <a:r>
              <a:rPr lang="de-DE" dirty="0"/>
              <a:t>3</a:t>
            </a:r>
            <a:endParaRPr lang="en-GB" dirty="0"/>
          </a:p>
        </p:txBody>
      </p:sp>
      <p:sp>
        <p:nvSpPr>
          <p:cNvPr id="46" name="Textplatzhalter 2">
            <a:extLst>
              <a:ext uri="{FF2B5EF4-FFF2-40B4-BE49-F238E27FC236}">
                <a16:creationId xmlns:a16="http://schemas.microsoft.com/office/drawing/2014/main" id="{CCCE9AF7-76FD-4593-8C71-FB7A9A94FBA6}"/>
              </a:ext>
            </a:extLst>
          </p:cNvPr>
          <p:cNvSpPr>
            <a:spLocks noGrp="1"/>
          </p:cNvSpPr>
          <p:nvPr>
            <p:ph type="body" sz="quarter" idx="36" hasCustomPrompt="1"/>
          </p:nvPr>
        </p:nvSpPr>
        <p:spPr>
          <a:xfrm>
            <a:off x="0" y="4564095"/>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tx2"/>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47" name="Textplatzhalter 2">
            <a:extLst>
              <a:ext uri="{FF2B5EF4-FFF2-40B4-BE49-F238E27FC236}">
                <a16:creationId xmlns:a16="http://schemas.microsoft.com/office/drawing/2014/main" id="{26764C44-0F44-45AD-92F2-21B3A3021E0C}"/>
              </a:ext>
            </a:extLst>
          </p:cNvPr>
          <p:cNvSpPr>
            <a:spLocks noGrp="1"/>
          </p:cNvSpPr>
          <p:nvPr>
            <p:ph type="body" sz="quarter" idx="37" hasCustomPrompt="1"/>
          </p:nvPr>
        </p:nvSpPr>
        <p:spPr>
          <a:xfrm>
            <a:off x="104585" y="4565538"/>
            <a:ext cx="288000" cy="358557"/>
          </a:xfrm>
        </p:spPr>
        <p:txBody>
          <a:bodyPr anchor="ctr" anchorCtr="0"/>
          <a:lstStyle>
            <a:lvl1pPr>
              <a:defRPr sz="2000">
                <a:solidFill>
                  <a:schemeClr val="bg1"/>
                </a:solidFill>
              </a:defRPr>
            </a:lvl1pPr>
          </a:lstStyle>
          <a:p>
            <a:pPr lvl="0"/>
            <a:r>
              <a:rPr lang="de-DE" dirty="0"/>
              <a:t>4</a:t>
            </a:r>
            <a:endParaRPr lang="en-GB" dirty="0"/>
          </a:p>
        </p:txBody>
      </p:sp>
      <p:sp>
        <p:nvSpPr>
          <p:cNvPr id="48" name="Textplatzhalter 2">
            <a:extLst>
              <a:ext uri="{FF2B5EF4-FFF2-40B4-BE49-F238E27FC236}">
                <a16:creationId xmlns:a16="http://schemas.microsoft.com/office/drawing/2014/main" id="{1CC86023-B483-4389-9A09-422A70731169}"/>
              </a:ext>
            </a:extLst>
          </p:cNvPr>
          <p:cNvSpPr>
            <a:spLocks noGrp="1"/>
          </p:cNvSpPr>
          <p:nvPr>
            <p:ph type="body" sz="quarter" idx="38" hasCustomPrompt="1"/>
          </p:nvPr>
        </p:nvSpPr>
        <p:spPr>
          <a:xfrm>
            <a:off x="3076395" y="4564095"/>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accent3"/>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50" name="Textplatzhalter 2">
            <a:extLst>
              <a:ext uri="{FF2B5EF4-FFF2-40B4-BE49-F238E27FC236}">
                <a16:creationId xmlns:a16="http://schemas.microsoft.com/office/drawing/2014/main" id="{A831EC76-BFDE-436D-89C2-3C2FC96C21C9}"/>
              </a:ext>
            </a:extLst>
          </p:cNvPr>
          <p:cNvSpPr>
            <a:spLocks noGrp="1"/>
          </p:cNvSpPr>
          <p:nvPr>
            <p:ph type="body" sz="quarter" idx="39" hasCustomPrompt="1"/>
          </p:nvPr>
        </p:nvSpPr>
        <p:spPr>
          <a:xfrm>
            <a:off x="3180980" y="4565538"/>
            <a:ext cx="288000" cy="358557"/>
          </a:xfrm>
        </p:spPr>
        <p:txBody>
          <a:bodyPr anchor="ctr" anchorCtr="0"/>
          <a:lstStyle>
            <a:lvl1pPr>
              <a:defRPr sz="2000">
                <a:solidFill>
                  <a:schemeClr val="bg1"/>
                </a:solidFill>
              </a:defRPr>
            </a:lvl1pPr>
          </a:lstStyle>
          <a:p>
            <a:pPr lvl="0"/>
            <a:r>
              <a:rPr lang="de-DE" dirty="0"/>
              <a:t>5</a:t>
            </a:r>
            <a:endParaRPr lang="en-GB" dirty="0"/>
          </a:p>
        </p:txBody>
      </p:sp>
      <p:sp>
        <p:nvSpPr>
          <p:cNvPr id="51" name="Textplatzhalter 2">
            <a:extLst>
              <a:ext uri="{FF2B5EF4-FFF2-40B4-BE49-F238E27FC236}">
                <a16:creationId xmlns:a16="http://schemas.microsoft.com/office/drawing/2014/main" id="{DD6526E1-5960-49A1-9DA4-42FCA85997F0}"/>
              </a:ext>
            </a:extLst>
          </p:cNvPr>
          <p:cNvSpPr>
            <a:spLocks noGrp="1"/>
          </p:cNvSpPr>
          <p:nvPr>
            <p:ph type="body" sz="quarter" idx="40" hasCustomPrompt="1"/>
          </p:nvPr>
        </p:nvSpPr>
        <p:spPr>
          <a:xfrm>
            <a:off x="6148441" y="4564095"/>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bg1">
              <a:lumMod val="75000"/>
            </a:schemeClr>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52" name="Textplatzhalter 2">
            <a:extLst>
              <a:ext uri="{FF2B5EF4-FFF2-40B4-BE49-F238E27FC236}">
                <a16:creationId xmlns:a16="http://schemas.microsoft.com/office/drawing/2014/main" id="{E0E0D4C0-6910-490A-8005-E5B04B04C959}"/>
              </a:ext>
            </a:extLst>
          </p:cNvPr>
          <p:cNvSpPr>
            <a:spLocks noGrp="1"/>
          </p:cNvSpPr>
          <p:nvPr>
            <p:ph type="body" sz="quarter" idx="41" hasCustomPrompt="1"/>
          </p:nvPr>
        </p:nvSpPr>
        <p:spPr>
          <a:xfrm>
            <a:off x="6253026" y="4565538"/>
            <a:ext cx="288000" cy="358557"/>
          </a:xfrm>
        </p:spPr>
        <p:txBody>
          <a:bodyPr anchor="ctr" anchorCtr="0"/>
          <a:lstStyle>
            <a:lvl1pPr>
              <a:defRPr sz="2000">
                <a:solidFill>
                  <a:schemeClr val="bg1"/>
                </a:solidFill>
              </a:defRPr>
            </a:lvl1pPr>
          </a:lstStyle>
          <a:p>
            <a:pPr lvl="0"/>
            <a:r>
              <a:rPr lang="de-DE" dirty="0"/>
              <a:t>6</a:t>
            </a:r>
            <a:endParaRPr lang="en-GB" dirty="0"/>
          </a:p>
        </p:txBody>
      </p:sp>
      <p:sp>
        <p:nvSpPr>
          <p:cNvPr id="2" name="Fußzeilenplatzhalter 1">
            <a:extLst>
              <a:ext uri="{FF2B5EF4-FFF2-40B4-BE49-F238E27FC236}">
                <a16:creationId xmlns:a16="http://schemas.microsoft.com/office/drawing/2014/main" id="{7DCEA4E5-3E6B-495D-AB30-76DB231C29BB}"/>
              </a:ext>
            </a:extLst>
          </p:cNvPr>
          <p:cNvSpPr>
            <a:spLocks noGrp="1"/>
          </p:cNvSpPr>
          <p:nvPr>
            <p:ph type="ftr" sz="quarter" idx="42"/>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621462796"/>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1926123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
        <p:nvSpPr>
          <p:cNvPr id="20" name="Picture Placeholder 99">
            <a:extLst>
              <a:ext uri="{FF2B5EF4-FFF2-40B4-BE49-F238E27FC236}">
                <a16:creationId xmlns:a16="http://schemas.microsoft.com/office/drawing/2014/main" id="{9BE88126-460D-408C-99BA-C2A7A2A02E69}"/>
              </a:ext>
            </a:extLst>
          </p:cNvPr>
          <p:cNvSpPr>
            <a:spLocks noGrp="1"/>
          </p:cNvSpPr>
          <p:nvPr>
            <p:ph type="pic" sz="quarter" idx="20"/>
          </p:nvPr>
        </p:nvSpPr>
        <p:spPr>
          <a:xfrm>
            <a:off x="0" y="1341475"/>
            <a:ext cx="3785031" cy="2783602"/>
          </a:xfrm>
          <a:custGeom>
            <a:avLst/>
            <a:gdLst>
              <a:gd name="connsiteX0" fmla="*/ 0 w 3144838"/>
              <a:gd name="connsiteY0" fmla="*/ 0 h 2411905"/>
              <a:gd name="connsiteX1" fmla="*/ 3144838 w 3144838"/>
              <a:gd name="connsiteY1" fmla="*/ 0 h 2411905"/>
              <a:gd name="connsiteX2" fmla="*/ 3144838 w 3144838"/>
              <a:gd name="connsiteY2" fmla="*/ 10296 h 2411905"/>
              <a:gd name="connsiteX3" fmla="*/ 2366923 w 3144838"/>
              <a:gd name="connsiteY3" fmla="*/ 2411905 h 2411905"/>
              <a:gd name="connsiteX4" fmla="*/ 0 w 3144838"/>
              <a:gd name="connsiteY4" fmla="*/ 2411905 h 2411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4838" h="2411905">
                <a:moveTo>
                  <a:pt x="0" y="0"/>
                </a:moveTo>
                <a:lnTo>
                  <a:pt x="3144838" y="0"/>
                </a:lnTo>
                <a:lnTo>
                  <a:pt x="3144838" y="10296"/>
                </a:lnTo>
                <a:lnTo>
                  <a:pt x="2366923"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21" name="Picture Placeholder 101">
            <a:extLst>
              <a:ext uri="{FF2B5EF4-FFF2-40B4-BE49-F238E27FC236}">
                <a16:creationId xmlns:a16="http://schemas.microsoft.com/office/drawing/2014/main" id="{C6D64E96-740A-4A3C-B12D-4E9BD2E8A834}"/>
              </a:ext>
            </a:extLst>
          </p:cNvPr>
          <p:cNvSpPr>
            <a:spLocks noGrp="1"/>
          </p:cNvSpPr>
          <p:nvPr>
            <p:ph type="pic" sz="quarter" idx="21"/>
          </p:nvPr>
        </p:nvSpPr>
        <p:spPr>
          <a:xfrm>
            <a:off x="2873318" y="1341474"/>
            <a:ext cx="3611189" cy="2783601"/>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23" name="Picture Placeholder 105">
            <a:extLst>
              <a:ext uri="{FF2B5EF4-FFF2-40B4-BE49-F238E27FC236}">
                <a16:creationId xmlns:a16="http://schemas.microsoft.com/office/drawing/2014/main" id="{289297E2-217A-4715-97A0-EA8B45DC9471}"/>
              </a:ext>
            </a:extLst>
          </p:cNvPr>
          <p:cNvSpPr>
            <a:spLocks noGrp="1"/>
          </p:cNvSpPr>
          <p:nvPr>
            <p:ph type="pic" sz="quarter" idx="23"/>
          </p:nvPr>
        </p:nvSpPr>
        <p:spPr>
          <a:xfrm>
            <a:off x="5572794" y="1341477"/>
            <a:ext cx="3554868" cy="2783602"/>
          </a:xfrm>
          <a:custGeom>
            <a:avLst/>
            <a:gdLst>
              <a:gd name="connsiteX0" fmla="*/ 782995 w 2953604"/>
              <a:gd name="connsiteY0" fmla="*/ 0 h 2411906"/>
              <a:gd name="connsiteX1" fmla="*/ 1619001 w 2953604"/>
              <a:gd name="connsiteY1" fmla="*/ 0 h 2411906"/>
              <a:gd name="connsiteX2" fmla="*/ 1874104 w 2953604"/>
              <a:gd name="connsiteY2" fmla="*/ 0 h 2411906"/>
              <a:gd name="connsiteX3" fmla="*/ 1874104 w 2953604"/>
              <a:gd name="connsiteY3" fmla="*/ 379413 h 2411906"/>
              <a:gd name="connsiteX4" fmla="*/ 2629754 w 2953604"/>
              <a:gd name="connsiteY4" fmla="*/ 379413 h 2411906"/>
              <a:gd name="connsiteX5" fmla="*/ 2629754 w 2953604"/>
              <a:gd name="connsiteY5" fmla="*/ 0 h 2411906"/>
              <a:gd name="connsiteX6" fmla="*/ 2953604 w 2953604"/>
              <a:gd name="connsiteY6" fmla="*/ 0 h 2411906"/>
              <a:gd name="connsiteX7" fmla="*/ 2953604 w 2953604"/>
              <a:gd name="connsiteY7" fmla="*/ 2411906 h 2411906"/>
              <a:gd name="connsiteX8" fmla="*/ 0 w 2953604"/>
              <a:gd name="connsiteY8" fmla="*/ 2411906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379413 h 2411906"/>
              <a:gd name="connsiteX4" fmla="*/ 2629754 w 2953604"/>
              <a:gd name="connsiteY4" fmla="*/ 0 h 2411906"/>
              <a:gd name="connsiteX5" fmla="*/ 2953604 w 2953604"/>
              <a:gd name="connsiteY5" fmla="*/ 0 h 2411906"/>
              <a:gd name="connsiteX6" fmla="*/ 2953604 w 2953604"/>
              <a:gd name="connsiteY6" fmla="*/ 2411906 h 2411906"/>
              <a:gd name="connsiteX7" fmla="*/ 0 w 2953604"/>
              <a:gd name="connsiteY7" fmla="*/ 2411906 h 2411906"/>
              <a:gd name="connsiteX8" fmla="*/ 782995 w 2953604"/>
              <a:gd name="connsiteY8" fmla="*/ 0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0 h 2411906"/>
              <a:gd name="connsiteX4" fmla="*/ 2953604 w 2953604"/>
              <a:gd name="connsiteY4" fmla="*/ 0 h 2411906"/>
              <a:gd name="connsiteX5" fmla="*/ 2953604 w 2953604"/>
              <a:gd name="connsiteY5" fmla="*/ 2411906 h 2411906"/>
              <a:gd name="connsiteX6" fmla="*/ 0 w 2953604"/>
              <a:gd name="connsiteY6" fmla="*/ 2411906 h 2411906"/>
              <a:gd name="connsiteX7" fmla="*/ 782995 w 2953604"/>
              <a:gd name="connsiteY7" fmla="*/ 0 h 2411906"/>
              <a:gd name="connsiteX0" fmla="*/ 782995 w 2953604"/>
              <a:gd name="connsiteY0" fmla="*/ 0 h 2411906"/>
              <a:gd name="connsiteX1" fmla="*/ 1619001 w 2953604"/>
              <a:gd name="connsiteY1" fmla="*/ 0 h 2411906"/>
              <a:gd name="connsiteX2" fmla="*/ 1874104 w 2953604"/>
              <a:gd name="connsiteY2" fmla="*/ 0 h 2411906"/>
              <a:gd name="connsiteX3" fmla="*/ 2953604 w 2953604"/>
              <a:gd name="connsiteY3" fmla="*/ 0 h 2411906"/>
              <a:gd name="connsiteX4" fmla="*/ 2953604 w 2953604"/>
              <a:gd name="connsiteY4" fmla="*/ 2411906 h 2411906"/>
              <a:gd name="connsiteX5" fmla="*/ 0 w 2953604"/>
              <a:gd name="connsiteY5" fmla="*/ 2411906 h 2411906"/>
              <a:gd name="connsiteX6" fmla="*/ 782995 w 2953604"/>
              <a:gd name="connsiteY6" fmla="*/ 0 h 2411906"/>
              <a:gd name="connsiteX0" fmla="*/ 782995 w 2953604"/>
              <a:gd name="connsiteY0" fmla="*/ 0 h 2411906"/>
              <a:gd name="connsiteX1" fmla="*/ 1619001 w 2953604"/>
              <a:gd name="connsiteY1" fmla="*/ 0 h 2411906"/>
              <a:gd name="connsiteX2" fmla="*/ 2953604 w 2953604"/>
              <a:gd name="connsiteY2" fmla="*/ 0 h 2411906"/>
              <a:gd name="connsiteX3" fmla="*/ 2953604 w 2953604"/>
              <a:gd name="connsiteY3" fmla="*/ 2411906 h 2411906"/>
              <a:gd name="connsiteX4" fmla="*/ 0 w 2953604"/>
              <a:gd name="connsiteY4" fmla="*/ 2411906 h 2411906"/>
              <a:gd name="connsiteX5" fmla="*/ 782995 w 2953604"/>
              <a:gd name="connsiteY5" fmla="*/ 0 h 2411906"/>
              <a:gd name="connsiteX0" fmla="*/ 782995 w 2953604"/>
              <a:gd name="connsiteY0" fmla="*/ 0 h 2411906"/>
              <a:gd name="connsiteX1" fmla="*/ 2953604 w 2953604"/>
              <a:gd name="connsiteY1" fmla="*/ 0 h 2411906"/>
              <a:gd name="connsiteX2" fmla="*/ 2953604 w 2953604"/>
              <a:gd name="connsiteY2" fmla="*/ 2411906 h 2411906"/>
              <a:gd name="connsiteX3" fmla="*/ 0 w 2953604"/>
              <a:gd name="connsiteY3" fmla="*/ 2411906 h 2411906"/>
              <a:gd name="connsiteX4" fmla="*/ 782995 w 2953604"/>
              <a:gd name="connsiteY4" fmla="*/ 0 h 2411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3604" h="2411906">
                <a:moveTo>
                  <a:pt x="782995" y="0"/>
                </a:moveTo>
                <a:lnTo>
                  <a:pt x="2953604" y="0"/>
                </a:lnTo>
                <a:lnTo>
                  <a:pt x="2953604" y="2411906"/>
                </a:lnTo>
                <a:lnTo>
                  <a:pt x="0" y="2411906"/>
                </a:lnTo>
                <a:lnTo>
                  <a:pt x="782995" y="0"/>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Tree>
    <p:extLst>
      <p:ext uri="{BB962C8B-B14F-4D97-AF65-F5344CB8AC3E}">
        <p14:creationId xmlns:p14="http://schemas.microsoft.com/office/powerpoint/2010/main" val="182446136"/>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3690598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
        <p:nvSpPr>
          <p:cNvPr id="16" name="Picture Placeholder 99">
            <a:extLst>
              <a:ext uri="{FF2B5EF4-FFF2-40B4-BE49-F238E27FC236}">
                <a16:creationId xmlns:a16="http://schemas.microsoft.com/office/drawing/2014/main" id="{118A63F5-2A62-4E76-B52B-47025DED29A1}"/>
              </a:ext>
            </a:extLst>
          </p:cNvPr>
          <p:cNvSpPr>
            <a:spLocks noGrp="1"/>
          </p:cNvSpPr>
          <p:nvPr>
            <p:ph type="pic" sz="quarter" idx="20"/>
          </p:nvPr>
        </p:nvSpPr>
        <p:spPr>
          <a:xfrm>
            <a:off x="0" y="1344877"/>
            <a:ext cx="2888947" cy="2124600"/>
          </a:xfrm>
          <a:custGeom>
            <a:avLst/>
            <a:gdLst>
              <a:gd name="connsiteX0" fmla="*/ 0 w 3144838"/>
              <a:gd name="connsiteY0" fmla="*/ 0 h 2411905"/>
              <a:gd name="connsiteX1" fmla="*/ 3144838 w 3144838"/>
              <a:gd name="connsiteY1" fmla="*/ 0 h 2411905"/>
              <a:gd name="connsiteX2" fmla="*/ 3144838 w 3144838"/>
              <a:gd name="connsiteY2" fmla="*/ 10296 h 2411905"/>
              <a:gd name="connsiteX3" fmla="*/ 2366923 w 3144838"/>
              <a:gd name="connsiteY3" fmla="*/ 2411905 h 2411905"/>
              <a:gd name="connsiteX4" fmla="*/ 0 w 3144838"/>
              <a:gd name="connsiteY4" fmla="*/ 2411905 h 2411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4838" h="2411905">
                <a:moveTo>
                  <a:pt x="0" y="0"/>
                </a:moveTo>
                <a:lnTo>
                  <a:pt x="3144838" y="0"/>
                </a:lnTo>
                <a:lnTo>
                  <a:pt x="3144838" y="10296"/>
                </a:lnTo>
                <a:lnTo>
                  <a:pt x="2366923"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17" name="Picture Placeholder 101">
            <a:extLst>
              <a:ext uri="{FF2B5EF4-FFF2-40B4-BE49-F238E27FC236}">
                <a16:creationId xmlns:a16="http://schemas.microsoft.com/office/drawing/2014/main" id="{8BC7BE2F-1AF6-4F33-88A8-33EE7EF30958}"/>
              </a:ext>
            </a:extLst>
          </p:cNvPr>
          <p:cNvSpPr>
            <a:spLocks noGrp="1"/>
          </p:cNvSpPr>
          <p:nvPr>
            <p:ph type="pic" sz="quarter" idx="21"/>
          </p:nvPr>
        </p:nvSpPr>
        <p:spPr>
          <a:xfrm>
            <a:off x="2227357" y="1344876"/>
            <a:ext cx="2756261" cy="2124599"/>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18" name="Picture Placeholder 103">
            <a:extLst>
              <a:ext uri="{FF2B5EF4-FFF2-40B4-BE49-F238E27FC236}">
                <a16:creationId xmlns:a16="http://schemas.microsoft.com/office/drawing/2014/main" id="{81258B60-B92A-4B1C-AF84-46CCF8C5E764}"/>
              </a:ext>
            </a:extLst>
          </p:cNvPr>
          <p:cNvSpPr>
            <a:spLocks noGrp="1"/>
          </p:cNvSpPr>
          <p:nvPr>
            <p:ph type="pic" sz="quarter" idx="22"/>
          </p:nvPr>
        </p:nvSpPr>
        <p:spPr>
          <a:xfrm>
            <a:off x="4322028" y="1344876"/>
            <a:ext cx="2756261" cy="2124599"/>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19" name="Picture Placeholder 105">
            <a:extLst>
              <a:ext uri="{FF2B5EF4-FFF2-40B4-BE49-F238E27FC236}">
                <a16:creationId xmlns:a16="http://schemas.microsoft.com/office/drawing/2014/main" id="{147418D2-B05C-4AA4-A542-583D4EA3B7A9}"/>
              </a:ext>
            </a:extLst>
          </p:cNvPr>
          <p:cNvSpPr>
            <a:spLocks noGrp="1"/>
          </p:cNvSpPr>
          <p:nvPr>
            <p:ph type="pic" sz="quarter" idx="23"/>
          </p:nvPr>
        </p:nvSpPr>
        <p:spPr>
          <a:xfrm>
            <a:off x="6416700" y="1344877"/>
            <a:ext cx="2713274" cy="2124601"/>
          </a:xfrm>
          <a:custGeom>
            <a:avLst/>
            <a:gdLst>
              <a:gd name="connsiteX0" fmla="*/ 782995 w 2953604"/>
              <a:gd name="connsiteY0" fmla="*/ 0 h 2411906"/>
              <a:gd name="connsiteX1" fmla="*/ 1619001 w 2953604"/>
              <a:gd name="connsiteY1" fmla="*/ 0 h 2411906"/>
              <a:gd name="connsiteX2" fmla="*/ 1874104 w 2953604"/>
              <a:gd name="connsiteY2" fmla="*/ 0 h 2411906"/>
              <a:gd name="connsiteX3" fmla="*/ 1874104 w 2953604"/>
              <a:gd name="connsiteY3" fmla="*/ 379413 h 2411906"/>
              <a:gd name="connsiteX4" fmla="*/ 2629754 w 2953604"/>
              <a:gd name="connsiteY4" fmla="*/ 379413 h 2411906"/>
              <a:gd name="connsiteX5" fmla="*/ 2629754 w 2953604"/>
              <a:gd name="connsiteY5" fmla="*/ 0 h 2411906"/>
              <a:gd name="connsiteX6" fmla="*/ 2953604 w 2953604"/>
              <a:gd name="connsiteY6" fmla="*/ 0 h 2411906"/>
              <a:gd name="connsiteX7" fmla="*/ 2953604 w 2953604"/>
              <a:gd name="connsiteY7" fmla="*/ 2411906 h 2411906"/>
              <a:gd name="connsiteX8" fmla="*/ 0 w 2953604"/>
              <a:gd name="connsiteY8" fmla="*/ 2411906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379413 h 2411906"/>
              <a:gd name="connsiteX4" fmla="*/ 2629754 w 2953604"/>
              <a:gd name="connsiteY4" fmla="*/ 0 h 2411906"/>
              <a:gd name="connsiteX5" fmla="*/ 2953604 w 2953604"/>
              <a:gd name="connsiteY5" fmla="*/ 0 h 2411906"/>
              <a:gd name="connsiteX6" fmla="*/ 2953604 w 2953604"/>
              <a:gd name="connsiteY6" fmla="*/ 2411906 h 2411906"/>
              <a:gd name="connsiteX7" fmla="*/ 0 w 2953604"/>
              <a:gd name="connsiteY7" fmla="*/ 2411906 h 2411906"/>
              <a:gd name="connsiteX8" fmla="*/ 782995 w 2953604"/>
              <a:gd name="connsiteY8" fmla="*/ 0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0 h 2411906"/>
              <a:gd name="connsiteX4" fmla="*/ 2953604 w 2953604"/>
              <a:gd name="connsiteY4" fmla="*/ 0 h 2411906"/>
              <a:gd name="connsiteX5" fmla="*/ 2953604 w 2953604"/>
              <a:gd name="connsiteY5" fmla="*/ 2411906 h 2411906"/>
              <a:gd name="connsiteX6" fmla="*/ 0 w 2953604"/>
              <a:gd name="connsiteY6" fmla="*/ 2411906 h 2411906"/>
              <a:gd name="connsiteX7" fmla="*/ 782995 w 2953604"/>
              <a:gd name="connsiteY7" fmla="*/ 0 h 2411906"/>
              <a:gd name="connsiteX0" fmla="*/ 782995 w 2953604"/>
              <a:gd name="connsiteY0" fmla="*/ 0 h 2411906"/>
              <a:gd name="connsiteX1" fmla="*/ 1619001 w 2953604"/>
              <a:gd name="connsiteY1" fmla="*/ 0 h 2411906"/>
              <a:gd name="connsiteX2" fmla="*/ 1874104 w 2953604"/>
              <a:gd name="connsiteY2" fmla="*/ 0 h 2411906"/>
              <a:gd name="connsiteX3" fmla="*/ 2953604 w 2953604"/>
              <a:gd name="connsiteY3" fmla="*/ 0 h 2411906"/>
              <a:gd name="connsiteX4" fmla="*/ 2953604 w 2953604"/>
              <a:gd name="connsiteY4" fmla="*/ 2411906 h 2411906"/>
              <a:gd name="connsiteX5" fmla="*/ 0 w 2953604"/>
              <a:gd name="connsiteY5" fmla="*/ 2411906 h 2411906"/>
              <a:gd name="connsiteX6" fmla="*/ 782995 w 2953604"/>
              <a:gd name="connsiteY6" fmla="*/ 0 h 2411906"/>
              <a:gd name="connsiteX0" fmla="*/ 782995 w 2953604"/>
              <a:gd name="connsiteY0" fmla="*/ 0 h 2411906"/>
              <a:gd name="connsiteX1" fmla="*/ 1619001 w 2953604"/>
              <a:gd name="connsiteY1" fmla="*/ 0 h 2411906"/>
              <a:gd name="connsiteX2" fmla="*/ 2953604 w 2953604"/>
              <a:gd name="connsiteY2" fmla="*/ 0 h 2411906"/>
              <a:gd name="connsiteX3" fmla="*/ 2953604 w 2953604"/>
              <a:gd name="connsiteY3" fmla="*/ 2411906 h 2411906"/>
              <a:gd name="connsiteX4" fmla="*/ 0 w 2953604"/>
              <a:gd name="connsiteY4" fmla="*/ 2411906 h 2411906"/>
              <a:gd name="connsiteX5" fmla="*/ 782995 w 2953604"/>
              <a:gd name="connsiteY5" fmla="*/ 0 h 2411906"/>
              <a:gd name="connsiteX0" fmla="*/ 782995 w 2953604"/>
              <a:gd name="connsiteY0" fmla="*/ 0 h 2411906"/>
              <a:gd name="connsiteX1" fmla="*/ 2953604 w 2953604"/>
              <a:gd name="connsiteY1" fmla="*/ 0 h 2411906"/>
              <a:gd name="connsiteX2" fmla="*/ 2953604 w 2953604"/>
              <a:gd name="connsiteY2" fmla="*/ 2411906 h 2411906"/>
              <a:gd name="connsiteX3" fmla="*/ 0 w 2953604"/>
              <a:gd name="connsiteY3" fmla="*/ 2411906 h 2411906"/>
              <a:gd name="connsiteX4" fmla="*/ 782995 w 2953604"/>
              <a:gd name="connsiteY4" fmla="*/ 0 h 2411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3604" h="2411906">
                <a:moveTo>
                  <a:pt x="782995" y="0"/>
                </a:moveTo>
                <a:lnTo>
                  <a:pt x="2953604" y="0"/>
                </a:lnTo>
                <a:lnTo>
                  <a:pt x="2953604" y="2411906"/>
                </a:lnTo>
                <a:lnTo>
                  <a:pt x="0" y="2411906"/>
                </a:lnTo>
                <a:lnTo>
                  <a:pt x="782995" y="0"/>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Tree>
    <p:extLst>
      <p:ext uri="{BB962C8B-B14F-4D97-AF65-F5344CB8AC3E}">
        <p14:creationId xmlns:p14="http://schemas.microsoft.com/office/powerpoint/2010/main" val="3717410734"/>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1717036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
        <p:nvSpPr>
          <p:cNvPr id="23" name="Picture Placeholder 99">
            <a:extLst>
              <a:ext uri="{FF2B5EF4-FFF2-40B4-BE49-F238E27FC236}">
                <a16:creationId xmlns:a16="http://schemas.microsoft.com/office/drawing/2014/main" id="{C2CC1EE0-39D0-4E9E-B554-9C8F34F0FDB2}"/>
              </a:ext>
            </a:extLst>
          </p:cNvPr>
          <p:cNvSpPr>
            <a:spLocks noGrp="1"/>
          </p:cNvSpPr>
          <p:nvPr>
            <p:ph type="pic" sz="quarter" idx="20"/>
          </p:nvPr>
        </p:nvSpPr>
        <p:spPr>
          <a:xfrm>
            <a:off x="0" y="1341480"/>
            <a:ext cx="2351627" cy="1729442"/>
          </a:xfrm>
          <a:custGeom>
            <a:avLst/>
            <a:gdLst>
              <a:gd name="connsiteX0" fmla="*/ 0 w 3144838"/>
              <a:gd name="connsiteY0" fmla="*/ 0 h 2411905"/>
              <a:gd name="connsiteX1" fmla="*/ 3144838 w 3144838"/>
              <a:gd name="connsiteY1" fmla="*/ 0 h 2411905"/>
              <a:gd name="connsiteX2" fmla="*/ 3144838 w 3144838"/>
              <a:gd name="connsiteY2" fmla="*/ 10296 h 2411905"/>
              <a:gd name="connsiteX3" fmla="*/ 2366923 w 3144838"/>
              <a:gd name="connsiteY3" fmla="*/ 2411905 h 2411905"/>
              <a:gd name="connsiteX4" fmla="*/ 0 w 3144838"/>
              <a:gd name="connsiteY4" fmla="*/ 2411905 h 2411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4838" h="2411905">
                <a:moveTo>
                  <a:pt x="0" y="0"/>
                </a:moveTo>
                <a:lnTo>
                  <a:pt x="3144838" y="0"/>
                </a:lnTo>
                <a:lnTo>
                  <a:pt x="3144838" y="10296"/>
                </a:lnTo>
                <a:lnTo>
                  <a:pt x="2366923" y="2411905"/>
                </a:lnTo>
                <a:lnTo>
                  <a:pt x="0" y="2411905"/>
                </a:lnTo>
                <a:close/>
              </a:path>
            </a:pathLst>
          </a:custGeom>
          <a:solidFill>
            <a:schemeClr val="bg2"/>
          </a:solidFill>
        </p:spPr>
        <p:txBody>
          <a:bodyPr wrap="square">
            <a:noAutofit/>
          </a:bodyPr>
          <a:lstStyle/>
          <a:p>
            <a:endParaRPr lang="en-GB"/>
          </a:p>
        </p:txBody>
      </p:sp>
      <p:sp>
        <p:nvSpPr>
          <p:cNvPr id="24" name="Picture Placeholder 101">
            <a:extLst>
              <a:ext uri="{FF2B5EF4-FFF2-40B4-BE49-F238E27FC236}">
                <a16:creationId xmlns:a16="http://schemas.microsoft.com/office/drawing/2014/main" id="{2E5073FE-5A70-4399-8736-234ABA2A2ED1}"/>
              </a:ext>
            </a:extLst>
          </p:cNvPr>
          <p:cNvSpPr>
            <a:spLocks noGrp="1"/>
          </p:cNvSpPr>
          <p:nvPr>
            <p:ph type="pic" sz="quarter" idx="21"/>
          </p:nvPr>
        </p:nvSpPr>
        <p:spPr>
          <a:xfrm>
            <a:off x="3519483" y="1341480"/>
            <a:ext cx="2243620" cy="1729442"/>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wrap="square">
            <a:noAutofit/>
          </a:bodyPr>
          <a:lstStyle/>
          <a:p>
            <a:endParaRPr lang="en-GB"/>
          </a:p>
        </p:txBody>
      </p:sp>
      <p:sp>
        <p:nvSpPr>
          <p:cNvPr id="26" name="Picture Placeholder 103">
            <a:extLst>
              <a:ext uri="{FF2B5EF4-FFF2-40B4-BE49-F238E27FC236}">
                <a16:creationId xmlns:a16="http://schemas.microsoft.com/office/drawing/2014/main" id="{D623FDBB-1943-45CF-8D45-EDF9EBF0D666}"/>
              </a:ext>
            </a:extLst>
          </p:cNvPr>
          <p:cNvSpPr>
            <a:spLocks noGrp="1"/>
          </p:cNvSpPr>
          <p:nvPr>
            <p:ph type="pic" sz="quarter" idx="22"/>
          </p:nvPr>
        </p:nvSpPr>
        <p:spPr>
          <a:xfrm>
            <a:off x="5225221" y="1341480"/>
            <a:ext cx="2243620" cy="1729442"/>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wrap="square">
            <a:noAutofit/>
          </a:bodyPr>
          <a:lstStyle/>
          <a:p>
            <a:endParaRPr lang="en-GB"/>
          </a:p>
        </p:txBody>
      </p:sp>
      <p:sp>
        <p:nvSpPr>
          <p:cNvPr id="31" name="Picture Placeholder 105">
            <a:extLst>
              <a:ext uri="{FF2B5EF4-FFF2-40B4-BE49-F238E27FC236}">
                <a16:creationId xmlns:a16="http://schemas.microsoft.com/office/drawing/2014/main" id="{037CDD7F-74E4-43E6-BCDB-500CE3F16A3D}"/>
              </a:ext>
            </a:extLst>
          </p:cNvPr>
          <p:cNvSpPr>
            <a:spLocks noGrp="1"/>
          </p:cNvSpPr>
          <p:nvPr>
            <p:ph type="pic" sz="quarter" idx="23"/>
          </p:nvPr>
        </p:nvSpPr>
        <p:spPr>
          <a:xfrm>
            <a:off x="6930959" y="1341477"/>
            <a:ext cx="2208628" cy="1729443"/>
          </a:xfrm>
          <a:custGeom>
            <a:avLst/>
            <a:gdLst>
              <a:gd name="connsiteX0" fmla="*/ 782995 w 2953604"/>
              <a:gd name="connsiteY0" fmla="*/ 0 h 2411906"/>
              <a:gd name="connsiteX1" fmla="*/ 1619001 w 2953604"/>
              <a:gd name="connsiteY1" fmla="*/ 0 h 2411906"/>
              <a:gd name="connsiteX2" fmla="*/ 1874104 w 2953604"/>
              <a:gd name="connsiteY2" fmla="*/ 0 h 2411906"/>
              <a:gd name="connsiteX3" fmla="*/ 1874104 w 2953604"/>
              <a:gd name="connsiteY3" fmla="*/ 379413 h 2411906"/>
              <a:gd name="connsiteX4" fmla="*/ 2629754 w 2953604"/>
              <a:gd name="connsiteY4" fmla="*/ 379413 h 2411906"/>
              <a:gd name="connsiteX5" fmla="*/ 2629754 w 2953604"/>
              <a:gd name="connsiteY5" fmla="*/ 0 h 2411906"/>
              <a:gd name="connsiteX6" fmla="*/ 2953604 w 2953604"/>
              <a:gd name="connsiteY6" fmla="*/ 0 h 2411906"/>
              <a:gd name="connsiteX7" fmla="*/ 2953604 w 2953604"/>
              <a:gd name="connsiteY7" fmla="*/ 2411906 h 2411906"/>
              <a:gd name="connsiteX8" fmla="*/ 0 w 2953604"/>
              <a:gd name="connsiteY8" fmla="*/ 2411906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379413 h 2411906"/>
              <a:gd name="connsiteX4" fmla="*/ 2629754 w 2953604"/>
              <a:gd name="connsiteY4" fmla="*/ 0 h 2411906"/>
              <a:gd name="connsiteX5" fmla="*/ 2953604 w 2953604"/>
              <a:gd name="connsiteY5" fmla="*/ 0 h 2411906"/>
              <a:gd name="connsiteX6" fmla="*/ 2953604 w 2953604"/>
              <a:gd name="connsiteY6" fmla="*/ 2411906 h 2411906"/>
              <a:gd name="connsiteX7" fmla="*/ 0 w 2953604"/>
              <a:gd name="connsiteY7" fmla="*/ 2411906 h 2411906"/>
              <a:gd name="connsiteX8" fmla="*/ 782995 w 2953604"/>
              <a:gd name="connsiteY8" fmla="*/ 0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0 h 2411906"/>
              <a:gd name="connsiteX4" fmla="*/ 2953604 w 2953604"/>
              <a:gd name="connsiteY4" fmla="*/ 0 h 2411906"/>
              <a:gd name="connsiteX5" fmla="*/ 2953604 w 2953604"/>
              <a:gd name="connsiteY5" fmla="*/ 2411906 h 2411906"/>
              <a:gd name="connsiteX6" fmla="*/ 0 w 2953604"/>
              <a:gd name="connsiteY6" fmla="*/ 2411906 h 2411906"/>
              <a:gd name="connsiteX7" fmla="*/ 782995 w 2953604"/>
              <a:gd name="connsiteY7" fmla="*/ 0 h 2411906"/>
              <a:gd name="connsiteX0" fmla="*/ 782995 w 2953604"/>
              <a:gd name="connsiteY0" fmla="*/ 0 h 2411906"/>
              <a:gd name="connsiteX1" fmla="*/ 1619001 w 2953604"/>
              <a:gd name="connsiteY1" fmla="*/ 0 h 2411906"/>
              <a:gd name="connsiteX2" fmla="*/ 1874104 w 2953604"/>
              <a:gd name="connsiteY2" fmla="*/ 0 h 2411906"/>
              <a:gd name="connsiteX3" fmla="*/ 2953604 w 2953604"/>
              <a:gd name="connsiteY3" fmla="*/ 0 h 2411906"/>
              <a:gd name="connsiteX4" fmla="*/ 2953604 w 2953604"/>
              <a:gd name="connsiteY4" fmla="*/ 2411906 h 2411906"/>
              <a:gd name="connsiteX5" fmla="*/ 0 w 2953604"/>
              <a:gd name="connsiteY5" fmla="*/ 2411906 h 2411906"/>
              <a:gd name="connsiteX6" fmla="*/ 782995 w 2953604"/>
              <a:gd name="connsiteY6" fmla="*/ 0 h 2411906"/>
              <a:gd name="connsiteX0" fmla="*/ 782995 w 2953604"/>
              <a:gd name="connsiteY0" fmla="*/ 0 h 2411906"/>
              <a:gd name="connsiteX1" fmla="*/ 1619001 w 2953604"/>
              <a:gd name="connsiteY1" fmla="*/ 0 h 2411906"/>
              <a:gd name="connsiteX2" fmla="*/ 2953604 w 2953604"/>
              <a:gd name="connsiteY2" fmla="*/ 0 h 2411906"/>
              <a:gd name="connsiteX3" fmla="*/ 2953604 w 2953604"/>
              <a:gd name="connsiteY3" fmla="*/ 2411906 h 2411906"/>
              <a:gd name="connsiteX4" fmla="*/ 0 w 2953604"/>
              <a:gd name="connsiteY4" fmla="*/ 2411906 h 2411906"/>
              <a:gd name="connsiteX5" fmla="*/ 782995 w 2953604"/>
              <a:gd name="connsiteY5" fmla="*/ 0 h 2411906"/>
              <a:gd name="connsiteX0" fmla="*/ 782995 w 2953604"/>
              <a:gd name="connsiteY0" fmla="*/ 0 h 2411906"/>
              <a:gd name="connsiteX1" fmla="*/ 2953604 w 2953604"/>
              <a:gd name="connsiteY1" fmla="*/ 0 h 2411906"/>
              <a:gd name="connsiteX2" fmla="*/ 2953604 w 2953604"/>
              <a:gd name="connsiteY2" fmla="*/ 2411906 h 2411906"/>
              <a:gd name="connsiteX3" fmla="*/ 0 w 2953604"/>
              <a:gd name="connsiteY3" fmla="*/ 2411906 h 2411906"/>
              <a:gd name="connsiteX4" fmla="*/ 782995 w 2953604"/>
              <a:gd name="connsiteY4" fmla="*/ 0 h 2411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3604" h="2411906">
                <a:moveTo>
                  <a:pt x="782995" y="0"/>
                </a:moveTo>
                <a:lnTo>
                  <a:pt x="2953604" y="0"/>
                </a:lnTo>
                <a:lnTo>
                  <a:pt x="2953604" y="2411906"/>
                </a:lnTo>
                <a:lnTo>
                  <a:pt x="0" y="2411906"/>
                </a:lnTo>
                <a:lnTo>
                  <a:pt x="782995" y="0"/>
                </a:lnTo>
                <a:close/>
              </a:path>
            </a:pathLst>
          </a:custGeom>
          <a:solidFill>
            <a:schemeClr val="bg2"/>
          </a:solidFill>
        </p:spPr>
        <p:txBody>
          <a:bodyPr wrap="square">
            <a:noAutofit/>
          </a:bodyPr>
          <a:lstStyle/>
          <a:p>
            <a:endParaRPr lang="en-GB" dirty="0"/>
          </a:p>
        </p:txBody>
      </p:sp>
      <p:sp>
        <p:nvSpPr>
          <p:cNvPr id="32" name="Picture Placeholder 101">
            <a:extLst>
              <a:ext uri="{FF2B5EF4-FFF2-40B4-BE49-F238E27FC236}">
                <a16:creationId xmlns:a16="http://schemas.microsoft.com/office/drawing/2014/main" id="{F46BC293-EC72-4458-98AA-7535955F8C0A}"/>
              </a:ext>
            </a:extLst>
          </p:cNvPr>
          <p:cNvSpPr>
            <a:spLocks noGrp="1"/>
          </p:cNvSpPr>
          <p:nvPr>
            <p:ph type="pic" sz="quarter" idx="24"/>
          </p:nvPr>
        </p:nvSpPr>
        <p:spPr>
          <a:xfrm>
            <a:off x="1813745" y="1341480"/>
            <a:ext cx="2243620" cy="1729442"/>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wrap="square">
            <a:noAutofit/>
          </a:bodyPr>
          <a:lstStyle/>
          <a:p>
            <a:endParaRPr lang="en-GB"/>
          </a:p>
        </p:txBody>
      </p:sp>
    </p:spTree>
    <p:extLst>
      <p:ext uri="{BB962C8B-B14F-4D97-AF65-F5344CB8AC3E}">
        <p14:creationId xmlns:p14="http://schemas.microsoft.com/office/powerpoint/2010/main" val="2792123387"/>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946489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
        <p:nvSpPr>
          <p:cNvPr id="16" name="Picture Placeholder 47">
            <a:extLst>
              <a:ext uri="{FF2B5EF4-FFF2-40B4-BE49-F238E27FC236}">
                <a16:creationId xmlns:a16="http://schemas.microsoft.com/office/drawing/2014/main" id="{B7C069BB-8C40-4EB3-AF6F-A6CBE866F082}"/>
              </a:ext>
            </a:extLst>
          </p:cNvPr>
          <p:cNvSpPr>
            <a:spLocks noGrp="1"/>
          </p:cNvSpPr>
          <p:nvPr>
            <p:ph type="pic" sz="quarter" idx="23"/>
          </p:nvPr>
        </p:nvSpPr>
        <p:spPr>
          <a:xfrm>
            <a:off x="6337255" y="1343177"/>
            <a:ext cx="2789874" cy="1438814"/>
          </a:xfrm>
          <a:custGeom>
            <a:avLst/>
            <a:gdLst>
              <a:gd name="connsiteX0" fmla="*/ 731304 w 2725604"/>
              <a:gd name="connsiteY0" fmla="*/ 0 h 1405668"/>
              <a:gd name="connsiteX1" fmla="*/ 2725604 w 2725604"/>
              <a:gd name="connsiteY1" fmla="*/ 0 h 1405668"/>
              <a:gd name="connsiteX2" fmla="*/ 2725604 w 2725604"/>
              <a:gd name="connsiteY2" fmla="*/ 1405668 h 1405668"/>
              <a:gd name="connsiteX3" fmla="*/ 0 w 2725604"/>
              <a:gd name="connsiteY3" fmla="*/ 1405668 h 1405668"/>
              <a:gd name="connsiteX4" fmla="*/ 2 w 2725604"/>
              <a:gd name="connsiteY4" fmla="*/ 1405665 h 1405668"/>
              <a:gd name="connsiteX5" fmla="*/ 256593 w 2725604"/>
              <a:gd name="connsiteY5" fmla="*/ 1405665 h 140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5604" h="1405668">
                <a:moveTo>
                  <a:pt x="731304" y="0"/>
                </a:moveTo>
                <a:lnTo>
                  <a:pt x="2725604" y="0"/>
                </a:lnTo>
                <a:lnTo>
                  <a:pt x="2725604" y="1405668"/>
                </a:lnTo>
                <a:lnTo>
                  <a:pt x="0" y="1405668"/>
                </a:lnTo>
                <a:lnTo>
                  <a:pt x="2" y="1405665"/>
                </a:lnTo>
                <a:lnTo>
                  <a:pt x="256593" y="1405665"/>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17" name="Picture Placeholder 48">
            <a:extLst>
              <a:ext uri="{FF2B5EF4-FFF2-40B4-BE49-F238E27FC236}">
                <a16:creationId xmlns:a16="http://schemas.microsoft.com/office/drawing/2014/main" id="{17CD2B6D-A8EF-496A-9D70-6A237EED1180}"/>
              </a:ext>
            </a:extLst>
          </p:cNvPr>
          <p:cNvSpPr>
            <a:spLocks noGrp="1"/>
          </p:cNvSpPr>
          <p:nvPr>
            <p:ph type="pic" sz="quarter" idx="25"/>
          </p:nvPr>
        </p:nvSpPr>
        <p:spPr>
          <a:xfrm>
            <a:off x="4429928" y="1343175"/>
            <a:ext cx="2624126" cy="1438813"/>
          </a:xfrm>
          <a:custGeom>
            <a:avLst/>
            <a:gdLst>
              <a:gd name="connsiteX0" fmla="*/ 463314 w 2502050"/>
              <a:gd name="connsiteY0" fmla="*/ 0 h 1371878"/>
              <a:gd name="connsiteX1" fmla="*/ 2502050 w 2502050"/>
              <a:gd name="connsiteY1" fmla="*/ 0 h 1371878"/>
              <a:gd name="connsiteX2" fmla="*/ 2038750 w 2502050"/>
              <a:gd name="connsiteY2" fmla="*/ 1371878 h 1371878"/>
              <a:gd name="connsiteX3" fmla="*/ 0 w 2502050"/>
              <a:gd name="connsiteY3" fmla="*/ 1371878 h 1371878"/>
            </a:gdLst>
            <a:ahLst/>
            <a:cxnLst>
              <a:cxn ang="0">
                <a:pos x="connsiteX0" y="connsiteY0"/>
              </a:cxn>
              <a:cxn ang="0">
                <a:pos x="connsiteX1" y="connsiteY1"/>
              </a:cxn>
              <a:cxn ang="0">
                <a:pos x="connsiteX2" y="connsiteY2"/>
              </a:cxn>
              <a:cxn ang="0">
                <a:pos x="connsiteX3" y="connsiteY3"/>
              </a:cxn>
            </a:cxnLst>
            <a:rect l="l" t="t" r="r" b="b"/>
            <a:pathLst>
              <a:path w="2502050" h="1371878">
                <a:moveTo>
                  <a:pt x="463314" y="0"/>
                </a:moveTo>
                <a:lnTo>
                  <a:pt x="2502050" y="0"/>
                </a:lnTo>
                <a:lnTo>
                  <a:pt x="2038750" y="1371878"/>
                </a:lnTo>
                <a:lnTo>
                  <a:pt x="0" y="1371878"/>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18" name="Picture Placeholder 52">
            <a:extLst>
              <a:ext uri="{FF2B5EF4-FFF2-40B4-BE49-F238E27FC236}">
                <a16:creationId xmlns:a16="http://schemas.microsoft.com/office/drawing/2014/main" id="{96F2EC9E-D21C-4296-92E6-3E298E262ABD}"/>
              </a:ext>
            </a:extLst>
          </p:cNvPr>
          <p:cNvSpPr>
            <a:spLocks noGrp="1"/>
          </p:cNvSpPr>
          <p:nvPr>
            <p:ph type="pic" sz="quarter" idx="20"/>
          </p:nvPr>
        </p:nvSpPr>
        <p:spPr>
          <a:xfrm>
            <a:off x="-5199" y="1343176"/>
            <a:ext cx="2711415" cy="1439260"/>
          </a:xfrm>
          <a:custGeom>
            <a:avLst/>
            <a:gdLst>
              <a:gd name="connsiteX0" fmla="*/ 0 w 2648953"/>
              <a:gd name="connsiteY0" fmla="*/ 0 h 1406104"/>
              <a:gd name="connsiteX1" fmla="*/ 2648953 w 2648953"/>
              <a:gd name="connsiteY1" fmla="*/ 0 h 1406104"/>
              <a:gd name="connsiteX2" fmla="*/ 2174228 w 2648953"/>
              <a:gd name="connsiteY2" fmla="*/ 1405666 h 1406104"/>
              <a:gd name="connsiteX3" fmla="*/ 2281781 w 2648953"/>
              <a:gd name="connsiteY3" fmla="*/ 1405666 h 1406104"/>
              <a:gd name="connsiteX4" fmla="*/ 2281632 w 2648953"/>
              <a:gd name="connsiteY4" fmla="*/ 1406104 h 1406104"/>
              <a:gd name="connsiteX5" fmla="*/ 0 w 2648953"/>
              <a:gd name="connsiteY5" fmla="*/ 1405669 h 140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8953" h="1406104">
                <a:moveTo>
                  <a:pt x="0" y="0"/>
                </a:moveTo>
                <a:lnTo>
                  <a:pt x="2648953" y="0"/>
                </a:lnTo>
                <a:lnTo>
                  <a:pt x="2174228" y="1405666"/>
                </a:lnTo>
                <a:lnTo>
                  <a:pt x="2281781" y="1405666"/>
                </a:lnTo>
                <a:lnTo>
                  <a:pt x="2281632" y="1406104"/>
                </a:lnTo>
                <a:lnTo>
                  <a:pt x="0" y="1405669"/>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19" name="Picture Placeholder 53">
            <a:extLst>
              <a:ext uri="{FF2B5EF4-FFF2-40B4-BE49-F238E27FC236}">
                <a16:creationId xmlns:a16="http://schemas.microsoft.com/office/drawing/2014/main" id="{E2C9FA42-FC6C-4D87-B339-8218568265DE}"/>
              </a:ext>
            </a:extLst>
          </p:cNvPr>
          <p:cNvSpPr>
            <a:spLocks noGrp="1"/>
          </p:cNvSpPr>
          <p:nvPr>
            <p:ph type="pic" sz="quarter" idx="24"/>
          </p:nvPr>
        </p:nvSpPr>
        <p:spPr>
          <a:xfrm>
            <a:off x="2256936" y="1343175"/>
            <a:ext cx="2624126" cy="1438813"/>
          </a:xfrm>
          <a:custGeom>
            <a:avLst/>
            <a:gdLst>
              <a:gd name="connsiteX0" fmla="*/ 463314 w 2502050"/>
              <a:gd name="connsiteY0" fmla="*/ 0 h 1371878"/>
              <a:gd name="connsiteX1" fmla="*/ 2502050 w 2502050"/>
              <a:gd name="connsiteY1" fmla="*/ 0 h 1371878"/>
              <a:gd name="connsiteX2" fmla="*/ 2038750 w 2502050"/>
              <a:gd name="connsiteY2" fmla="*/ 1371878 h 1371878"/>
              <a:gd name="connsiteX3" fmla="*/ 0 w 2502050"/>
              <a:gd name="connsiteY3" fmla="*/ 1371878 h 1371878"/>
            </a:gdLst>
            <a:ahLst/>
            <a:cxnLst>
              <a:cxn ang="0">
                <a:pos x="connsiteX0" y="connsiteY0"/>
              </a:cxn>
              <a:cxn ang="0">
                <a:pos x="connsiteX1" y="connsiteY1"/>
              </a:cxn>
              <a:cxn ang="0">
                <a:pos x="connsiteX2" y="connsiteY2"/>
              </a:cxn>
              <a:cxn ang="0">
                <a:pos x="connsiteX3" y="connsiteY3"/>
              </a:cxn>
            </a:cxnLst>
            <a:rect l="l" t="t" r="r" b="b"/>
            <a:pathLst>
              <a:path w="2502050" h="1371878">
                <a:moveTo>
                  <a:pt x="463314" y="0"/>
                </a:moveTo>
                <a:lnTo>
                  <a:pt x="2502050" y="0"/>
                </a:lnTo>
                <a:lnTo>
                  <a:pt x="2038750" y="1371878"/>
                </a:lnTo>
                <a:lnTo>
                  <a:pt x="0" y="1371878"/>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20" name="Picture Placeholder 54">
            <a:extLst>
              <a:ext uri="{FF2B5EF4-FFF2-40B4-BE49-F238E27FC236}">
                <a16:creationId xmlns:a16="http://schemas.microsoft.com/office/drawing/2014/main" id="{3A7EB6AE-31D8-4EB3-840D-51B58263AA2D}"/>
              </a:ext>
            </a:extLst>
          </p:cNvPr>
          <p:cNvSpPr>
            <a:spLocks noGrp="1"/>
          </p:cNvSpPr>
          <p:nvPr>
            <p:ph type="pic" sz="quarter" idx="26"/>
          </p:nvPr>
        </p:nvSpPr>
        <p:spPr>
          <a:xfrm>
            <a:off x="6337255" y="3226382"/>
            <a:ext cx="2789874" cy="1438814"/>
          </a:xfrm>
          <a:custGeom>
            <a:avLst/>
            <a:gdLst>
              <a:gd name="connsiteX0" fmla="*/ 731304 w 2725604"/>
              <a:gd name="connsiteY0" fmla="*/ 0 h 1405668"/>
              <a:gd name="connsiteX1" fmla="*/ 2725604 w 2725604"/>
              <a:gd name="connsiteY1" fmla="*/ 0 h 1405668"/>
              <a:gd name="connsiteX2" fmla="*/ 2725604 w 2725604"/>
              <a:gd name="connsiteY2" fmla="*/ 1405668 h 1405668"/>
              <a:gd name="connsiteX3" fmla="*/ 0 w 2725604"/>
              <a:gd name="connsiteY3" fmla="*/ 1405668 h 1405668"/>
              <a:gd name="connsiteX4" fmla="*/ 2 w 2725604"/>
              <a:gd name="connsiteY4" fmla="*/ 1405665 h 1405668"/>
              <a:gd name="connsiteX5" fmla="*/ 256593 w 2725604"/>
              <a:gd name="connsiteY5" fmla="*/ 1405665 h 140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5604" h="1405668">
                <a:moveTo>
                  <a:pt x="731304" y="0"/>
                </a:moveTo>
                <a:lnTo>
                  <a:pt x="2725604" y="0"/>
                </a:lnTo>
                <a:lnTo>
                  <a:pt x="2725604" y="1405668"/>
                </a:lnTo>
                <a:lnTo>
                  <a:pt x="0" y="1405668"/>
                </a:lnTo>
                <a:lnTo>
                  <a:pt x="2" y="1405665"/>
                </a:lnTo>
                <a:lnTo>
                  <a:pt x="256593" y="1405665"/>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21" name="Picture Placeholder 55">
            <a:extLst>
              <a:ext uri="{FF2B5EF4-FFF2-40B4-BE49-F238E27FC236}">
                <a16:creationId xmlns:a16="http://schemas.microsoft.com/office/drawing/2014/main" id="{FA6B3E14-87B2-4B7E-AB66-37FF46B73EEB}"/>
              </a:ext>
            </a:extLst>
          </p:cNvPr>
          <p:cNvSpPr>
            <a:spLocks noGrp="1"/>
          </p:cNvSpPr>
          <p:nvPr>
            <p:ph type="pic" sz="quarter" idx="27"/>
          </p:nvPr>
        </p:nvSpPr>
        <p:spPr>
          <a:xfrm>
            <a:off x="4429928" y="3226383"/>
            <a:ext cx="2624126" cy="1438813"/>
          </a:xfrm>
          <a:custGeom>
            <a:avLst/>
            <a:gdLst>
              <a:gd name="connsiteX0" fmla="*/ 463314 w 2502050"/>
              <a:gd name="connsiteY0" fmla="*/ 0 h 1371878"/>
              <a:gd name="connsiteX1" fmla="*/ 2502050 w 2502050"/>
              <a:gd name="connsiteY1" fmla="*/ 0 h 1371878"/>
              <a:gd name="connsiteX2" fmla="*/ 2038750 w 2502050"/>
              <a:gd name="connsiteY2" fmla="*/ 1371878 h 1371878"/>
              <a:gd name="connsiteX3" fmla="*/ 0 w 2502050"/>
              <a:gd name="connsiteY3" fmla="*/ 1371878 h 1371878"/>
            </a:gdLst>
            <a:ahLst/>
            <a:cxnLst>
              <a:cxn ang="0">
                <a:pos x="connsiteX0" y="connsiteY0"/>
              </a:cxn>
              <a:cxn ang="0">
                <a:pos x="connsiteX1" y="connsiteY1"/>
              </a:cxn>
              <a:cxn ang="0">
                <a:pos x="connsiteX2" y="connsiteY2"/>
              </a:cxn>
              <a:cxn ang="0">
                <a:pos x="connsiteX3" y="connsiteY3"/>
              </a:cxn>
            </a:cxnLst>
            <a:rect l="l" t="t" r="r" b="b"/>
            <a:pathLst>
              <a:path w="2502050" h="1371878">
                <a:moveTo>
                  <a:pt x="463314" y="0"/>
                </a:moveTo>
                <a:lnTo>
                  <a:pt x="2502050" y="0"/>
                </a:lnTo>
                <a:lnTo>
                  <a:pt x="2038750" y="1371878"/>
                </a:lnTo>
                <a:lnTo>
                  <a:pt x="0" y="1371878"/>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27" name="Picture Placeholder 56">
            <a:extLst>
              <a:ext uri="{FF2B5EF4-FFF2-40B4-BE49-F238E27FC236}">
                <a16:creationId xmlns:a16="http://schemas.microsoft.com/office/drawing/2014/main" id="{0AF00E18-7DF2-4131-ACF2-C0835192F742}"/>
              </a:ext>
            </a:extLst>
          </p:cNvPr>
          <p:cNvSpPr>
            <a:spLocks noGrp="1"/>
          </p:cNvSpPr>
          <p:nvPr>
            <p:ph type="pic" sz="quarter" idx="28"/>
          </p:nvPr>
        </p:nvSpPr>
        <p:spPr>
          <a:xfrm>
            <a:off x="-5199" y="3226159"/>
            <a:ext cx="2711415" cy="1439260"/>
          </a:xfrm>
          <a:custGeom>
            <a:avLst/>
            <a:gdLst>
              <a:gd name="connsiteX0" fmla="*/ 0 w 2648953"/>
              <a:gd name="connsiteY0" fmla="*/ 0 h 1406104"/>
              <a:gd name="connsiteX1" fmla="*/ 2648953 w 2648953"/>
              <a:gd name="connsiteY1" fmla="*/ 0 h 1406104"/>
              <a:gd name="connsiteX2" fmla="*/ 2174228 w 2648953"/>
              <a:gd name="connsiteY2" fmla="*/ 1405666 h 1406104"/>
              <a:gd name="connsiteX3" fmla="*/ 2281781 w 2648953"/>
              <a:gd name="connsiteY3" fmla="*/ 1405666 h 1406104"/>
              <a:gd name="connsiteX4" fmla="*/ 2281632 w 2648953"/>
              <a:gd name="connsiteY4" fmla="*/ 1406104 h 1406104"/>
              <a:gd name="connsiteX5" fmla="*/ 0 w 2648953"/>
              <a:gd name="connsiteY5" fmla="*/ 1405669 h 140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8953" h="1406104">
                <a:moveTo>
                  <a:pt x="0" y="0"/>
                </a:moveTo>
                <a:lnTo>
                  <a:pt x="2648953" y="0"/>
                </a:lnTo>
                <a:lnTo>
                  <a:pt x="2174228" y="1405666"/>
                </a:lnTo>
                <a:lnTo>
                  <a:pt x="2281781" y="1405666"/>
                </a:lnTo>
                <a:lnTo>
                  <a:pt x="2281632" y="1406104"/>
                </a:lnTo>
                <a:lnTo>
                  <a:pt x="0" y="1405669"/>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29" name="Picture Placeholder 57">
            <a:extLst>
              <a:ext uri="{FF2B5EF4-FFF2-40B4-BE49-F238E27FC236}">
                <a16:creationId xmlns:a16="http://schemas.microsoft.com/office/drawing/2014/main" id="{7F3DA735-57C6-4590-8A67-6B4693D693E5}"/>
              </a:ext>
            </a:extLst>
          </p:cNvPr>
          <p:cNvSpPr>
            <a:spLocks noGrp="1"/>
          </p:cNvSpPr>
          <p:nvPr>
            <p:ph type="pic" sz="quarter" idx="29"/>
          </p:nvPr>
        </p:nvSpPr>
        <p:spPr>
          <a:xfrm>
            <a:off x="2256936" y="3226383"/>
            <a:ext cx="2624126" cy="1438813"/>
          </a:xfrm>
          <a:custGeom>
            <a:avLst/>
            <a:gdLst>
              <a:gd name="connsiteX0" fmla="*/ 463314 w 2502050"/>
              <a:gd name="connsiteY0" fmla="*/ 0 h 1371878"/>
              <a:gd name="connsiteX1" fmla="*/ 2502050 w 2502050"/>
              <a:gd name="connsiteY1" fmla="*/ 0 h 1371878"/>
              <a:gd name="connsiteX2" fmla="*/ 2038750 w 2502050"/>
              <a:gd name="connsiteY2" fmla="*/ 1371878 h 1371878"/>
              <a:gd name="connsiteX3" fmla="*/ 0 w 2502050"/>
              <a:gd name="connsiteY3" fmla="*/ 1371878 h 1371878"/>
            </a:gdLst>
            <a:ahLst/>
            <a:cxnLst>
              <a:cxn ang="0">
                <a:pos x="connsiteX0" y="connsiteY0"/>
              </a:cxn>
              <a:cxn ang="0">
                <a:pos x="connsiteX1" y="connsiteY1"/>
              </a:cxn>
              <a:cxn ang="0">
                <a:pos x="connsiteX2" y="connsiteY2"/>
              </a:cxn>
              <a:cxn ang="0">
                <a:pos x="connsiteX3" y="connsiteY3"/>
              </a:cxn>
            </a:cxnLst>
            <a:rect l="l" t="t" r="r" b="b"/>
            <a:pathLst>
              <a:path w="2502050" h="1371878">
                <a:moveTo>
                  <a:pt x="463314" y="0"/>
                </a:moveTo>
                <a:lnTo>
                  <a:pt x="2502050" y="0"/>
                </a:lnTo>
                <a:lnTo>
                  <a:pt x="2038750" y="1371878"/>
                </a:lnTo>
                <a:lnTo>
                  <a:pt x="0" y="1371878"/>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Tree>
    <p:extLst>
      <p:ext uri="{BB962C8B-B14F-4D97-AF65-F5344CB8AC3E}">
        <p14:creationId xmlns:p14="http://schemas.microsoft.com/office/powerpoint/2010/main" val="4067837618"/>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full-page">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C67C0235-AEFE-43DF-8020-8D3F5DAF095C}"/>
              </a:ext>
            </a:extLst>
          </p:cNvPr>
          <p:cNvSpPr>
            <a:spLocks noGrp="1"/>
          </p:cNvSpPr>
          <p:nvPr>
            <p:ph type="pic" sz="quarter" idx="10" hasCustomPrompt="1"/>
          </p:nvPr>
        </p:nvSpPr>
        <p:spPr>
          <a:xfrm>
            <a:off x="0" y="0"/>
            <a:ext cx="9144000" cy="5143500"/>
          </a:xfrm>
          <a:custGeom>
            <a:avLst/>
            <a:gdLst>
              <a:gd name="connsiteX0" fmla="*/ 0 w 9144000"/>
              <a:gd name="connsiteY0" fmla="*/ 0 h 5143500"/>
              <a:gd name="connsiteX1" fmla="*/ 8062004 w 9144000"/>
              <a:gd name="connsiteY1" fmla="*/ 0 h 5143500"/>
              <a:gd name="connsiteX2" fmla="*/ 8062004 w 9144000"/>
              <a:gd name="connsiteY2" fmla="*/ 381600 h 5143500"/>
              <a:gd name="connsiteX3" fmla="*/ 8818004 w 9144000"/>
              <a:gd name="connsiteY3" fmla="*/ 381600 h 5143500"/>
              <a:gd name="connsiteX4" fmla="*/ 8818004 w 9144000"/>
              <a:gd name="connsiteY4" fmla="*/ 0 h 5143500"/>
              <a:gd name="connsiteX5" fmla="*/ 9144000 w 9144000"/>
              <a:gd name="connsiteY5" fmla="*/ 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8062004" y="0"/>
                </a:lnTo>
                <a:lnTo>
                  <a:pt x="8062004" y="381600"/>
                </a:lnTo>
                <a:lnTo>
                  <a:pt x="8818004" y="381600"/>
                </a:lnTo>
                <a:lnTo>
                  <a:pt x="8818004" y="0"/>
                </a:lnTo>
                <a:lnTo>
                  <a:pt x="9144000" y="0"/>
                </a:lnTo>
                <a:lnTo>
                  <a:pt x="9144000" y="5143500"/>
                </a:lnTo>
                <a:lnTo>
                  <a:pt x="0" y="5143500"/>
                </a:lnTo>
                <a:close/>
              </a:path>
            </a:pathLst>
          </a:custGeom>
        </p:spPr>
        <p:txBody>
          <a:bodyPr wrap="square" tIns="198000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icon to add picture</a:t>
            </a:r>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2" name="Fußzeilenplatzhalter 1">
            <a:extLst>
              <a:ext uri="{FF2B5EF4-FFF2-40B4-BE49-F238E27FC236}">
                <a16:creationId xmlns:a16="http://schemas.microsoft.com/office/drawing/2014/main" id="{F7DD0858-E20A-45CF-8B1E-274BC3BFF9CE}"/>
              </a:ext>
            </a:extLst>
          </p:cNvPr>
          <p:cNvSpPr>
            <a:spLocks noGrp="1"/>
          </p:cNvSpPr>
          <p:nvPr>
            <p:ph type="ftr" sz="quarter" idx="11"/>
          </p:nvPr>
        </p:nvSpPr>
        <p:spPr/>
        <p:txBody>
          <a:bodyPr/>
          <a:lstStyle>
            <a:lvl1pPr>
              <a:defRPr>
                <a:solidFill>
                  <a:schemeClr val="bg1"/>
                </a:solidFill>
              </a:defRPr>
            </a:lvl1pPr>
          </a:lstStyle>
          <a:p>
            <a:r>
              <a:rPr lang="en-GB"/>
              <a:t>#AllAboutSports</a:t>
            </a:r>
            <a:endParaRPr lang="en-GB" dirty="0"/>
          </a:p>
        </p:txBody>
      </p:sp>
    </p:spTree>
    <p:extLst>
      <p:ext uri="{BB962C8B-B14F-4D97-AF65-F5344CB8AC3E}">
        <p14:creationId xmlns:p14="http://schemas.microsoft.com/office/powerpoint/2010/main" val="23499981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full-page">
    <p:spTree>
      <p:nvGrpSpPr>
        <p:cNvPr id="1" name=""/>
        <p:cNvGrpSpPr/>
        <p:nvPr/>
      </p:nvGrpSpPr>
      <p:grpSpPr>
        <a:xfrm>
          <a:off x="0" y="0"/>
          <a:ext cx="0" cy="0"/>
          <a:chOff x="0" y="0"/>
          <a:chExt cx="0" cy="0"/>
        </a:xfrm>
      </p:grpSpPr>
      <p:sp>
        <p:nvSpPr>
          <p:cNvPr id="3" name="Medienplatzhalter 2">
            <a:extLst>
              <a:ext uri="{FF2B5EF4-FFF2-40B4-BE49-F238E27FC236}">
                <a16:creationId xmlns:a16="http://schemas.microsoft.com/office/drawing/2014/main" id="{D1EC13DE-15DC-41A0-8F39-D034663B2D08}"/>
              </a:ext>
            </a:extLst>
          </p:cNvPr>
          <p:cNvSpPr>
            <a:spLocks noGrp="1"/>
          </p:cNvSpPr>
          <p:nvPr>
            <p:ph type="media" sz="quarter" idx="13" hasCustomPrompt="1"/>
          </p:nvPr>
        </p:nvSpPr>
        <p:spPr>
          <a:xfrm>
            <a:off x="0" y="0"/>
            <a:ext cx="9144000" cy="5143500"/>
          </a:xfrm>
          <a:prstGeom prst="rect">
            <a:avLst/>
          </a:prstGeom>
        </p:spPr>
        <p:txBody>
          <a:bodyPr tIns="1980000"/>
          <a:lstStyle>
            <a:lvl1pPr algn="ctr">
              <a:defRPr/>
            </a:lvl1pPr>
          </a:lstStyle>
          <a:p>
            <a:r>
              <a:rPr lang="en-GB" dirty="0"/>
              <a:t>Click icon to add video</a:t>
            </a:r>
          </a:p>
        </p:txBody>
      </p:sp>
    </p:spTree>
    <p:extLst>
      <p:ext uri="{BB962C8B-B14F-4D97-AF65-F5344CB8AC3E}">
        <p14:creationId xmlns:p14="http://schemas.microsoft.com/office/powerpoint/2010/main" val="8191996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gre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Graphic 12">
            <a:extLst>
              <a:ext uri="{FF2B5EF4-FFF2-40B4-BE49-F238E27FC236}">
                <a16:creationId xmlns:a16="http://schemas.microsoft.com/office/drawing/2014/main" id="{F1309502-5B7E-4F3F-995B-2666CEC6EBC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48311" y="1528222"/>
            <a:ext cx="5281588" cy="687937"/>
          </a:xfrm>
          <a:prstGeom prst="rect">
            <a:avLst/>
          </a:prstGeom>
        </p:spPr>
      </p:pic>
      <p:sp>
        <p:nvSpPr>
          <p:cNvPr id="10" name="TextBox 9">
            <a:extLst>
              <a:ext uri="{FF2B5EF4-FFF2-40B4-BE49-F238E27FC236}">
                <a16:creationId xmlns:a16="http://schemas.microsoft.com/office/drawing/2014/main" id="{45C5A202-8515-49F7-8A5A-95E8EF6CD5B9}"/>
              </a:ext>
            </a:extLst>
          </p:cNvPr>
          <p:cNvSpPr txBox="1"/>
          <p:nvPr userDrawn="1"/>
        </p:nvSpPr>
        <p:spPr>
          <a:xfrm>
            <a:off x="431800" y="4515966"/>
            <a:ext cx="4860280" cy="360000"/>
          </a:xfrm>
          <a:prstGeom prst="rect">
            <a:avLst/>
          </a:prstGeom>
          <a:no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 AG.</a:t>
            </a:r>
          </a:p>
        </p:txBody>
      </p:sp>
      <p:sp>
        <p:nvSpPr>
          <p:cNvPr id="11" name="Textfeld 4">
            <a:extLst>
              <a:ext uri="{FF2B5EF4-FFF2-40B4-BE49-F238E27FC236}">
                <a16:creationId xmlns:a16="http://schemas.microsoft.com/office/drawing/2014/main" id="{F52751B9-3111-4824-8E9A-AC8B67D0D2A1}"/>
              </a:ext>
            </a:extLst>
          </p:cNvPr>
          <p:cNvSpPr txBox="1"/>
          <p:nvPr userDrawn="1"/>
        </p:nvSpPr>
        <p:spPr>
          <a:xfrm>
            <a:off x="431800" y="3147814"/>
            <a:ext cx="3780160" cy="488513"/>
          </a:xfrm>
          <a:prstGeom prst="rect">
            <a:avLst/>
          </a:prstGeom>
          <a:noFill/>
        </p:spPr>
        <p:txBody>
          <a:bodyPr wrap="none" lIns="0" tIns="0" rIns="0" bIns="0" rtlCol="0">
            <a:noAutofit/>
          </a:bodyPr>
          <a:lstStyle/>
          <a:p>
            <a:pPr algn="l"/>
            <a:endParaRPr lang="en-US" sz="1000" b="1" i="0" baseline="0" dirty="0">
              <a:solidFill>
                <a:schemeClr val="tx1"/>
              </a:solidFill>
              <a:latin typeface="Arial" panose="020B0604020202020204" pitchFamily="34" charset="0"/>
              <a:cs typeface="Arial" panose="020B0604020202020204" pitchFamily="34" charset="0"/>
            </a:endParaRPr>
          </a:p>
          <a:p>
            <a:pPr algn="l"/>
            <a:r>
              <a:rPr lang="en-US" sz="1000" b="1" i="0" baseline="0" dirty="0">
                <a:solidFill>
                  <a:schemeClr val="tx1"/>
                </a:solidFill>
                <a:latin typeface="Arial" panose="020B0604020202020204" pitchFamily="34" charset="0"/>
                <a:cs typeface="Arial" panose="020B0604020202020204" pitchFamily="34" charset="0"/>
              </a:rPr>
              <a:t>infront.sport</a:t>
            </a:r>
          </a:p>
          <a:p>
            <a:pPr algn="l"/>
            <a:r>
              <a:rPr lang="en-US" sz="1000" b="1" i="0" baseline="0" dirty="0">
                <a:solidFill>
                  <a:schemeClr val="tx1"/>
                </a:solidFill>
                <a:latin typeface="Arial" panose="020B0604020202020204" pitchFamily="34" charset="0"/>
                <a:cs typeface="Arial" panose="020B0604020202020204" pitchFamily="34" charset="0"/>
              </a:rPr>
              <a:t>@InfrontSports</a:t>
            </a:r>
          </a:p>
        </p:txBody>
      </p:sp>
      <p:sp>
        <p:nvSpPr>
          <p:cNvPr id="12" name="TextBox 1" descr="&lt;Firma_Name&gt;&#10;&lt;Mitarbeiter_Ersteller_Vorname&gt; &lt;Mitarbeiter_Ersteller_Name&gt;&#10;&lt;Mitarbeiter_Ersteller_Funktion&gt;, &lt;Mitarbeiter_Ersteller_Department&gt;&#10;Tel. &lt;Mitarbeiter_Ersteller_Telefon&gt;&#10;&lt;Mitarbeiter_Ersteller_Mail&gt;">
            <a:extLst>
              <a:ext uri="{FF2B5EF4-FFF2-40B4-BE49-F238E27FC236}">
                <a16:creationId xmlns:a16="http://schemas.microsoft.com/office/drawing/2014/main" id="{DCB376E4-097C-453F-A95A-EB5E5F403CC5}"/>
              </a:ext>
            </a:extLst>
          </p:cNvPr>
          <p:cNvSpPr txBox="1"/>
          <p:nvPr userDrawn="1"/>
        </p:nvSpPr>
        <p:spPr>
          <a:xfrm>
            <a:off x="431801" y="3867893"/>
            <a:ext cx="4212778" cy="506123"/>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000" b="0" i="0" baseline="0" dirty="0">
                <a:solidFill>
                  <a:schemeClr val="tx1"/>
                </a:solidFill>
                <a:latin typeface="Arial" panose="020B0604020202020204" pitchFamily="34" charset="0"/>
              </a:rPr>
              <a:t>Infront Sports &amp; Media AG
</a:t>
            </a:r>
            <a:r>
              <a:rPr lang="en-US" sz="1000" b="0" i="0" baseline="0" dirty="0">
                <a:solidFill>
                  <a:schemeClr val="tx1"/>
                </a:solidFill>
                <a:latin typeface="Arial" panose="020B0604020202020204" pitchFamily="34" charset="0"/>
                <a:cs typeface="Arial" panose="020B0604020202020204" pitchFamily="34" charset="0"/>
              </a:rPr>
              <a:t>Grafenauweg 2 </a:t>
            </a:r>
            <a:r>
              <a:rPr lang="en-US" sz="600" b="0" i="0" baseline="0" dirty="0">
                <a:solidFill>
                  <a:schemeClr val="tx1"/>
                </a:solidFill>
                <a:latin typeface="Arial" panose="020B0604020202020204" pitchFamily="34" charset="0"/>
                <a:cs typeface="Arial" panose="020B0604020202020204" pitchFamily="34" charset="0"/>
              </a:rPr>
              <a:t>⎮ </a:t>
            </a:r>
            <a:r>
              <a:rPr lang="en-US" sz="1000" b="0" i="0" baseline="0" dirty="0">
                <a:solidFill>
                  <a:schemeClr val="tx1"/>
                </a:solidFill>
                <a:latin typeface="Arial" panose="020B0604020202020204" pitchFamily="34" charset="0"/>
                <a:cs typeface="Arial" panose="020B0604020202020204" pitchFamily="34" charset="0"/>
              </a:rPr>
              <a:t>P.O. Box</a:t>
            </a:r>
            <a:br>
              <a:rPr lang="en-US" sz="1000" b="0" i="0" baseline="0" dirty="0">
                <a:solidFill>
                  <a:schemeClr val="tx1"/>
                </a:solidFill>
                <a:latin typeface="Arial" panose="020B0604020202020204" pitchFamily="34" charset="0"/>
              </a:rPr>
            </a:br>
            <a:r>
              <a:rPr lang="en-US" sz="1000" b="0" i="0" baseline="0" dirty="0">
                <a:solidFill>
                  <a:schemeClr val="tx1"/>
                </a:solidFill>
                <a:latin typeface="Arial" panose="020B0604020202020204" pitchFamily="34" charset="0"/>
              </a:rPr>
              <a:t>6302 Zug</a:t>
            </a:r>
            <a:r>
              <a:rPr lang="en-US" sz="1000" b="0" i="0" baseline="0" dirty="0">
                <a:solidFill>
                  <a:schemeClr val="tx1"/>
                </a:solidFill>
                <a:latin typeface="Arial" panose="020B0604020202020204" pitchFamily="34" charset="0"/>
                <a:cs typeface="Arial" panose="020B0604020202020204" pitchFamily="34" charset="0"/>
              </a:rPr>
              <a:t> </a:t>
            </a:r>
            <a:r>
              <a:rPr kumimoji="0" lang="en-US" sz="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lang="en-US" sz="1000" b="0" i="0" baseline="0" dirty="0">
                <a:solidFill>
                  <a:schemeClr val="tx1"/>
                </a:solidFill>
                <a:latin typeface="Arial" panose="020B0604020202020204" pitchFamily="34" charset="0"/>
              </a:rPr>
              <a:t>Switzerland
</a:t>
            </a:r>
          </a:p>
        </p:txBody>
      </p:sp>
      <p:pic>
        <p:nvPicPr>
          <p:cNvPr id="14" name="Graphic 9">
            <a:extLst>
              <a:ext uri="{FF2B5EF4-FFF2-40B4-BE49-F238E27FC236}">
                <a16:creationId xmlns:a16="http://schemas.microsoft.com/office/drawing/2014/main" id="{EEA21692-D6E1-4C38-A12B-8BE0C3709DC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2" y="0"/>
            <a:ext cx="1311768" cy="660815"/>
          </a:xfrm>
          <a:prstGeom prst="rect">
            <a:avLst/>
          </a:prstGeom>
        </p:spPr>
      </p:pic>
    </p:spTree>
    <p:extLst>
      <p:ext uri="{BB962C8B-B14F-4D97-AF65-F5344CB8AC3E}">
        <p14:creationId xmlns:p14="http://schemas.microsoft.com/office/powerpoint/2010/main" val="983457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slide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3" name="Graphic 7">
            <a:extLst>
              <a:ext uri="{FF2B5EF4-FFF2-40B4-BE49-F238E27FC236}">
                <a16:creationId xmlns:a16="http://schemas.microsoft.com/office/drawing/2014/main" id="{21324A85-F0F4-46C4-9AB0-86E075BB45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1780" y="1528222"/>
            <a:ext cx="5281588" cy="687937"/>
          </a:xfrm>
          <a:prstGeom prst="rect">
            <a:avLst/>
          </a:prstGeom>
        </p:spPr>
      </p:pic>
      <p:sp>
        <p:nvSpPr>
          <p:cNvPr id="10" name="TextBox 9">
            <a:extLst>
              <a:ext uri="{FF2B5EF4-FFF2-40B4-BE49-F238E27FC236}">
                <a16:creationId xmlns:a16="http://schemas.microsoft.com/office/drawing/2014/main" id="{45C5A202-8515-49F7-8A5A-95E8EF6CD5B9}"/>
              </a:ext>
            </a:extLst>
          </p:cNvPr>
          <p:cNvSpPr txBox="1"/>
          <p:nvPr userDrawn="1"/>
        </p:nvSpPr>
        <p:spPr>
          <a:xfrm>
            <a:off x="431800" y="4515966"/>
            <a:ext cx="4860280" cy="360000"/>
          </a:xfrm>
          <a:prstGeom prst="rect">
            <a:avLst/>
          </a:prstGeom>
          <a:no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 AG.</a:t>
            </a:r>
          </a:p>
        </p:txBody>
      </p:sp>
      <p:sp>
        <p:nvSpPr>
          <p:cNvPr id="11" name="Textfeld 4">
            <a:extLst>
              <a:ext uri="{FF2B5EF4-FFF2-40B4-BE49-F238E27FC236}">
                <a16:creationId xmlns:a16="http://schemas.microsoft.com/office/drawing/2014/main" id="{F52751B9-3111-4824-8E9A-AC8B67D0D2A1}"/>
              </a:ext>
            </a:extLst>
          </p:cNvPr>
          <p:cNvSpPr txBox="1"/>
          <p:nvPr userDrawn="1"/>
        </p:nvSpPr>
        <p:spPr>
          <a:xfrm>
            <a:off x="431800" y="3147814"/>
            <a:ext cx="3780160" cy="488513"/>
          </a:xfrm>
          <a:prstGeom prst="rect">
            <a:avLst/>
          </a:prstGeom>
          <a:noFill/>
        </p:spPr>
        <p:txBody>
          <a:bodyPr wrap="none" lIns="0" tIns="0" rIns="0" bIns="0" rtlCol="0">
            <a:noAutofit/>
          </a:bodyPr>
          <a:lstStyle/>
          <a:p>
            <a:pPr algn="l"/>
            <a:endParaRPr lang="en-US" sz="1000" b="1" i="0" baseline="0" dirty="0">
              <a:solidFill>
                <a:schemeClr val="bg1"/>
              </a:solidFill>
              <a:latin typeface="Arial" panose="020B0604020202020204" pitchFamily="34" charset="0"/>
              <a:cs typeface="Arial" panose="020B0604020202020204" pitchFamily="34" charset="0"/>
            </a:endParaRPr>
          </a:p>
          <a:p>
            <a:pPr algn="l"/>
            <a:r>
              <a:rPr lang="en-US" sz="1000" b="1" i="0" baseline="0" dirty="0">
                <a:solidFill>
                  <a:schemeClr val="bg1"/>
                </a:solidFill>
                <a:latin typeface="Arial" panose="020B0604020202020204" pitchFamily="34" charset="0"/>
                <a:cs typeface="Arial" panose="020B0604020202020204" pitchFamily="34" charset="0"/>
              </a:rPr>
              <a:t>infront.sport</a:t>
            </a:r>
          </a:p>
          <a:p>
            <a:pPr algn="l"/>
            <a:r>
              <a:rPr lang="en-US" sz="1000" b="1" i="0" baseline="0" dirty="0">
                <a:solidFill>
                  <a:schemeClr val="bg1"/>
                </a:solidFill>
                <a:latin typeface="Arial" panose="020B0604020202020204" pitchFamily="34" charset="0"/>
                <a:cs typeface="Arial" panose="020B0604020202020204" pitchFamily="34" charset="0"/>
              </a:rPr>
              <a:t>@InfrontSports</a:t>
            </a:r>
          </a:p>
        </p:txBody>
      </p:sp>
      <p:sp>
        <p:nvSpPr>
          <p:cNvPr id="12" name="TextBox 1" descr="&lt;Firma_Name&gt;&#10;&lt;Mitarbeiter_Ersteller_Vorname&gt; &lt;Mitarbeiter_Ersteller_Name&gt;&#10;&lt;Mitarbeiter_Ersteller_Funktion&gt;, &lt;Mitarbeiter_Ersteller_Department&gt;&#10;Tel. &lt;Mitarbeiter_Ersteller_Telefon&gt;&#10;&lt;Mitarbeiter_Ersteller_Mail&gt;">
            <a:extLst>
              <a:ext uri="{FF2B5EF4-FFF2-40B4-BE49-F238E27FC236}">
                <a16:creationId xmlns:a16="http://schemas.microsoft.com/office/drawing/2014/main" id="{DCB376E4-097C-453F-A95A-EB5E5F403CC5}"/>
              </a:ext>
            </a:extLst>
          </p:cNvPr>
          <p:cNvSpPr txBox="1"/>
          <p:nvPr userDrawn="1"/>
        </p:nvSpPr>
        <p:spPr>
          <a:xfrm>
            <a:off x="431801" y="3867893"/>
            <a:ext cx="4212778" cy="506123"/>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000" b="0" i="0" baseline="0" dirty="0">
                <a:solidFill>
                  <a:schemeClr val="bg1"/>
                </a:solidFill>
                <a:latin typeface="Arial" panose="020B0604020202020204" pitchFamily="34" charset="0"/>
              </a:rPr>
              <a:t>Infront Sports &amp; Media AG
</a:t>
            </a:r>
            <a:r>
              <a:rPr lang="en-US" sz="1000" b="0" i="0" baseline="0" dirty="0">
                <a:solidFill>
                  <a:schemeClr val="bg1"/>
                </a:solidFill>
                <a:latin typeface="Arial" panose="020B0604020202020204" pitchFamily="34" charset="0"/>
                <a:cs typeface="Arial" panose="020B0604020202020204" pitchFamily="34" charset="0"/>
              </a:rPr>
              <a:t>Grafenauweg 2 </a:t>
            </a:r>
            <a:r>
              <a:rPr lang="en-US" sz="600" b="0" i="0" baseline="0" dirty="0">
                <a:solidFill>
                  <a:schemeClr val="bg1"/>
                </a:solidFill>
                <a:latin typeface="Arial" panose="020B0604020202020204" pitchFamily="34" charset="0"/>
                <a:cs typeface="Arial" panose="020B0604020202020204" pitchFamily="34" charset="0"/>
              </a:rPr>
              <a:t>⎮ </a:t>
            </a:r>
            <a:r>
              <a:rPr lang="en-US" sz="1000" b="0" i="0" baseline="0" dirty="0">
                <a:solidFill>
                  <a:schemeClr val="bg1"/>
                </a:solidFill>
                <a:latin typeface="Arial" panose="020B0604020202020204" pitchFamily="34" charset="0"/>
                <a:cs typeface="Arial" panose="020B0604020202020204" pitchFamily="34" charset="0"/>
              </a:rPr>
              <a:t>P.O. Box</a:t>
            </a:r>
            <a:br>
              <a:rPr lang="en-US" sz="1000" b="0" i="0" baseline="0" dirty="0">
                <a:solidFill>
                  <a:schemeClr val="bg1"/>
                </a:solidFill>
                <a:latin typeface="Arial" panose="020B0604020202020204" pitchFamily="34" charset="0"/>
              </a:rPr>
            </a:br>
            <a:r>
              <a:rPr lang="en-US" sz="1000" b="0" i="0" baseline="0" dirty="0">
                <a:solidFill>
                  <a:schemeClr val="bg1"/>
                </a:solidFill>
                <a:latin typeface="Arial" panose="020B0604020202020204" pitchFamily="34" charset="0"/>
              </a:rPr>
              <a:t>6302 Zug</a:t>
            </a:r>
            <a:r>
              <a:rPr lang="en-US" sz="1000" b="0" i="0" baseline="0" dirty="0">
                <a:solidFill>
                  <a:schemeClr val="bg1"/>
                </a:solidFill>
                <a:latin typeface="Arial" panose="020B0604020202020204" pitchFamily="34" charset="0"/>
                <a:cs typeface="Arial" panose="020B0604020202020204" pitchFamily="34" charset="0"/>
              </a:rPr>
              <a:t> </a:t>
            </a:r>
            <a:r>
              <a:rPr kumimoji="0" lang="en-US" sz="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lang="en-US" sz="1000" b="0" i="0" baseline="0" dirty="0">
                <a:solidFill>
                  <a:schemeClr val="bg1"/>
                </a:solidFill>
                <a:latin typeface="Arial" panose="020B0604020202020204" pitchFamily="34" charset="0"/>
              </a:rPr>
              <a:t>Switzerland
</a:t>
            </a:r>
          </a:p>
        </p:txBody>
      </p:sp>
      <p:pic>
        <p:nvPicPr>
          <p:cNvPr id="14" name="Graphic 2">
            <a:extLst>
              <a:ext uri="{FF2B5EF4-FFF2-40B4-BE49-F238E27FC236}">
                <a16:creationId xmlns:a16="http://schemas.microsoft.com/office/drawing/2014/main" id="{D53622D8-EA07-45DF-8737-AB058012E30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1" y="-2"/>
            <a:ext cx="1311769" cy="660816"/>
          </a:xfrm>
          <a:prstGeom prst="rect">
            <a:avLst/>
          </a:prstGeom>
        </p:spPr>
      </p:pic>
    </p:spTree>
    <p:extLst>
      <p:ext uri="{BB962C8B-B14F-4D97-AF65-F5344CB8AC3E}">
        <p14:creationId xmlns:p14="http://schemas.microsoft.com/office/powerpoint/2010/main" val="30825525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gre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6" name="Fußzeilenplatzhalter 5">
            <a:extLst>
              <a:ext uri="{FF2B5EF4-FFF2-40B4-BE49-F238E27FC236}">
                <a16:creationId xmlns:a16="http://schemas.microsoft.com/office/drawing/2014/main" id="{1E58FF82-FFB3-4A1C-B4A0-021C82901A94}"/>
              </a:ext>
            </a:extLst>
          </p:cNvPr>
          <p:cNvSpPr>
            <a:spLocks noGrp="1"/>
          </p:cNvSpPr>
          <p:nvPr>
            <p:ph type="ftr" sz="quarter" idx="1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99753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slide sk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Graphic 12">
            <a:extLst>
              <a:ext uri="{FF2B5EF4-FFF2-40B4-BE49-F238E27FC236}">
                <a16:creationId xmlns:a16="http://schemas.microsoft.com/office/drawing/2014/main" id="{F1309502-5B7E-4F3F-995B-2666CEC6EBC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48311" y="1528222"/>
            <a:ext cx="5281588" cy="687937"/>
          </a:xfrm>
          <a:prstGeom prst="rect">
            <a:avLst/>
          </a:prstGeom>
        </p:spPr>
      </p:pic>
      <p:sp>
        <p:nvSpPr>
          <p:cNvPr id="10" name="TextBox 9">
            <a:extLst>
              <a:ext uri="{FF2B5EF4-FFF2-40B4-BE49-F238E27FC236}">
                <a16:creationId xmlns:a16="http://schemas.microsoft.com/office/drawing/2014/main" id="{45C5A202-8515-49F7-8A5A-95E8EF6CD5B9}"/>
              </a:ext>
            </a:extLst>
          </p:cNvPr>
          <p:cNvSpPr txBox="1"/>
          <p:nvPr userDrawn="1"/>
        </p:nvSpPr>
        <p:spPr>
          <a:xfrm>
            <a:off x="431800" y="4515966"/>
            <a:ext cx="4860280" cy="360000"/>
          </a:xfrm>
          <a:prstGeom prst="rect">
            <a:avLst/>
          </a:prstGeom>
          <a:no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 AG.</a:t>
            </a:r>
          </a:p>
        </p:txBody>
      </p:sp>
      <p:sp>
        <p:nvSpPr>
          <p:cNvPr id="11" name="Textfeld 4">
            <a:extLst>
              <a:ext uri="{FF2B5EF4-FFF2-40B4-BE49-F238E27FC236}">
                <a16:creationId xmlns:a16="http://schemas.microsoft.com/office/drawing/2014/main" id="{F52751B9-3111-4824-8E9A-AC8B67D0D2A1}"/>
              </a:ext>
            </a:extLst>
          </p:cNvPr>
          <p:cNvSpPr txBox="1"/>
          <p:nvPr userDrawn="1"/>
        </p:nvSpPr>
        <p:spPr>
          <a:xfrm>
            <a:off x="431800" y="3147814"/>
            <a:ext cx="3780160" cy="488513"/>
          </a:xfrm>
          <a:prstGeom prst="rect">
            <a:avLst/>
          </a:prstGeom>
          <a:noFill/>
        </p:spPr>
        <p:txBody>
          <a:bodyPr wrap="none" lIns="0" tIns="0" rIns="0" bIns="0" rtlCol="0">
            <a:noAutofit/>
          </a:bodyPr>
          <a:lstStyle/>
          <a:p>
            <a:pPr algn="l"/>
            <a:endParaRPr lang="en-US" sz="1000" b="1" i="0" baseline="0" dirty="0">
              <a:solidFill>
                <a:schemeClr val="tx1"/>
              </a:solidFill>
              <a:latin typeface="Arial" panose="020B0604020202020204" pitchFamily="34" charset="0"/>
              <a:cs typeface="Arial" panose="020B0604020202020204" pitchFamily="34" charset="0"/>
            </a:endParaRPr>
          </a:p>
          <a:p>
            <a:pPr algn="l"/>
            <a:r>
              <a:rPr lang="en-US" sz="1000" b="1" i="0" baseline="0" dirty="0">
                <a:solidFill>
                  <a:schemeClr val="tx1"/>
                </a:solidFill>
                <a:latin typeface="Arial" panose="020B0604020202020204" pitchFamily="34" charset="0"/>
                <a:cs typeface="Arial" panose="020B0604020202020204" pitchFamily="34" charset="0"/>
              </a:rPr>
              <a:t>infront.sport</a:t>
            </a:r>
          </a:p>
          <a:p>
            <a:pPr algn="l"/>
            <a:r>
              <a:rPr lang="en-US" sz="1000" b="1" i="0" baseline="0" dirty="0">
                <a:solidFill>
                  <a:schemeClr val="tx1"/>
                </a:solidFill>
                <a:latin typeface="Arial" panose="020B0604020202020204" pitchFamily="34" charset="0"/>
                <a:cs typeface="Arial" panose="020B0604020202020204" pitchFamily="34" charset="0"/>
              </a:rPr>
              <a:t>@InfrontSports</a:t>
            </a:r>
          </a:p>
        </p:txBody>
      </p:sp>
      <p:sp>
        <p:nvSpPr>
          <p:cNvPr id="12" name="TextBox 1" descr="&lt;Firma_Name&gt;&#10;&lt;Mitarbeiter_Ersteller_Vorname&gt; &lt;Mitarbeiter_Ersteller_Name&gt;&#10;&lt;Mitarbeiter_Ersteller_Funktion&gt;, &lt;Mitarbeiter_Ersteller_Department&gt;&#10;Tel. &lt;Mitarbeiter_Ersteller_Telefon&gt;&#10;&lt;Mitarbeiter_Ersteller_Mail&gt;">
            <a:extLst>
              <a:ext uri="{FF2B5EF4-FFF2-40B4-BE49-F238E27FC236}">
                <a16:creationId xmlns:a16="http://schemas.microsoft.com/office/drawing/2014/main" id="{DCB376E4-097C-453F-A95A-EB5E5F403CC5}"/>
              </a:ext>
            </a:extLst>
          </p:cNvPr>
          <p:cNvSpPr txBox="1"/>
          <p:nvPr userDrawn="1"/>
        </p:nvSpPr>
        <p:spPr>
          <a:xfrm>
            <a:off x="431801" y="3867893"/>
            <a:ext cx="4212778" cy="506123"/>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000" b="0" i="0" baseline="0" dirty="0">
                <a:solidFill>
                  <a:schemeClr val="tx1"/>
                </a:solidFill>
                <a:latin typeface="Arial" panose="020B0604020202020204" pitchFamily="34" charset="0"/>
              </a:rPr>
              <a:t>Infront Sports &amp; Media AG
</a:t>
            </a:r>
            <a:r>
              <a:rPr lang="en-US" sz="1000" b="0" i="0" baseline="0" dirty="0">
                <a:solidFill>
                  <a:schemeClr val="tx1"/>
                </a:solidFill>
                <a:latin typeface="Arial" panose="020B0604020202020204" pitchFamily="34" charset="0"/>
                <a:cs typeface="Arial" panose="020B0604020202020204" pitchFamily="34" charset="0"/>
              </a:rPr>
              <a:t>Grafenauweg 2 </a:t>
            </a:r>
            <a:r>
              <a:rPr lang="en-US" sz="600" b="0" i="0" baseline="0" dirty="0">
                <a:solidFill>
                  <a:schemeClr val="tx1"/>
                </a:solidFill>
                <a:latin typeface="Arial" panose="020B0604020202020204" pitchFamily="34" charset="0"/>
                <a:cs typeface="Arial" panose="020B0604020202020204" pitchFamily="34" charset="0"/>
              </a:rPr>
              <a:t>⎮ </a:t>
            </a:r>
            <a:r>
              <a:rPr lang="en-US" sz="1000" b="0" i="0" baseline="0" dirty="0">
                <a:solidFill>
                  <a:schemeClr val="tx1"/>
                </a:solidFill>
                <a:latin typeface="Arial" panose="020B0604020202020204" pitchFamily="34" charset="0"/>
                <a:cs typeface="Arial" panose="020B0604020202020204" pitchFamily="34" charset="0"/>
              </a:rPr>
              <a:t>P.O. Box</a:t>
            </a:r>
            <a:br>
              <a:rPr lang="en-US" sz="1000" b="0" i="0" baseline="0" dirty="0">
                <a:solidFill>
                  <a:schemeClr val="tx1"/>
                </a:solidFill>
                <a:latin typeface="Arial" panose="020B0604020202020204" pitchFamily="34" charset="0"/>
              </a:rPr>
            </a:br>
            <a:r>
              <a:rPr lang="en-US" sz="1000" b="0" i="0" baseline="0" dirty="0">
                <a:solidFill>
                  <a:schemeClr val="tx1"/>
                </a:solidFill>
                <a:latin typeface="Arial" panose="020B0604020202020204" pitchFamily="34" charset="0"/>
              </a:rPr>
              <a:t>6302 Zug</a:t>
            </a:r>
            <a:r>
              <a:rPr lang="en-US" sz="1000" b="0" i="0" baseline="0" dirty="0">
                <a:solidFill>
                  <a:schemeClr val="tx1"/>
                </a:solidFill>
                <a:latin typeface="Arial" panose="020B0604020202020204" pitchFamily="34" charset="0"/>
                <a:cs typeface="Arial" panose="020B0604020202020204" pitchFamily="34" charset="0"/>
              </a:rPr>
              <a:t> </a:t>
            </a:r>
            <a:r>
              <a:rPr kumimoji="0" lang="en-US" sz="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lang="en-US" sz="1000" b="0" i="0" baseline="0" dirty="0">
                <a:solidFill>
                  <a:schemeClr val="tx1"/>
                </a:solidFill>
                <a:latin typeface="Arial" panose="020B0604020202020204" pitchFamily="34" charset="0"/>
              </a:rPr>
              <a:t>Switzerland
</a:t>
            </a:r>
          </a:p>
        </p:txBody>
      </p:sp>
      <p:pic>
        <p:nvPicPr>
          <p:cNvPr id="14" name="Graphic 9">
            <a:extLst>
              <a:ext uri="{FF2B5EF4-FFF2-40B4-BE49-F238E27FC236}">
                <a16:creationId xmlns:a16="http://schemas.microsoft.com/office/drawing/2014/main" id="{D679F0F1-4D40-4E45-9F99-E073FB984ED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2" y="0"/>
            <a:ext cx="1311768" cy="660815"/>
          </a:xfrm>
          <a:prstGeom prst="rect">
            <a:avLst/>
          </a:prstGeom>
        </p:spPr>
      </p:pic>
    </p:spTree>
    <p:extLst>
      <p:ext uri="{BB962C8B-B14F-4D97-AF65-F5344CB8AC3E}">
        <p14:creationId xmlns:p14="http://schemas.microsoft.com/office/powerpoint/2010/main" val="5460120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5C5A202-8515-49F7-8A5A-95E8EF6CD5B9}"/>
              </a:ext>
            </a:extLst>
          </p:cNvPr>
          <p:cNvSpPr txBox="1"/>
          <p:nvPr userDrawn="1"/>
        </p:nvSpPr>
        <p:spPr>
          <a:xfrm>
            <a:off x="431800" y="4515966"/>
            <a:ext cx="4860280" cy="360000"/>
          </a:xfrm>
          <a:prstGeom prst="rect">
            <a:avLst/>
          </a:prstGeom>
          <a:no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 AG.</a:t>
            </a:r>
          </a:p>
        </p:txBody>
      </p:sp>
      <p:sp>
        <p:nvSpPr>
          <p:cNvPr id="11" name="Textfeld 4">
            <a:extLst>
              <a:ext uri="{FF2B5EF4-FFF2-40B4-BE49-F238E27FC236}">
                <a16:creationId xmlns:a16="http://schemas.microsoft.com/office/drawing/2014/main" id="{F52751B9-3111-4824-8E9A-AC8B67D0D2A1}"/>
              </a:ext>
            </a:extLst>
          </p:cNvPr>
          <p:cNvSpPr txBox="1"/>
          <p:nvPr userDrawn="1"/>
        </p:nvSpPr>
        <p:spPr>
          <a:xfrm>
            <a:off x="431800" y="3147814"/>
            <a:ext cx="3780160" cy="488513"/>
          </a:xfrm>
          <a:prstGeom prst="rect">
            <a:avLst/>
          </a:prstGeom>
          <a:noFill/>
        </p:spPr>
        <p:txBody>
          <a:bodyPr wrap="none" lIns="0" tIns="0" rIns="0" bIns="0" rtlCol="0">
            <a:noAutofit/>
          </a:bodyPr>
          <a:lstStyle/>
          <a:p>
            <a:pPr algn="l"/>
            <a:endParaRPr lang="en-US" sz="1000" b="1" i="0" baseline="0" dirty="0">
              <a:solidFill>
                <a:schemeClr val="bg1"/>
              </a:solidFill>
              <a:latin typeface="Arial" panose="020B0604020202020204" pitchFamily="34" charset="0"/>
              <a:cs typeface="Arial" panose="020B0604020202020204" pitchFamily="34" charset="0"/>
            </a:endParaRPr>
          </a:p>
          <a:p>
            <a:pPr algn="l"/>
            <a:r>
              <a:rPr lang="en-US" sz="1000" b="1" i="0" baseline="0" dirty="0">
                <a:solidFill>
                  <a:schemeClr val="bg1"/>
                </a:solidFill>
                <a:latin typeface="Arial" panose="020B0604020202020204" pitchFamily="34" charset="0"/>
                <a:cs typeface="Arial" panose="020B0604020202020204" pitchFamily="34" charset="0"/>
              </a:rPr>
              <a:t>infront.sport</a:t>
            </a:r>
          </a:p>
          <a:p>
            <a:pPr algn="l"/>
            <a:r>
              <a:rPr lang="en-US" sz="1000" b="1" i="0" baseline="0" dirty="0">
                <a:solidFill>
                  <a:schemeClr val="bg1"/>
                </a:solidFill>
                <a:latin typeface="Arial" panose="020B0604020202020204" pitchFamily="34" charset="0"/>
                <a:cs typeface="Arial" panose="020B0604020202020204" pitchFamily="34" charset="0"/>
              </a:rPr>
              <a:t>@InfrontSports</a:t>
            </a:r>
          </a:p>
        </p:txBody>
      </p:sp>
      <p:sp>
        <p:nvSpPr>
          <p:cNvPr id="12" name="TextBox 1" descr="&lt;Firma_Name&gt;&#10;&lt;Mitarbeiter_Ersteller_Vorname&gt; &lt;Mitarbeiter_Ersteller_Name&gt;&#10;&lt;Mitarbeiter_Ersteller_Funktion&gt;, &lt;Mitarbeiter_Ersteller_Department&gt;&#10;Tel. &lt;Mitarbeiter_Ersteller_Telefon&gt;&#10;&lt;Mitarbeiter_Ersteller_Mail&gt;">
            <a:extLst>
              <a:ext uri="{FF2B5EF4-FFF2-40B4-BE49-F238E27FC236}">
                <a16:creationId xmlns:a16="http://schemas.microsoft.com/office/drawing/2014/main" id="{DCB376E4-097C-453F-A95A-EB5E5F403CC5}"/>
              </a:ext>
            </a:extLst>
          </p:cNvPr>
          <p:cNvSpPr txBox="1"/>
          <p:nvPr userDrawn="1"/>
        </p:nvSpPr>
        <p:spPr>
          <a:xfrm>
            <a:off x="431801" y="3867893"/>
            <a:ext cx="4212778" cy="506123"/>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000" b="0" i="0" baseline="0" dirty="0">
                <a:solidFill>
                  <a:schemeClr val="bg1"/>
                </a:solidFill>
                <a:latin typeface="Arial" panose="020B0604020202020204" pitchFamily="34" charset="0"/>
              </a:rPr>
              <a:t>Infront Sports &amp; Media AG
</a:t>
            </a:r>
            <a:r>
              <a:rPr lang="en-US" sz="1000" b="0" i="0" baseline="0" dirty="0">
                <a:solidFill>
                  <a:schemeClr val="bg1"/>
                </a:solidFill>
                <a:latin typeface="Arial" panose="020B0604020202020204" pitchFamily="34" charset="0"/>
                <a:cs typeface="Arial" panose="020B0604020202020204" pitchFamily="34" charset="0"/>
              </a:rPr>
              <a:t>Grafenauweg 2 </a:t>
            </a:r>
            <a:r>
              <a:rPr lang="en-US" sz="600" b="0" i="0" baseline="0" dirty="0">
                <a:solidFill>
                  <a:schemeClr val="bg1"/>
                </a:solidFill>
                <a:latin typeface="Arial" panose="020B0604020202020204" pitchFamily="34" charset="0"/>
                <a:cs typeface="Arial" panose="020B0604020202020204" pitchFamily="34" charset="0"/>
              </a:rPr>
              <a:t>⎮ </a:t>
            </a:r>
            <a:r>
              <a:rPr lang="en-US" sz="1000" b="0" i="0" baseline="0" dirty="0">
                <a:solidFill>
                  <a:schemeClr val="bg1"/>
                </a:solidFill>
                <a:latin typeface="Arial" panose="020B0604020202020204" pitchFamily="34" charset="0"/>
                <a:cs typeface="Arial" panose="020B0604020202020204" pitchFamily="34" charset="0"/>
              </a:rPr>
              <a:t>P.O. Box</a:t>
            </a:r>
            <a:br>
              <a:rPr lang="en-US" sz="1000" b="0" i="0" baseline="0" dirty="0">
                <a:solidFill>
                  <a:schemeClr val="bg1"/>
                </a:solidFill>
                <a:latin typeface="Arial" panose="020B0604020202020204" pitchFamily="34" charset="0"/>
              </a:rPr>
            </a:br>
            <a:r>
              <a:rPr lang="en-US" sz="1000" b="0" i="0" baseline="0" dirty="0">
                <a:solidFill>
                  <a:schemeClr val="bg1"/>
                </a:solidFill>
                <a:latin typeface="Arial" panose="020B0604020202020204" pitchFamily="34" charset="0"/>
              </a:rPr>
              <a:t>6302 Zug</a:t>
            </a:r>
            <a:r>
              <a:rPr lang="en-US" sz="1000" b="0" i="0" baseline="0" dirty="0">
                <a:solidFill>
                  <a:schemeClr val="bg1"/>
                </a:solidFill>
                <a:latin typeface="Arial" panose="020B0604020202020204" pitchFamily="34" charset="0"/>
                <a:cs typeface="Arial" panose="020B0604020202020204" pitchFamily="34" charset="0"/>
              </a:rPr>
              <a:t> </a:t>
            </a:r>
            <a:r>
              <a:rPr kumimoji="0" lang="en-US" sz="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lang="en-US" sz="1000" b="0" i="0" baseline="0" dirty="0">
                <a:solidFill>
                  <a:schemeClr val="bg1"/>
                </a:solidFill>
                <a:latin typeface="Arial" panose="020B0604020202020204" pitchFamily="34" charset="0"/>
              </a:rPr>
              <a:t>Switzerland
</a:t>
            </a:r>
          </a:p>
        </p:txBody>
      </p:sp>
      <p:pic>
        <p:nvPicPr>
          <p:cNvPr id="9" name="Graphic 7">
            <a:extLst>
              <a:ext uri="{FF2B5EF4-FFF2-40B4-BE49-F238E27FC236}">
                <a16:creationId xmlns:a16="http://schemas.microsoft.com/office/drawing/2014/main" id="{4BB075A4-5B22-4FB4-A825-8DCE4DCC9F3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800" y="1528222"/>
            <a:ext cx="6223078" cy="1260885"/>
          </a:xfrm>
          <a:prstGeom prst="rect">
            <a:avLst/>
          </a:prstGeom>
        </p:spPr>
      </p:pic>
      <p:pic>
        <p:nvPicPr>
          <p:cNvPr id="14" name="Graphic 2">
            <a:extLst>
              <a:ext uri="{FF2B5EF4-FFF2-40B4-BE49-F238E27FC236}">
                <a16:creationId xmlns:a16="http://schemas.microsoft.com/office/drawing/2014/main" id="{37EB40DC-04A4-4FEF-AEA5-57EF182483E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1" y="-2"/>
            <a:ext cx="1311769" cy="660816"/>
          </a:xfrm>
          <a:prstGeom prst="rect">
            <a:avLst/>
          </a:prstGeom>
        </p:spPr>
      </p:pic>
    </p:spTree>
    <p:extLst>
      <p:ext uri="{BB962C8B-B14F-4D97-AF65-F5344CB8AC3E}">
        <p14:creationId xmlns:p14="http://schemas.microsoft.com/office/powerpoint/2010/main" val="29391257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 name="Fußzeilenplatzhalter 1">
            <a:extLst>
              <a:ext uri="{FF2B5EF4-FFF2-40B4-BE49-F238E27FC236}">
                <a16:creationId xmlns:a16="http://schemas.microsoft.com/office/drawing/2014/main" id="{622594E9-2443-4E66-AB49-90288AD128FD}"/>
              </a:ext>
            </a:extLst>
          </p:cNvPr>
          <p:cNvSpPr>
            <a:spLocks noGrp="1"/>
          </p:cNvSpPr>
          <p:nvPr>
            <p:ph type="ftr" sz="quarter" idx="13"/>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7665593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Divider slide go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BF7DB639-396B-448F-9100-A4317C5228BC}"/>
              </a:ext>
            </a:extLst>
          </p:cNvPr>
          <p:cNvSpPr>
            <a:spLocks noGrp="1"/>
          </p:cNvSpPr>
          <p:nvPr>
            <p:ph type="ftr" sz="quarter" idx="10"/>
          </p:nvPr>
        </p:nvSpPr>
        <p:spPr/>
        <p:txBody>
          <a:bodyPr/>
          <a:lstStyle/>
          <a:p>
            <a:r>
              <a:rPr lang="en-GB"/>
              <a:t>#AllAboutSports</a:t>
            </a:r>
            <a:endParaRPr lang="en-GB" dirty="0"/>
          </a:p>
        </p:txBody>
      </p:sp>
    </p:spTree>
    <p:extLst>
      <p:ext uri="{BB962C8B-B14F-4D97-AF65-F5344CB8AC3E}">
        <p14:creationId xmlns:p14="http://schemas.microsoft.com/office/powerpoint/2010/main" val="3642494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Divider slide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5">
            <a:extLst>
              <a:ext uri="{FF2B5EF4-FFF2-40B4-BE49-F238E27FC236}">
                <a16:creationId xmlns:a16="http://schemas.microsoft.com/office/drawing/2014/main" id="{EE28F655-1B57-4945-9784-81F2C225A10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063831" y="0"/>
            <a:ext cx="756318" cy="381002"/>
          </a:xfrm>
          <a:prstGeom prst="rect">
            <a:avLst/>
          </a:prstGeom>
        </p:spPr>
      </p:pic>
      <p:sp>
        <p:nvSpPr>
          <p:cNvPr id="4" name="Fußzeilenplatzhalter 3">
            <a:extLst>
              <a:ext uri="{FF2B5EF4-FFF2-40B4-BE49-F238E27FC236}">
                <a16:creationId xmlns:a16="http://schemas.microsoft.com/office/drawing/2014/main" id="{27C459DB-0EBD-4AB3-BB7C-71D740396379}"/>
              </a:ext>
            </a:extLst>
          </p:cNvPr>
          <p:cNvSpPr>
            <a:spLocks noGrp="1"/>
          </p:cNvSpPr>
          <p:nvPr>
            <p:ph type="ftr" sz="quarter" idx="10"/>
          </p:nvPr>
        </p:nvSpPr>
        <p:spPr/>
        <p:txBody>
          <a:bodyPr/>
          <a:lstStyle/>
          <a:p>
            <a:r>
              <a:rPr lang="en-GB"/>
              <a:t>#AllAboutSports</a:t>
            </a:r>
            <a:endParaRPr lang="en-GB" dirty="0"/>
          </a:p>
        </p:txBody>
      </p:sp>
    </p:spTree>
    <p:extLst>
      <p:ext uri="{BB962C8B-B14F-4D97-AF65-F5344CB8AC3E}">
        <p14:creationId xmlns:p14="http://schemas.microsoft.com/office/powerpoint/2010/main" val="511968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Divider slide handbal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87B8C3FC-D8C9-42C2-8756-76C78A8C6080}"/>
              </a:ext>
            </a:extLst>
          </p:cNvPr>
          <p:cNvSpPr>
            <a:spLocks noGrp="1"/>
          </p:cNvSpPr>
          <p:nvPr>
            <p:ph type="ftr" sz="quarter" idx="1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8140527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Divider slide sk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5232101" y="1982164"/>
            <a:ext cx="3443587"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5232101" y="3968247"/>
            <a:ext cx="3443587" cy="764084"/>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5232101" y="3672464"/>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1E813E30-FD77-403A-8B53-205A97B667F8}"/>
              </a:ext>
            </a:extLst>
          </p:cNvPr>
          <p:cNvSpPr>
            <a:spLocks noGrp="1"/>
          </p:cNvSpPr>
          <p:nvPr>
            <p:ph type="ftr" sz="quarter" idx="1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021828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oleObject" Target="../embeddings/oleObject2.bin"/><Relationship Id="rId5" Type="http://schemas.openxmlformats.org/officeDocument/2006/relationships/slideLayout" Target="../slideLayouts/slideLayout9.xml"/><Relationship Id="rId10" Type="http://schemas.openxmlformats.org/officeDocument/2006/relationships/tags" Target="../tags/tag5.xml"/><Relationship Id="rId4" Type="http://schemas.openxmlformats.org/officeDocument/2006/relationships/slideLayout" Target="../slideLayouts/slideLayout8.xml"/><Relationship Id="rId9"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theme" Target="../theme/theme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oleObject" Target="../embeddings/oleObject3.bin"/><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tags" Target="../tags/tag7.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tags" Target="../tags/tag6.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image" Target="../media/image1.emf"/><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6D715A-B872-4C0E-8EDE-078B913FE4B2}"/>
              </a:ext>
            </a:extLst>
          </p:cNvPr>
          <p:cNvGraphicFramePr>
            <a:graphicFrameLocks noChangeAspect="1"/>
          </p:cNvGraphicFramePr>
          <p:nvPr userDrawn="1">
            <p:custDataLst>
              <p:tags r:id="rId6"/>
            </p:custDataLst>
            <p:extLst>
              <p:ext uri="{D42A27DB-BD31-4B8C-83A1-F6EECF244321}">
                <p14:modId xmlns:p14="http://schemas.microsoft.com/office/powerpoint/2010/main" val="3078784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80" imgH="380" progId="TCLayout.ActiveDocument.1">
                  <p:embed/>
                </p:oleObj>
              </mc:Choice>
              <mc:Fallback>
                <p:oleObj name="think-cell Slide" r:id="rId8" imgW="380" imgH="380" progId="TCLayout.ActiveDocument.1">
                  <p:embed/>
                  <p:pic>
                    <p:nvPicPr>
                      <p:cNvPr id="7" name="Object 6" hidden="1">
                        <a:extLst>
                          <a:ext uri="{FF2B5EF4-FFF2-40B4-BE49-F238E27FC236}">
                            <a16:creationId xmlns:a16="http://schemas.microsoft.com/office/drawing/2014/main" id="{FE6D715A-B872-4C0E-8EDE-078B913FE4B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9B420CB-FD51-4525-B391-C25F831E3571}"/>
              </a:ext>
            </a:extLst>
          </p:cNvPr>
          <p:cNvSpPr/>
          <p:nvPr userDrawn="1">
            <p:custDataLst>
              <p:tags r:id="rId7"/>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Fußzeilenplatzhalter 2">
            <a:extLst>
              <a:ext uri="{FF2B5EF4-FFF2-40B4-BE49-F238E27FC236}">
                <a16:creationId xmlns:a16="http://schemas.microsoft.com/office/drawing/2014/main" id="{C3F6855C-A1F9-4462-A039-49DBCAE864D9}"/>
              </a:ext>
            </a:extLst>
          </p:cNvPr>
          <p:cNvSpPr>
            <a:spLocks noGrp="1"/>
          </p:cNvSpPr>
          <p:nvPr>
            <p:ph type="ftr" sz="quarter" idx="3"/>
          </p:nvPr>
        </p:nvSpPr>
        <p:spPr>
          <a:xfrm>
            <a:off x="5688463" y="119981"/>
            <a:ext cx="2232000" cy="180000"/>
          </a:xfrm>
          <a:prstGeom prst="rect">
            <a:avLst/>
          </a:prstGeom>
        </p:spPr>
        <p:txBody>
          <a:bodyPr vert="horz" lIns="0" tIns="0" rIns="0" bIns="0" rtlCol="0" anchor="ctr"/>
          <a:lstStyle>
            <a:lvl1pPr algn="r">
              <a:defRPr sz="900" b="1">
                <a:solidFill>
                  <a:schemeClr val="bg1"/>
                </a:solidFill>
              </a:defRPr>
            </a:lvl1pPr>
          </a:lstStyle>
          <a:p>
            <a:r>
              <a:rPr lang="en-GB"/>
              <a:t>#AllAboutSports</a:t>
            </a:r>
            <a:endParaRPr lang="en-GB" dirty="0"/>
          </a:p>
        </p:txBody>
      </p:sp>
      <p:sp>
        <p:nvSpPr>
          <p:cNvPr id="2" name="Titelplatzhalter 1">
            <a:extLst>
              <a:ext uri="{FF2B5EF4-FFF2-40B4-BE49-F238E27FC236}">
                <a16:creationId xmlns:a16="http://schemas.microsoft.com/office/drawing/2014/main" id="{000DB4FB-CF31-4E9D-B010-41DF27FA1B56}"/>
              </a:ext>
            </a:extLst>
          </p:cNvPr>
          <p:cNvSpPr>
            <a:spLocks noGrp="1"/>
          </p:cNvSpPr>
          <p:nvPr>
            <p:ph type="title"/>
          </p:nvPr>
        </p:nvSpPr>
        <p:spPr>
          <a:xfrm>
            <a:off x="431800" y="560004"/>
            <a:ext cx="8243888" cy="61200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6" name="Foliennummernplatzhalter 5">
            <a:extLst>
              <a:ext uri="{FF2B5EF4-FFF2-40B4-BE49-F238E27FC236}">
                <a16:creationId xmlns:a16="http://schemas.microsoft.com/office/drawing/2014/main" id="{635921D0-89FA-4BA1-9A12-665CF34AFDEA}"/>
              </a:ext>
            </a:extLst>
          </p:cNvPr>
          <p:cNvSpPr>
            <a:spLocks noGrp="1"/>
          </p:cNvSpPr>
          <p:nvPr>
            <p:ph type="sldNum" sz="quarter" idx="4"/>
          </p:nvPr>
        </p:nvSpPr>
        <p:spPr>
          <a:xfrm>
            <a:off x="7365818" y="4966290"/>
            <a:ext cx="1454331" cy="109493"/>
          </a:xfrm>
          <a:prstGeom prst="rect">
            <a:avLst/>
          </a:prstGeom>
        </p:spPr>
        <p:txBody>
          <a:bodyPr vert="horz" lIns="0" tIns="0" rIns="0" bIns="0" rtlCol="0" anchor="b" anchorCtr="0"/>
          <a:lstStyle>
            <a:lvl1pPr algn="r">
              <a:defRPr sz="600" b="1">
                <a:solidFill>
                  <a:srgbClr val="686A6E"/>
                </a:solidFill>
              </a:defRPr>
            </a:lvl1pPr>
          </a:lstStyle>
          <a:p>
            <a:fld id="{9B60B346-FC99-4236-B943-65AE761B958F}" type="slidenum">
              <a:rPr lang="de-CH" smtClean="0"/>
              <a:pPr/>
              <a:t>‹N°›</a:t>
            </a:fld>
            <a:endParaRPr lang="de-CH" dirty="0"/>
          </a:p>
        </p:txBody>
      </p:sp>
      <p:sp>
        <p:nvSpPr>
          <p:cNvPr id="4" name="Textplatzhalter 3">
            <a:extLst>
              <a:ext uri="{FF2B5EF4-FFF2-40B4-BE49-F238E27FC236}">
                <a16:creationId xmlns:a16="http://schemas.microsoft.com/office/drawing/2014/main" id="{02DBA452-769D-4BE1-8C8E-3A93D9AF5832}"/>
              </a:ext>
            </a:extLst>
          </p:cNvPr>
          <p:cNvSpPr>
            <a:spLocks noGrp="1"/>
          </p:cNvSpPr>
          <p:nvPr>
            <p:ph type="body" idx="1"/>
          </p:nvPr>
        </p:nvSpPr>
        <p:spPr>
          <a:xfrm>
            <a:off x="431800" y="1419224"/>
            <a:ext cx="8243888" cy="3313113"/>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endParaRPr lang="en-GB" dirty="0"/>
          </a:p>
        </p:txBody>
      </p:sp>
    </p:spTree>
    <p:extLst>
      <p:ext uri="{BB962C8B-B14F-4D97-AF65-F5344CB8AC3E}">
        <p14:creationId xmlns:p14="http://schemas.microsoft.com/office/powerpoint/2010/main" val="534149414"/>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Lst>
  <p:hf hdr="0" dt="0"/>
  <p:txStyles>
    <p:titleStyle>
      <a:lvl1pPr algn="l" defTabSz="685800" rtl="0" eaLnBrk="1" latinLnBrk="0" hangingPunct="1">
        <a:lnSpc>
          <a:spcPct val="100000"/>
        </a:lnSpc>
        <a:spcBef>
          <a:spcPct val="0"/>
        </a:spcBef>
        <a:buNone/>
        <a:defRPr sz="240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2pPr>
      <a:lvl3pPr marL="90488" indent="-904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3pPr>
      <a:lvl4pPr marL="268288" indent="-180975"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4pPr>
      <a:lvl5pPr marL="447675" indent="-1793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5pPr>
      <a:lvl6pPr marL="628650" indent="-180975" algn="l" defTabSz="685800" rtl="0" eaLnBrk="1" latinLnBrk="0" hangingPunct="1">
        <a:lnSpc>
          <a:spcPct val="100000"/>
        </a:lnSpc>
        <a:spcBef>
          <a:spcPts val="0"/>
        </a:spcBef>
        <a:buFont typeface="Arial" panose="020B0604020202020204" pitchFamily="34" charset="0"/>
        <a:buChar char="‒"/>
        <a:tabLst/>
        <a:defRPr sz="1000" b="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2">
          <p15:clr>
            <a:srgbClr val="F26B43"/>
          </p15:clr>
        </p15:guide>
        <p15:guide id="2" orient="horz" pos="395">
          <p15:clr>
            <a:srgbClr val="F26B43"/>
          </p15:clr>
        </p15:guide>
        <p15:guide id="3" pos="5465">
          <p15:clr>
            <a:srgbClr val="F26B43"/>
          </p15:clr>
        </p15:guide>
        <p15:guide id="4" pos="5556">
          <p15:clr>
            <a:srgbClr val="F26B43"/>
          </p15:clr>
        </p15:guide>
        <p15:guide id="5" orient="horz" pos="3185">
          <p15:clr>
            <a:srgbClr val="F26B43"/>
          </p15:clr>
        </p15:guide>
        <p15:guide id="6" orient="horz" pos="894">
          <p15:clr>
            <a:srgbClr val="F26B43"/>
          </p15:clr>
        </p15:guide>
        <p15:guide id="7" orient="horz" pos="29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9A44EE-6C7F-49B8-A281-A148FD7B849B}"/>
              </a:ext>
            </a:extLst>
          </p:cNvPr>
          <p:cNvGraphicFramePr>
            <a:graphicFrameLocks noChangeAspect="1"/>
          </p:cNvGraphicFramePr>
          <p:nvPr userDrawn="1">
            <p:custDataLst>
              <p:tags r:id="rId9"/>
            </p:custDataLst>
            <p:extLst>
              <p:ext uri="{D42A27DB-BD31-4B8C-83A1-F6EECF244321}">
                <p14:modId xmlns:p14="http://schemas.microsoft.com/office/powerpoint/2010/main" val="2836533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80" imgH="380" progId="TCLayout.ActiveDocument.1">
                  <p:embed/>
                </p:oleObj>
              </mc:Choice>
              <mc:Fallback>
                <p:oleObj name="think-cell Slide" r:id="rId11" imgW="380" imgH="380" progId="TCLayout.ActiveDocument.1">
                  <p:embed/>
                  <p:pic>
                    <p:nvPicPr>
                      <p:cNvPr id="7" name="Object 6" hidden="1">
                        <a:extLst>
                          <a:ext uri="{FF2B5EF4-FFF2-40B4-BE49-F238E27FC236}">
                            <a16:creationId xmlns:a16="http://schemas.microsoft.com/office/drawing/2014/main" id="{A29A44EE-6C7F-49B8-A281-A148FD7B849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4F678D3-7E2F-44D9-837D-33B87A629C5B}"/>
              </a:ext>
            </a:extLst>
          </p:cNvPr>
          <p:cNvSpPr/>
          <p:nvPr userDrawn="1">
            <p:custDataLst>
              <p:tags r:id="rId10"/>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Fußzeilenplatzhalter 2">
            <a:extLst>
              <a:ext uri="{FF2B5EF4-FFF2-40B4-BE49-F238E27FC236}">
                <a16:creationId xmlns:a16="http://schemas.microsoft.com/office/drawing/2014/main" id="{C3F6855C-A1F9-4462-A039-49DBCAE864D9}"/>
              </a:ext>
            </a:extLst>
          </p:cNvPr>
          <p:cNvSpPr>
            <a:spLocks noGrp="1"/>
          </p:cNvSpPr>
          <p:nvPr>
            <p:ph type="ftr" sz="quarter" idx="3"/>
          </p:nvPr>
        </p:nvSpPr>
        <p:spPr>
          <a:xfrm>
            <a:off x="5688463" y="119981"/>
            <a:ext cx="2232000" cy="180000"/>
          </a:xfrm>
          <a:prstGeom prst="rect">
            <a:avLst/>
          </a:prstGeom>
        </p:spPr>
        <p:txBody>
          <a:bodyPr vert="horz" lIns="0" tIns="0" rIns="0" bIns="0" rtlCol="0" anchor="ctr"/>
          <a:lstStyle>
            <a:lvl1pPr algn="r">
              <a:defRPr sz="900" b="1">
                <a:solidFill>
                  <a:schemeClr val="bg1"/>
                </a:solidFill>
              </a:defRPr>
            </a:lvl1pPr>
          </a:lstStyle>
          <a:p>
            <a:r>
              <a:rPr lang="en-GB"/>
              <a:t>#AllAboutSports</a:t>
            </a:r>
            <a:endParaRPr lang="en-GB" dirty="0"/>
          </a:p>
        </p:txBody>
      </p:sp>
      <p:sp>
        <p:nvSpPr>
          <p:cNvPr id="2" name="Titelplatzhalter 1">
            <a:extLst>
              <a:ext uri="{FF2B5EF4-FFF2-40B4-BE49-F238E27FC236}">
                <a16:creationId xmlns:a16="http://schemas.microsoft.com/office/drawing/2014/main" id="{000DB4FB-CF31-4E9D-B010-41DF27FA1B56}"/>
              </a:ext>
            </a:extLst>
          </p:cNvPr>
          <p:cNvSpPr>
            <a:spLocks noGrp="1"/>
          </p:cNvSpPr>
          <p:nvPr>
            <p:ph type="title"/>
          </p:nvPr>
        </p:nvSpPr>
        <p:spPr>
          <a:xfrm>
            <a:off x="431800" y="560004"/>
            <a:ext cx="8243888" cy="612000"/>
          </a:xfrm>
          <a:prstGeom prst="rect">
            <a:avLst/>
          </a:prstGeom>
        </p:spPr>
        <p:txBody>
          <a:bodyPr vert="horz" lIns="0" tIns="0" rIns="0" bIns="0" rtlCol="0" anchor="t" anchorCtr="0">
            <a:noAutofit/>
          </a:bodyPr>
          <a:lstStyle/>
          <a:p>
            <a:r>
              <a:rPr lang="en-US" noProof="0" dirty="0"/>
              <a:t>Click to edit master title style</a:t>
            </a:r>
          </a:p>
        </p:txBody>
      </p:sp>
      <p:sp>
        <p:nvSpPr>
          <p:cNvPr id="6" name="Foliennummernplatzhalter 5">
            <a:extLst>
              <a:ext uri="{FF2B5EF4-FFF2-40B4-BE49-F238E27FC236}">
                <a16:creationId xmlns:a16="http://schemas.microsoft.com/office/drawing/2014/main" id="{635921D0-89FA-4BA1-9A12-665CF34AFDEA}"/>
              </a:ext>
            </a:extLst>
          </p:cNvPr>
          <p:cNvSpPr>
            <a:spLocks noGrp="1"/>
          </p:cNvSpPr>
          <p:nvPr>
            <p:ph type="sldNum" sz="quarter" idx="4"/>
          </p:nvPr>
        </p:nvSpPr>
        <p:spPr>
          <a:xfrm>
            <a:off x="7365818" y="4966290"/>
            <a:ext cx="1454331" cy="109493"/>
          </a:xfrm>
          <a:prstGeom prst="rect">
            <a:avLst/>
          </a:prstGeom>
        </p:spPr>
        <p:txBody>
          <a:bodyPr vert="horz" lIns="0" tIns="0" rIns="0" bIns="0" rtlCol="0" anchor="b" anchorCtr="0"/>
          <a:lstStyle>
            <a:lvl1pPr algn="r">
              <a:defRPr sz="600" b="1">
                <a:solidFill>
                  <a:srgbClr val="686A6E"/>
                </a:solidFill>
              </a:defRPr>
            </a:lvl1pPr>
          </a:lstStyle>
          <a:p>
            <a:fld id="{9B60B346-FC99-4236-B943-65AE761B958F}" type="slidenum">
              <a:rPr lang="de-CH" smtClean="0"/>
              <a:pPr/>
              <a:t>‹N°›</a:t>
            </a:fld>
            <a:endParaRPr lang="de-CH" dirty="0"/>
          </a:p>
        </p:txBody>
      </p:sp>
      <p:sp>
        <p:nvSpPr>
          <p:cNvPr id="4" name="Textplatzhalter 3">
            <a:extLst>
              <a:ext uri="{FF2B5EF4-FFF2-40B4-BE49-F238E27FC236}">
                <a16:creationId xmlns:a16="http://schemas.microsoft.com/office/drawing/2014/main" id="{02DBA452-769D-4BE1-8C8E-3A93D9AF5832}"/>
              </a:ext>
            </a:extLst>
          </p:cNvPr>
          <p:cNvSpPr>
            <a:spLocks noGrp="1"/>
          </p:cNvSpPr>
          <p:nvPr>
            <p:ph type="body" idx="1"/>
          </p:nvPr>
        </p:nvSpPr>
        <p:spPr>
          <a:xfrm>
            <a:off x="431800" y="1419224"/>
            <a:ext cx="8243888" cy="3313113"/>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endParaRPr lang="en-GB" dirty="0"/>
          </a:p>
        </p:txBody>
      </p:sp>
    </p:spTree>
    <p:extLst>
      <p:ext uri="{BB962C8B-B14F-4D97-AF65-F5344CB8AC3E}">
        <p14:creationId xmlns:p14="http://schemas.microsoft.com/office/powerpoint/2010/main" val="2738388989"/>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Lst>
  <p:hf hdr="0" dt="0"/>
  <p:txStyles>
    <p:titleStyle>
      <a:lvl1pPr algn="l" defTabSz="685800" rtl="0" eaLnBrk="1" latinLnBrk="0" hangingPunct="1">
        <a:lnSpc>
          <a:spcPct val="100000"/>
        </a:lnSpc>
        <a:spcBef>
          <a:spcPct val="0"/>
        </a:spcBef>
        <a:buNone/>
        <a:defRPr sz="240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2pPr>
      <a:lvl3pPr marL="90488" indent="-904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3pPr>
      <a:lvl4pPr marL="268288" indent="-180975"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4pPr>
      <a:lvl5pPr marL="447675" indent="-1793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5pPr>
      <a:lvl6pPr marL="628650" indent="-180975" algn="l" defTabSz="685800" rtl="0" eaLnBrk="1" latinLnBrk="0" hangingPunct="1">
        <a:lnSpc>
          <a:spcPct val="100000"/>
        </a:lnSpc>
        <a:spcBef>
          <a:spcPts val="0"/>
        </a:spcBef>
        <a:buFont typeface="Arial" panose="020B0604020202020204" pitchFamily="34" charset="0"/>
        <a:buChar char="‒"/>
        <a:tabLst/>
        <a:defRPr sz="1000" b="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2">
          <p15:clr>
            <a:srgbClr val="F26B43"/>
          </p15:clr>
        </p15:guide>
        <p15:guide id="2" orient="horz" pos="395">
          <p15:clr>
            <a:srgbClr val="F26B43"/>
          </p15:clr>
        </p15:guide>
        <p15:guide id="3" pos="5465">
          <p15:clr>
            <a:srgbClr val="F26B43"/>
          </p15:clr>
        </p15:guide>
        <p15:guide id="4" pos="5556">
          <p15:clr>
            <a:srgbClr val="F26B43"/>
          </p15:clr>
        </p15:guide>
        <p15:guide id="5" orient="horz" pos="3185">
          <p15:clr>
            <a:srgbClr val="F26B43"/>
          </p15:clr>
        </p15:guide>
        <p15:guide id="6" orient="horz" pos="894">
          <p15:clr>
            <a:srgbClr val="F26B43"/>
          </p15:clr>
        </p15:guide>
        <p15:guide id="7" orient="horz" pos="29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DD500C-4784-4D2E-8658-2749362C4817}"/>
              </a:ext>
            </a:extLst>
          </p:cNvPr>
          <p:cNvGraphicFramePr>
            <a:graphicFrameLocks noChangeAspect="1"/>
          </p:cNvGraphicFramePr>
          <p:nvPr userDrawn="1">
            <p:custDataLst>
              <p:tags r:id="rId43"/>
            </p:custDataLst>
            <p:extLst>
              <p:ext uri="{D42A27DB-BD31-4B8C-83A1-F6EECF244321}">
                <p14:modId xmlns:p14="http://schemas.microsoft.com/office/powerpoint/2010/main" val="157852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380" imgH="380" progId="TCLayout.ActiveDocument.1">
                  <p:embed/>
                </p:oleObj>
              </mc:Choice>
              <mc:Fallback>
                <p:oleObj name="think-cell Slide" r:id="rId45" imgW="380" imgH="380" progId="TCLayout.ActiveDocument.1">
                  <p:embed/>
                  <p:pic>
                    <p:nvPicPr>
                      <p:cNvPr id="7" name="Object 6" hidden="1">
                        <a:extLst>
                          <a:ext uri="{FF2B5EF4-FFF2-40B4-BE49-F238E27FC236}">
                            <a16:creationId xmlns:a16="http://schemas.microsoft.com/office/drawing/2014/main" id="{7BDD500C-4784-4D2E-8658-2749362C4817}"/>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70FBE1C-3E55-454E-8B64-70455ED40397}"/>
              </a:ext>
            </a:extLst>
          </p:cNvPr>
          <p:cNvSpPr/>
          <p:nvPr userDrawn="1">
            <p:custDataLst>
              <p:tags r:id="rId44"/>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Fußzeilenplatzhalter 2">
            <a:extLst>
              <a:ext uri="{FF2B5EF4-FFF2-40B4-BE49-F238E27FC236}">
                <a16:creationId xmlns:a16="http://schemas.microsoft.com/office/drawing/2014/main" id="{C3F6855C-A1F9-4462-A039-49DBCAE864D9}"/>
              </a:ext>
            </a:extLst>
          </p:cNvPr>
          <p:cNvSpPr>
            <a:spLocks noGrp="1"/>
          </p:cNvSpPr>
          <p:nvPr>
            <p:ph type="ftr" sz="quarter" idx="3"/>
          </p:nvPr>
        </p:nvSpPr>
        <p:spPr>
          <a:xfrm>
            <a:off x="5688463" y="119981"/>
            <a:ext cx="2232000" cy="180000"/>
          </a:xfrm>
          <a:prstGeom prst="rect">
            <a:avLst/>
          </a:prstGeom>
        </p:spPr>
        <p:txBody>
          <a:bodyPr vert="horz" lIns="0" tIns="0" rIns="0" bIns="0" rtlCol="0" anchor="ctr"/>
          <a:lstStyle>
            <a:lvl1pPr algn="r">
              <a:defRPr sz="900" b="1">
                <a:solidFill>
                  <a:schemeClr val="bg1"/>
                </a:solidFill>
              </a:defRPr>
            </a:lvl1pPr>
          </a:lstStyle>
          <a:p>
            <a:r>
              <a:rPr lang="en-GB"/>
              <a:t>#AllAboutSports</a:t>
            </a:r>
            <a:endParaRPr lang="en-GB" dirty="0"/>
          </a:p>
        </p:txBody>
      </p:sp>
      <p:sp>
        <p:nvSpPr>
          <p:cNvPr id="2" name="Titelplatzhalter 1">
            <a:extLst>
              <a:ext uri="{FF2B5EF4-FFF2-40B4-BE49-F238E27FC236}">
                <a16:creationId xmlns:a16="http://schemas.microsoft.com/office/drawing/2014/main" id="{000DB4FB-CF31-4E9D-B010-41DF27FA1B56}"/>
              </a:ext>
            </a:extLst>
          </p:cNvPr>
          <p:cNvSpPr>
            <a:spLocks noGrp="1"/>
          </p:cNvSpPr>
          <p:nvPr>
            <p:ph type="title"/>
          </p:nvPr>
        </p:nvSpPr>
        <p:spPr>
          <a:xfrm>
            <a:off x="431800" y="560004"/>
            <a:ext cx="8243888" cy="612000"/>
          </a:xfrm>
          <a:prstGeom prst="rect">
            <a:avLst/>
          </a:prstGeom>
        </p:spPr>
        <p:txBody>
          <a:bodyPr vert="horz" lIns="0" tIns="0" rIns="0" bIns="0" rtlCol="0" anchor="t" anchorCtr="0">
            <a:noAutofit/>
          </a:bodyPr>
          <a:lstStyle/>
          <a:p>
            <a:r>
              <a:rPr lang="en-US" noProof="0" dirty="0"/>
              <a:t>Click to edit master title style</a:t>
            </a:r>
          </a:p>
        </p:txBody>
      </p:sp>
      <p:sp>
        <p:nvSpPr>
          <p:cNvPr id="6" name="Foliennummernplatzhalter 5">
            <a:extLst>
              <a:ext uri="{FF2B5EF4-FFF2-40B4-BE49-F238E27FC236}">
                <a16:creationId xmlns:a16="http://schemas.microsoft.com/office/drawing/2014/main" id="{635921D0-89FA-4BA1-9A12-665CF34AFDEA}"/>
              </a:ext>
            </a:extLst>
          </p:cNvPr>
          <p:cNvSpPr>
            <a:spLocks noGrp="1"/>
          </p:cNvSpPr>
          <p:nvPr>
            <p:ph type="sldNum" sz="quarter" idx="4"/>
          </p:nvPr>
        </p:nvSpPr>
        <p:spPr>
          <a:xfrm>
            <a:off x="7365818" y="4966290"/>
            <a:ext cx="1454331" cy="109493"/>
          </a:xfrm>
          <a:prstGeom prst="rect">
            <a:avLst/>
          </a:prstGeom>
        </p:spPr>
        <p:txBody>
          <a:bodyPr vert="horz" lIns="0" tIns="0" rIns="0" bIns="0" rtlCol="0" anchor="b" anchorCtr="0"/>
          <a:lstStyle>
            <a:lvl1pPr algn="r">
              <a:defRPr sz="600" b="1">
                <a:solidFill>
                  <a:srgbClr val="686A6E"/>
                </a:solidFill>
              </a:defRPr>
            </a:lvl1pPr>
          </a:lstStyle>
          <a:p>
            <a:fld id="{9B60B346-FC99-4236-B943-65AE761B958F}" type="slidenum">
              <a:rPr lang="de-CH" smtClean="0"/>
              <a:pPr/>
              <a:t>‹N°›</a:t>
            </a:fld>
            <a:endParaRPr lang="de-CH" dirty="0"/>
          </a:p>
        </p:txBody>
      </p:sp>
      <p:sp>
        <p:nvSpPr>
          <p:cNvPr id="4" name="Textplatzhalter 3">
            <a:extLst>
              <a:ext uri="{FF2B5EF4-FFF2-40B4-BE49-F238E27FC236}">
                <a16:creationId xmlns:a16="http://schemas.microsoft.com/office/drawing/2014/main" id="{02DBA452-769D-4BE1-8C8E-3A93D9AF5832}"/>
              </a:ext>
            </a:extLst>
          </p:cNvPr>
          <p:cNvSpPr>
            <a:spLocks noGrp="1"/>
          </p:cNvSpPr>
          <p:nvPr>
            <p:ph type="body" idx="1"/>
          </p:nvPr>
        </p:nvSpPr>
        <p:spPr>
          <a:xfrm>
            <a:off x="431800" y="1419224"/>
            <a:ext cx="8243888" cy="3313113"/>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endParaRPr lang="en-GB" dirty="0"/>
          </a:p>
        </p:txBody>
      </p:sp>
    </p:spTree>
    <p:extLst>
      <p:ext uri="{BB962C8B-B14F-4D97-AF65-F5344CB8AC3E}">
        <p14:creationId xmlns:p14="http://schemas.microsoft.com/office/powerpoint/2010/main" val="4143788776"/>
      </p:ext>
    </p:extLst>
  </p:cSld>
  <p:clrMap bg1="lt1" tx1="dk1" bg2="lt2" tx2="dk2" accent1="accent1" accent2="accent2" accent3="accent3" accent4="accent4" accent5="accent5" accent6="accent6" hlink="hlink" folHlink="folHlink"/>
  <p:sldLayoutIdLst>
    <p:sldLayoutId id="2147483810" r:id="rId1"/>
    <p:sldLayoutId id="2147483681" r:id="rId2"/>
    <p:sldLayoutId id="2147483682" r:id="rId3"/>
    <p:sldLayoutId id="2147483683" r:id="rId4"/>
    <p:sldLayoutId id="2147483684" r:id="rId5"/>
    <p:sldLayoutId id="2147483685" r:id="rId6"/>
    <p:sldLayoutId id="2147483686" r:id="rId7"/>
    <p:sldLayoutId id="2147483687" r:id="rId8"/>
    <p:sldLayoutId id="2147483824" r:id="rId9"/>
    <p:sldLayoutId id="2147483825" r:id="rId10"/>
    <p:sldLayoutId id="2147483651" r:id="rId11"/>
    <p:sldLayoutId id="2147483652" r:id="rId12"/>
    <p:sldLayoutId id="2147483654" r:id="rId13"/>
    <p:sldLayoutId id="2147483655" r:id="rId14"/>
    <p:sldLayoutId id="2147483656" r:id="rId15"/>
    <p:sldLayoutId id="2147483657" r:id="rId16"/>
    <p:sldLayoutId id="2147483658" r:id="rId17"/>
    <p:sldLayoutId id="2147483659" r:id="rId18"/>
    <p:sldLayoutId id="2147483808" r:id="rId19"/>
    <p:sldLayoutId id="2147483809" r:id="rId20"/>
    <p:sldLayoutId id="2147483803" r:id="rId21"/>
    <p:sldLayoutId id="2147483804" r:id="rId22"/>
    <p:sldLayoutId id="2147483660" r:id="rId23"/>
    <p:sldLayoutId id="2147483667" r:id="rId24"/>
    <p:sldLayoutId id="2147483805" r:id="rId25"/>
    <p:sldLayoutId id="2147483668" r:id="rId26"/>
    <p:sldLayoutId id="2147483806" r:id="rId27"/>
    <p:sldLayoutId id="2147483689" r:id="rId28"/>
    <p:sldLayoutId id="2147483807" r:id="rId29"/>
    <p:sldLayoutId id="2147483690" r:id="rId30"/>
    <p:sldLayoutId id="2147483816" r:id="rId31"/>
    <p:sldLayoutId id="2147483815" r:id="rId32"/>
    <p:sldLayoutId id="2147483812" r:id="rId33"/>
    <p:sldLayoutId id="2147483818" r:id="rId34"/>
    <p:sldLayoutId id="2147483661" r:id="rId35"/>
    <p:sldLayoutId id="2147483662" r:id="rId36"/>
    <p:sldLayoutId id="2147483663" r:id="rId37"/>
    <p:sldLayoutId id="2147483664" r:id="rId38"/>
    <p:sldLayoutId id="2147483665" r:id="rId39"/>
    <p:sldLayoutId id="2147483666" r:id="rId40"/>
    <p:sldLayoutId id="2147483688" r:id="rId41"/>
  </p:sldLayoutIdLst>
  <p:hf hdr="0" dt="0"/>
  <p:txStyles>
    <p:titleStyle>
      <a:lvl1pPr algn="l" defTabSz="685800" rtl="0" eaLnBrk="1" latinLnBrk="0" hangingPunct="1">
        <a:lnSpc>
          <a:spcPct val="100000"/>
        </a:lnSpc>
        <a:spcBef>
          <a:spcPct val="0"/>
        </a:spcBef>
        <a:buNone/>
        <a:defRPr sz="240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2pPr>
      <a:lvl3pPr marL="90488" indent="-904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3pPr>
      <a:lvl4pPr marL="268288" indent="-180975"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4pPr>
      <a:lvl5pPr marL="447675" indent="-1793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5pPr>
      <a:lvl6pPr marL="628650" indent="-180975" algn="l" defTabSz="685800" rtl="0" eaLnBrk="1" latinLnBrk="0" hangingPunct="1">
        <a:lnSpc>
          <a:spcPct val="100000"/>
        </a:lnSpc>
        <a:spcBef>
          <a:spcPts val="0"/>
        </a:spcBef>
        <a:buFont typeface="Arial" panose="020B0604020202020204" pitchFamily="34" charset="0"/>
        <a:buChar char="‒"/>
        <a:tabLst/>
        <a:defRPr sz="1000" b="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2" userDrawn="1">
          <p15:clr>
            <a:srgbClr val="F26B43"/>
          </p15:clr>
        </p15:guide>
        <p15:guide id="2" orient="horz" pos="395" userDrawn="1">
          <p15:clr>
            <a:srgbClr val="F26B43"/>
          </p15:clr>
        </p15:guide>
        <p15:guide id="3" pos="5465" userDrawn="1">
          <p15:clr>
            <a:srgbClr val="F26B43"/>
          </p15:clr>
        </p15:guide>
        <p15:guide id="4" pos="5556" userDrawn="1">
          <p15:clr>
            <a:srgbClr val="F26B43"/>
          </p15:clr>
        </p15:guide>
        <p15:guide id="5" orient="horz" pos="3185" userDrawn="1">
          <p15:clr>
            <a:srgbClr val="F26B43"/>
          </p15:clr>
        </p15:guide>
        <p15:guide id="6" orient="horz" pos="894" userDrawn="1">
          <p15:clr>
            <a:srgbClr val="F26B43"/>
          </p15:clr>
        </p15:guide>
        <p15:guide id="7" orient="horz" pos="29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slideLayout" Target="../slideLayouts/slideLayout11.xml"/><Relationship Id="rId7" Type="http://schemas.openxmlformats.org/officeDocument/2006/relationships/image" Target="../media/image32.tif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3.jpg"/><Relationship Id="rId5" Type="http://schemas.openxmlformats.org/officeDocument/2006/relationships/image" Target="../media/image20.emf"/><Relationship Id="rId4" Type="http://schemas.openxmlformats.org/officeDocument/2006/relationships/oleObject" Target="../embeddings/oleObject12.bin"/></Relationships>
</file>

<file path=ppt/slides/_rels/slide10.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47.jpeg"/><Relationship Id="rId7" Type="http://schemas.openxmlformats.org/officeDocument/2006/relationships/image" Target="cid:225501D2-211A-49CA-A039-9E15F5ED1FEF" TargetMode="External"/><Relationship Id="rId2" Type="http://schemas.openxmlformats.org/officeDocument/2006/relationships/image" Target="../media/image37.jpeg"/><Relationship Id="rId1" Type="http://schemas.openxmlformats.org/officeDocument/2006/relationships/slideLayout" Target="../slideLayouts/slideLayout19.xml"/><Relationship Id="rId6" Type="http://schemas.openxmlformats.org/officeDocument/2006/relationships/image" Target="../media/image49.png"/><Relationship Id="rId5" Type="http://schemas.openxmlformats.org/officeDocument/2006/relationships/image" Target="cid:B9F84088-5679-4B38-8054-1C560F2475A3" TargetMode="External"/><Relationship Id="rId4" Type="http://schemas.openxmlformats.org/officeDocument/2006/relationships/image" Target="../media/image50.png"/></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5.png"/><Relationship Id="rId1" Type="http://schemas.openxmlformats.org/officeDocument/2006/relationships/slideLayout" Target="../slideLayouts/slideLayout19.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44.png"/></Relationships>
</file>

<file path=ppt/slides/_rels/slide1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19.xml"/><Relationship Id="rId6" Type="http://schemas.openxmlformats.org/officeDocument/2006/relationships/image" Target="../media/image82.png"/><Relationship Id="rId5" Type="http://schemas.openxmlformats.org/officeDocument/2006/relationships/image" Target="../media/image65.png"/><Relationship Id="rId4" Type="http://schemas.openxmlformats.org/officeDocument/2006/relationships/image" Target="../media/image81.png"/></Relationships>
</file>

<file path=ppt/slides/_rels/slide13.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image" Target="../media/image83.png"/><Relationship Id="rId1" Type="http://schemas.openxmlformats.org/officeDocument/2006/relationships/slideLayout" Target="../slideLayouts/slideLayout19.xml"/><Relationship Id="rId4" Type="http://schemas.openxmlformats.org/officeDocument/2006/relationships/image" Target="../media/image85.jpeg"/></Relationships>
</file>

<file path=ppt/slides/_rels/slide14.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86.jpg"/><Relationship Id="rId7" Type="http://schemas.openxmlformats.org/officeDocument/2006/relationships/image" Target="../media/image54.png"/><Relationship Id="rId2" Type="http://schemas.openxmlformats.org/officeDocument/2006/relationships/image" Target="../media/image39.jpeg"/><Relationship Id="rId1" Type="http://schemas.openxmlformats.org/officeDocument/2006/relationships/slideLayout" Target="../slideLayouts/slideLayout19.xml"/><Relationship Id="rId6" Type="http://schemas.openxmlformats.org/officeDocument/2006/relationships/image" Target="../media/image53.jpeg"/><Relationship Id="rId5" Type="http://schemas.openxmlformats.org/officeDocument/2006/relationships/image" Target="../media/image46.png"/><Relationship Id="rId4" Type="http://schemas.openxmlformats.org/officeDocument/2006/relationships/image" Target="../media/image45.jpg"/></Relationships>
</file>

<file path=ppt/slides/_rels/slide15.xml.rels><?xml version="1.0" encoding="UTF-8" standalone="yes"?>
<Relationships xmlns="http://schemas.openxmlformats.org/package/2006/relationships"><Relationship Id="rId8" Type="http://schemas.openxmlformats.org/officeDocument/2006/relationships/image" Target="cid:225501D2-211A-49CA-A039-9E15F5ED1FEF" TargetMode="External"/><Relationship Id="rId3" Type="http://schemas.openxmlformats.org/officeDocument/2006/relationships/image" Target="../media/image38.png"/><Relationship Id="rId7" Type="http://schemas.openxmlformats.org/officeDocument/2006/relationships/image" Target="../media/image49.png"/><Relationship Id="rId2" Type="http://schemas.openxmlformats.org/officeDocument/2006/relationships/image" Target="../media/image87.png"/><Relationship Id="rId1" Type="http://schemas.openxmlformats.org/officeDocument/2006/relationships/slideLayout" Target="../slideLayouts/slideLayout19.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16.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91.png"/><Relationship Id="rId1" Type="http://schemas.openxmlformats.org/officeDocument/2006/relationships/slideLayout" Target="../slideLayouts/slideLayout19.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2.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jpg"/><Relationship Id="rId18" Type="http://schemas.openxmlformats.org/officeDocument/2006/relationships/image" Target="cid:225501D2-211A-49CA-A039-9E15F5ED1FEF" TargetMode="External"/><Relationship Id="rId26" Type="http://schemas.openxmlformats.org/officeDocument/2006/relationships/image" Target="../media/image56.png"/><Relationship Id="rId3" Type="http://schemas.openxmlformats.org/officeDocument/2006/relationships/image" Target="../media/image35.png"/><Relationship Id="rId21" Type="http://schemas.openxmlformats.org/officeDocument/2006/relationships/image" Target="../media/image51.png"/><Relationship Id="rId7" Type="http://schemas.openxmlformats.org/officeDocument/2006/relationships/image" Target="../media/image39.jpeg"/><Relationship Id="rId12" Type="http://schemas.openxmlformats.org/officeDocument/2006/relationships/image" Target="../media/image44.png"/><Relationship Id="rId17" Type="http://schemas.openxmlformats.org/officeDocument/2006/relationships/image" Target="../media/image49.png"/><Relationship Id="rId25" Type="http://schemas.openxmlformats.org/officeDocument/2006/relationships/image" Target="../media/image55.png"/><Relationship Id="rId2" Type="http://schemas.openxmlformats.org/officeDocument/2006/relationships/image" Target="../media/image34.jpeg"/><Relationship Id="rId16" Type="http://schemas.openxmlformats.org/officeDocument/2006/relationships/image" Target="../media/image48.png"/><Relationship Id="rId20" Type="http://schemas.openxmlformats.org/officeDocument/2006/relationships/image" Target="cid:B9F84088-5679-4B38-8054-1C560F2475A3" TargetMode="External"/><Relationship Id="rId1" Type="http://schemas.openxmlformats.org/officeDocument/2006/relationships/slideLayout" Target="../slideLayouts/slideLayout21.xml"/><Relationship Id="rId6" Type="http://schemas.openxmlformats.org/officeDocument/2006/relationships/image" Target="../media/image38.png"/><Relationship Id="rId11" Type="http://schemas.openxmlformats.org/officeDocument/2006/relationships/image" Target="../media/image43.png"/><Relationship Id="rId24" Type="http://schemas.openxmlformats.org/officeDocument/2006/relationships/image" Target="../media/image54.png"/><Relationship Id="rId5" Type="http://schemas.openxmlformats.org/officeDocument/2006/relationships/image" Target="../media/image37.jpeg"/><Relationship Id="rId15" Type="http://schemas.openxmlformats.org/officeDocument/2006/relationships/image" Target="../media/image47.jpeg"/><Relationship Id="rId23" Type="http://schemas.openxmlformats.org/officeDocument/2006/relationships/image" Target="../media/image53.jpeg"/><Relationship Id="rId10" Type="http://schemas.openxmlformats.org/officeDocument/2006/relationships/image" Target="../media/image42.png"/><Relationship Id="rId19" Type="http://schemas.openxmlformats.org/officeDocument/2006/relationships/image" Target="../media/image50.png"/><Relationship Id="rId4" Type="http://schemas.openxmlformats.org/officeDocument/2006/relationships/image" Target="../media/image36.jpeg"/><Relationship Id="rId9" Type="http://schemas.openxmlformats.org/officeDocument/2006/relationships/image" Target="../media/image41.png"/><Relationship Id="rId14" Type="http://schemas.openxmlformats.org/officeDocument/2006/relationships/image" Target="../media/image46.png"/><Relationship Id="rId22" Type="http://schemas.openxmlformats.org/officeDocument/2006/relationships/image" Target="../media/image52.png"/></Relationships>
</file>

<file path=ppt/slides/_rels/slide3.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18" Type="http://schemas.openxmlformats.org/officeDocument/2006/relationships/image" Target="../media/image52.png"/><Relationship Id="rId3" Type="http://schemas.openxmlformats.org/officeDocument/2006/relationships/image" Target="../media/image58.png"/><Relationship Id="rId21" Type="http://schemas.openxmlformats.org/officeDocument/2006/relationships/image" Target="../media/image72.png"/><Relationship Id="rId7" Type="http://schemas.openxmlformats.org/officeDocument/2006/relationships/image" Target="../media/image62.png"/><Relationship Id="rId12" Type="http://schemas.openxmlformats.org/officeDocument/2006/relationships/image" Target="../media/image67.png"/><Relationship Id="rId17" Type="http://schemas.openxmlformats.org/officeDocument/2006/relationships/image" Target="../media/image70.png"/><Relationship Id="rId2" Type="http://schemas.openxmlformats.org/officeDocument/2006/relationships/image" Target="../media/image57.png"/><Relationship Id="rId16" Type="http://schemas.openxmlformats.org/officeDocument/2006/relationships/image" Target="../media/image51.png"/><Relationship Id="rId20" Type="http://schemas.openxmlformats.org/officeDocument/2006/relationships/image" Target="../media/image71.png"/><Relationship Id="rId1" Type="http://schemas.openxmlformats.org/officeDocument/2006/relationships/slideLayout" Target="../slideLayouts/slideLayout21.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5" Type="http://schemas.openxmlformats.org/officeDocument/2006/relationships/image" Target="../media/image41.png"/><Relationship Id="rId10" Type="http://schemas.openxmlformats.org/officeDocument/2006/relationships/image" Target="../media/image65.png"/><Relationship Id="rId19" Type="http://schemas.openxmlformats.org/officeDocument/2006/relationships/image" Target="../media/image43.png"/><Relationship Id="rId4" Type="http://schemas.openxmlformats.org/officeDocument/2006/relationships/image" Target="../media/image59.png"/><Relationship Id="rId9" Type="http://schemas.openxmlformats.org/officeDocument/2006/relationships/image" Target="../media/image64.png"/><Relationship Id="rId14" Type="http://schemas.openxmlformats.org/officeDocument/2006/relationships/image" Target="../media/image69.png"/></Relationships>
</file>

<file path=ppt/slides/_rels/slide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4.png"/><Relationship Id="rId1" Type="http://schemas.openxmlformats.org/officeDocument/2006/relationships/slideLayout" Target="../slideLayouts/slideLayout19.xml"/><Relationship Id="rId6" Type="http://schemas.openxmlformats.org/officeDocument/2006/relationships/image" Target="../media/image69.png"/><Relationship Id="rId5" Type="http://schemas.openxmlformats.org/officeDocument/2006/relationships/image" Target="../media/image58.png"/><Relationship Id="rId4" Type="http://schemas.openxmlformats.org/officeDocument/2006/relationships/image" Target="../media/image67.png"/></Relationships>
</file>

<file path=ppt/slides/_rels/slide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70.png"/><Relationship Id="rId1" Type="http://schemas.openxmlformats.org/officeDocument/2006/relationships/slideLayout" Target="../slideLayouts/slideLayout19.xml"/><Relationship Id="rId5" Type="http://schemas.openxmlformats.org/officeDocument/2006/relationships/image" Target="../media/image71.png"/><Relationship Id="rId4" Type="http://schemas.openxmlformats.org/officeDocument/2006/relationships/image" Target="../media/image72.png"/></Relationships>
</file>

<file path=ppt/slides/_rels/slide7.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2.png"/><Relationship Id="rId7" Type="http://schemas.openxmlformats.org/officeDocument/2006/relationships/image" Target="../media/image76.png"/><Relationship Id="rId2" Type="http://schemas.openxmlformats.org/officeDocument/2006/relationships/image" Target="../media/image73.png"/><Relationship Id="rId1" Type="http://schemas.openxmlformats.org/officeDocument/2006/relationships/slideLayout" Target="../slideLayouts/slideLayout19.xml"/><Relationship Id="rId6" Type="http://schemas.openxmlformats.org/officeDocument/2006/relationships/image" Target="../media/image75.png"/><Relationship Id="rId5" Type="http://schemas.openxmlformats.org/officeDocument/2006/relationships/image" Target="cid:2__=4EBB03F6DFD12D308f9e8a93df938690918c4EBB03F6DFD12D30@polsat.com.pl" TargetMode="External"/><Relationship Id="rId4" Type="http://schemas.openxmlformats.org/officeDocument/2006/relationships/image" Target="../media/image74.jpeg"/><Relationship Id="rId9" Type="http://schemas.openxmlformats.org/officeDocument/2006/relationships/image" Target="../media/image59.png"/></Relationships>
</file>

<file path=ppt/slides/_rels/slide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4.jpeg"/><Relationship Id="rId1" Type="http://schemas.openxmlformats.org/officeDocument/2006/relationships/slideLayout" Target="../slideLayouts/slideLayout19.xml"/><Relationship Id="rId4" Type="http://schemas.openxmlformats.org/officeDocument/2006/relationships/image" Target="../media/image77.png"/></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78.jpe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91EF5C-EDA1-408F-A71D-1FF839425EBF}"/>
              </a:ext>
            </a:extLst>
          </p:cNvPr>
          <p:cNvGraphicFramePr>
            <a:graphicFrameLocks noChangeAspect="1"/>
          </p:cNvGraphicFramePr>
          <p:nvPr>
            <p:custDataLst>
              <p:tags r:id="rId1"/>
            </p:custDataLst>
            <p:extLst>
              <p:ext uri="{D42A27DB-BD31-4B8C-83A1-F6EECF244321}">
                <p14:modId xmlns:p14="http://schemas.microsoft.com/office/powerpoint/2010/main" val="1892462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a:extLst>
                          <a:ext uri="{FF2B5EF4-FFF2-40B4-BE49-F238E27FC236}">
                            <a16:creationId xmlns:a16="http://schemas.microsoft.com/office/drawing/2014/main" id="{7D91EF5C-EDA1-408F-A71D-1FF839425E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F720E22-FC02-4EF2-9CEB-7A5D8002A94E}"/>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800" b="1" dirty="0">
              <a:latin typeface="Arial" panose="020B0604020202020204" pitchFamily="34" charset="0"/>
              <a:ea typeface="+mj-ea"/>
              <a:cs typeface="+mj-cs"/>
              <a:sym typeface="Arial" panose="020B0604020202020204" pitchFamily="34" charset="0"/>
            </a:endParaRPr>
          </a:p>
        </p:txBody>
      </p:sp>
      <p:pic>
        <p:nvPicPr>
          <p:cNvPr id="4" name="Picture Placeholder 3">
            <a:extLst>
              <a:ext uri="{FF2B5EF4-FFF2-40B4-BE49-F238E27FC236}">
                <a16:creationId xmlns:a16="http://schemas.microsoft.com/office/drawing/2014/main" id="{CDBD15C7-9B48-4EEB-8487-638A88AFCB44}"/>
              </a:ext>
            </a:extLst>
          </p:cNvPr>
          <p:cNvPicPr>
            <a:picLocks noGrp="1" noChangeAspect="1"/>
          </p:cNvPicPr>
          <p:nvPr>
            <p:ph type="pic" sz="quarter" idx="13"/>
          </p:nvPr>
        </p:nvPicPr>
        <p:blipFill>
          <a:blip r:embed="rId6">
            <a:extLst>
              <a:ext uri="{28A0092B-C50C-407E-A947-70E740481C1C}">
                <a14:useLocalDpi xmlns:a14="http://schemas.microsoft.com/office/drawing/2010/main" val="0"/>
              </a:ext>
            </a:extLst>
          </a:blip>
          <a:srcRect/>
          <a:stretch>
            <a:fillRect/>
          </a:stretch>
        </p:blipFill>
        <p:spPr/>
      </p:pic>
      <p:sp>
        <p:nvSpPr>
          <p:cNvPr id="17" name="Title 16">
            <a:extLst>
              <a:ext uri="{FF2B5EF4-FFF2-40B4-BE49-F238E27FC236}">
                <a16:creationId xmlns:a16="http://schemas.microsoft.com/office/drawing/2014/main" id="{FCCB9608-B3AF-4B4D-8ABA-ABDA03390650}"/>
              </a:ext>
            </a:extLst>
          </p:cNvPr>
          <p:cNvSpPr>
            <a:spLocks noGrp="1"/>
          </p:cNvSpPr>
          <p:nvPr>
            <p:ph type="ctrTitle"/>
          </p:nvPr>
        </p:nvSpPr>
        <p:spPr>
          <a:xfrm>
            <a:off x="0" y="0"/>
            <a:ext cx="9144000" cy="5143500"/>
          </a:xfrm>
        </p:spPr>
        <p:txBody>
          <a:bodyPr/>
          <a:lstStyle/>
          <a:p>
            <a:r>
              <a:rPr lang="en-US" dirty="0"/>
              <a:t>TV DISTRIBUTION:</a:t>
            </a:r>
            <a:br>
              <a:rPr lang="en-US" dirty="0"/>
            </a:br>
            <a:r>
              <a:rPr lang="en-US" dirty="0"/>
              <a:t>24 Hours of </a:t>
            </a:r>
            <a:br>
              <a:rPr lang="en-US" dirty="0"/>
            </a:br>
            <a:r>
              <a:rPr lang="en-US" dirty="0"/>
              <a:t>Le Mans</a:t>
            </a:r>
            <a:endParaRPr lang="en-CH" dirty="0"/>
          </a:p>
        </p:txBody>
      </p:sp>
      <p:sp>
        <p:nvSpPr>
          <p:cNvPr id="10" name="Fußzeilenplatzhalter 3">
            <a:extLst>
              <a:ext uri="{FF2B5EF4-FFF2-40B4-BE49-F238E27FC236}">
                <a16:creationId xmlns:a16="http://schemas.microsoft.com/office/drawing/2014/main" id="{A53C416A-8F88-4787-8A63-36D7D14163B7}"/>
              </a:ext>
            </a:extLst>
          </p:cNvPr>
          <p:cNvSpPr>
            <a:spLocks noGrp="1"/>
          </p:cNvSpPr>
          <p:nvPr>
            <p:ph type="ftr" sz="quarter" idx="14"/>
          </p:nvPr>
        </p:nvSpPr>
        <p:spPr>
          <a:xfrm>
            <a:off x="5688463" y="119981"/>
            <a:ext cx="2232000" cy="180000"/>
          </a:xfrm>
        </p:spPr>
        <p:txBody>
          <a:bodyPr/>
          <a:lstStyle>
            <a:lvl1pPr>
              <a:defRPr>
                <a:solidFill>
                  <a:schemeClr val="bg1"/>
                </a:solidFill>
              </a:defRPr>
            </a:lvl1pPr>
          </a:lstStyle>
          <a:p>
            <a:r>
              <a:rPr lang="en-GB" dirty="0"/>
              <a:t>#</a:t>
            </a:r>
            <a:r>
              <a:rPr lang="en-GB" dirty="0" err="1"/>
              <a:t>AllAboutSports</a:t>
            </a:r>
            <a:endParaRPr lang="en-GB" dirty="0"/>
          </a:p>
        </p:txBody>
      </p:sp>
      <p:pic>
        <p:nvPicPr>
          <p:cNvPr id="9" name="Image 6">
            <a:extLst>
              <a:ext uri="{FF2B5EF4-FFF2-40B4-BE49-F238E27FC236}">
                <a16:creationId xmlns:a16="http://schemas.microsoft.com/office/drawing/2014/main" id="{55E7301F-54CE-8DC9-ED0E-50C77BC8C6AB}"/>
              </a:ext>
            </a:extLst>
          </p:cNvPr>
          <p:cNvPicPr>
            <a:picLocks noChangeAspect="1"/>
          </p:cNvPicPr>
          <p:nvPr/>
        </p:nvPicPr>
        <p:blipFill rotWithShape="1">
          <a:blip r:embed="rId7"/>
          <a:srcRect l="20967" t="27424" r="21358" b="31558"/>
          <a:stretch/>
        </p:blipFill>
        <p:spPr>
          <a:xfrm>
            <a:off x="2027009" y="1344130"/>
            <a:ext cx="1106784" cy="556870"/>
          </a:xfrm>
          <a:prstGeom prst="rect">
            <a:avLst/>
          </a:prstGeom>
          <a:solidFill>
            <a:schemeClr val="bg1"/>
          </a:solidFill>
        </p:spPr>
      </p:pic>
      <p:pic>
        <p:nvPicPr>
          <p:cNvPr id="11" name="Picture 2" descr="Image result for 24 hours of le mans 2017 logo">
            <a:extLst>
              <a:ext uri="{FF2B5EF4-FFF2-40B4-BE49-F238E27FC236}">
                <a16:creationId xmlns:a16="http://schemas.microsoft.com/office/drawing/2014/main" id="{34D8E8C9-9DD7-DE1B-0CF2-D4D7378ABCB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0000" y="1352888"/>
            <a:ext cx="976848" cy="556870"/>
          </a:xfrm>
          <a:prstGeom prst="rect">
            <a:avLst/>
          </a:prstGeom>
          <a:noFill/>
          <a:extLst>
            <a:ext uri="{909E8E84-426E-40DD-AFC4-6F175D3DCCD1}">
              <a14:hiddenFill xmlns:a14="http://schemas.microsoft.com/office/drawing/2010/main">
                <a:solidFill>
                  <a:srgbClr val="FFFFFF"/>
                </a:solidFill>
              </a14:hiddenFill>
            </a:ext>
          </a:extLst>
        </p:spPr>
      </p:pic>
      <p:sp>
        <p:nvSpPr>
          <p:cNvPr id="15" name="Subtitle 17">
            <a:extLst>
              <a:ext uri="{FF2B5EF4-FFF2-40B4-BE49-F238E27FC236}">
                <a16:creationId xmlns:a16="http://schemas.microsoft.com/office/drawing/2014/main" id="{A5971C8A-8970-0585-41BA-1FED41ECF1BA}"/>
              </a:ext>
            </a:extLst>
          </p:cNvPr>
          <p:cNvSpPr txBox="1">
            <a:spLocks/>
          </p:cNvSpPr>
          <p:nvPr/>
        </p:nvSpPr>
        <p:spPr>
          <a:xfrm>
            <a:off x="900000" y="3968247"/>
            <a:ext cx="3672000" cy="764084"/>
          </a:xfrm>
          <a:prstGeom prst="rect">
            <a:avLst/>
          </a:prstGeom>
        </p:spPr>
        <p:txBody>
          <a:bodyPr vert="horz" lIns="0" tIns="0" rIns="0" bIns="0" rtlCol="0">
            <a:noAutofit/>
          </a:bodyPr>
          <a:lstStyle>
            <a:lvl1pPr marL="0" indent="0" algn="l" defTabSz="685800" rtl="0" eaLnBrk="1" latinLnBrk="0" hangingPunct="1">
              <a:lnSpc>
                <a:spcPct val="100000"/>
              </a:lnSpc>
              <a:spcBef>
                <a:spcPts val="0"/>
              </a:spcBef>
              <a:buFont typeface="Arial" panose="020B0604020202020204" pitchFamily="34" charset="0"/>
              <a:buNone/>
              <a:defRPr sz="1200" b="0" kern="1200" cap="all" spc="550" baseline="0">
                <a:solidFill>
                  <a:schemeClr val="bg1"/>
                </a:solidFill>
                <a:latin typeface="+mn-lt"/>
                <a:ea typeface="+mn-ea"/>
                <a:cs typeface="+mn-cs"/>
              </a:defRPr>
            </a:lvl1pPr>
            <a:lvl2pPr marL="342900" indent="0" algn="ctr" defTabSz="685800" rtl="0" eaLnBrk="1" latinLnBrk="0" hangingPunct="1">
              <a:lnSpc>
                <a:spcPct val="100000"/>
              </a:lnSpc>
              <a:spcBef>
                <a:spcPts val="0"/>
              </a:spcBef>
              <a:buFont typeface="Arial" panose="020B0604020202020204" pitchFamily="34" charset="0"/>
              <a:buNone/>
              <a:defRPr sz="1500" b="0" kern="1200">
                <a:solidFill>
                  <a:schemeClr val="tx1"/>
                </a:solidFill>
                <a:latin typeface="+mn-lt"/>
                <a:ea typeface="+mn-ea"/>
                <a:cs typeface="+mn-cs"/>
              </a:defRPr>
            </a:lvl2pPr>
            <a:lvl3pPr marL="685800" indent="0" algn="ctr" defTabSz="685800" rtl="0" eaLnBrk="1" latinLnBrk="0" hangingPunct="1">
              <a:lnSpc>
                <a:spcPct val="100000"/>
              </a:lnSpc>
              <a:spcBef>
                <a:spcPts val="0"/>
              </a:spcBef>
              <a:buFont typeface="Arial" panose="020B0604020202020204" pitchFamily="34" charset="0"/>
              <a:buNone/>
              <a:defRPr sz="1350" b="0" kern="1200">
                <a:solidFill>
                  <a:schemeClr val="tx1"/>
                </a:solidFill>
                <a:latin typeface="+mn-lt"/>
                <a:ea typeface="+mn-ea"/>
                <a:cs typeface="+mn-cs"/>
              </a:defRPr>
            </a:lvl3pPr>
            <a:lvl4pPr marL="1028700" indent="0" algn="ctr" defTabSz="685800" rtl="0" eaLnBrk="1" latinLnBrk="0" hangingPunct="1">
              <a:lnSpc>
                <a:spcPct val="100000"/>
              </a:lnSpc>
              <a:spcBef>
                <a:spcPts val="0"/>
              </a:spcBef>
              <a:buFont typeface="Arial" panose="020B0604020202020204" pitchFamily="34" charset="0"/>
              <a:buNone/>
              <a:defRPr sz="1200" b="0" kern="1200">
                <a:solidFill>
                  <a:schemeClr val="tx1"/>
                </a:solidFill>
                <a:latin typeface="+mn-lt"/>
                <a:ea typeface="+mn-ea"/>
                <a:cs typeface="+mn-cs"/>
              </a:defRPr>
            </a:lvl4pPr>
            <a:lvl5pPr marL="1371600" indent="0" algn="ctr" defTabSz="685800" rtl="0" eaLnBrk="1" latinLnBrk="0" hangingPunct="1">
              <a:lnSpc>
                <a:spcPct val="100000"/>
              </a:lnSpc>
              <a:spcBef>
                <a:spcPts val="0"/>
              </a:spcBef>
              <a:buFont typeface="Arial" panose="020B0604020202020204" pitchFamily="34" charset="0"/>
              <a:buNone/>
              <a:defRPr sz="1200" b="0" kern="1200">
                <a:solidFill>
                  <a:schemeClr val="tx1"/>
                </a:solidFill>
                <a:latin typeface="+mn-lt"/>
                <a:ea typeface="+mn-ea"/>
                <a:cs typeface="+mn-cs"/>
              </a:defRPr>
            </a:lvl5pPr>
            <a:lvl6pPr marL="1714500" indent="0" algn="ctr" defTabSz="685800" rtl="0" eaLnBrk="1" latinLnBrk="0" hangingPunct="1">
              <a:lnSpc>
                <a:spcPct val="100000"/>
              </a:lnSpc>
              <a:spcBef>
                <a:spcPts val="0"/>
              </a:spcBef>
              <a:buFont typeface="Arial" panose="020B0604020202020204" pitchFamily="34" charset="0"/>
              <a:buNone/>
              <a:tabLst/>
              <a:defRPr sz="1200" b="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r>
              <a:rPr lang="en-US" dirty="0"/>
              <a:t>June 10 – 11, 2023</a:t>
            </a:r>
          </a:p>
          <a:p>
            <a:r>
              <a:rPr lang="en-US" dirty="0"/>
              <a:t>16:00 – 16:00 Local time</a:t>
            </a:r>
          </a:p>
          <a:p>
            <a:r>
              <a:rPr lang="en-US" dirty="0"/>
              <a:t>14:00 – 14:00 GMT</a:t>
            </a:r>
          </a:p>
        </p:txBody>
      </p:sp>
    </p:spTree>
    <p:extLst>
      <p:ext uri="{BB962C8B-B14F-4D97-AF65-F5344CB8AC3E}">
        <p14:creationId xmlns:p14="http://schemas.microsoft.com/office/powerpoint/2010/main" val="16610026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Americas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0</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3544678134"/>
              </p:ext>
            </p:extLst>
          </p:nvPr>
        </p:nvGraphicFramePr>
        <p:xfrm>
          <a:off x="412315" y="1247612"/>
          <a:ext cx="8463619" cy="288918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160023">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endParaRPr lang="en-GB" sz="900" kern="1200" dirty="0">
                        <a:solidFill>
                          <a:schemeClr val="tx1"/>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900" dirty="0">
                        <a:solidFill>
                          <a:schemeClr val="tx1"/>
                        </a:solidFill>
                        <a:latin typeface="Arial"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GB" sz="9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tx2"/>
                        </a:solidFill>
                        <a:highlight>
                          <a:srgbClr val="FFFF00"/>
                        </a:highlight>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18300106"/>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Canada</a:t>
                      </a:r>
                      <a:endParaRPr lang="en-GB" sz="900" kern="1200" dirty="0">
                        <a:solidFill>
                          <a:schemeClr val="tx1"/>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Live Race (10/06) 9:00 – 11:00 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273489472"/>
                  </a:ext>
                </a:extLst>
              </a:tr>
              <a:tr h="576000">
                <a:tc>
                  <a:txBody>
                    <a:bodyPr/>
                    <a:lstStyle/>
                    <a:p>
                      <a:pPr algn="ctr"/>
                      <a:endParaRPr lang="en-GB" dirty="0"/>
                    </a:p>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kern="1200" dirty="0">
                          <a:solidFill>
                            <a:schemeClr val="tx1"/>
                          </a:solidFill>
                          <a:latin typeface="Arial" charset="0"/>
                          <a:ea typeface="+mn-ea"/>
                          <a:cs typeface="+mn-cs"/>
                        </a:rPr>
                        <a:t>US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plus 1 hour pre- and 1 hour post coverag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Mexico</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p>
                      <a:pPr marL="0" marR="0" lvl="0" indent="0" algn="ctr" defTabSz="685800" rtl="0" eaLnBrk="1" fontAlgn="auto" latinLnBrk="0" hangingPunct="1">
                        <a:lnSpc>
                          <a:spcPct val="100000"/>
                        </a:lnSpc>
                        <a:spcBef>
                          <a:spcPts val="0"/>
                        </a:spcBef>
                        <a:spcAft>
                          <a:spcPts val="0"/>
                        </a:spcAft>
                        <a:buClrTx/>
                        <a:buSzTx/>
                        <a:buFontTx/>
                        <a:buNone/>
                        <a:tabLst/>
                        <a:defRPr/>
                      </a:pPr>
                      <a:endParaRPr lang="en-GB" sz="9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Live on Fox Sports 3 MX 07:00-18:00 / 21:00-02:45 / </a:t>
                      </a:r>
                      <a:br>
                        <a:rPr lang="en-GB" sz="900" b="1" kern="1200" dirty="0">
                          <a:solidFill>
                            <a:schemeClr val="tx2"/>
                          </a:solidFill>
                          <a:latin typeface="Arial" charset="0"/>
                          <a:ea typeface="+mn-ea"/>
                          <a:cs typeface="+mn-cs"/>
                        </a:rPr>
                      </a:br>
                      <a:r>
                        <a:rPr lang="en-GB" sz="900" b="1" kern="1200" dirty="0">
                          <a:solidFill>
                            <a:schemeClr val="tx2"/>
                          </a:solidFill>
                          <a:latin typeface="Arial" charset="0"/>
                          <a:ea typeface="+mn-ea"/>
                          <a:cs typeface="+mn-cs"/>
                        </a:rPr>
                        <a:t>04:00-09:00 (GMT-6)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available on Fox Sports 3 07/06 and 17/06</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2166054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Arial" charset="0"/>
                          <a:ea typeface="+mn-ea"/>
                          <a:cs typeface="+mn-cs"/>
                        </a:rPr>
                        <a:t>Central &amp; South America Caribbean (excl. Mexico &amp; Brazi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a:t>
                      </a:r>
                      <a:r>
                        <a:rPr lang="en-GB" sz="900" b="1" kern="1200" dirty="0" err="1">
                          <a:solidFill>
                            <a:schemeClr val="tx2"/>
                          </a:solidFill>
                          <a:latin typeface="Arial" charset="0"/>
                          <a:ea typeface="+mn-ea"/>
                          <a:cs typeface="+mn-cs"/>
                        </a:rPr>
                        <a:t>Dsports</a:t>
                      </a:r>
                      <a:r>
                        <a:rPr lang="en-GB" sz="900" b="1" kern="1200" dirty="0">
                          <a:solidFill>
                            <a:schemeClr val="tx2"/>
                          </a:solidFill>
                          <a:latin typeface="Arial" charset="0"/>
                          <a:ea typeface="+mn-ea"/>
                          <a:cs typeface="+mn-cs"/>
                        </a:rPr>
                        <a:t> 614/1614 on 10:00-12:00 (GMT-3)</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available on </a:t>
                      </a:r>
                      <a:r>
                        <a:rPr lang="en-GB" sz="900" b="1" kern="1200" dirty="0" err="1">
                          <a:solidFill>
                            <a:schemeClr val="accent6"/>
                          </a:solidFill>
                          <a:latin typeface="Arial" charset="0"/>
                          <a:ea typeface="+mn-ea"/>
                          <a:cs typeface="+mn-cs"/>
                        </a:rPr>
                        <a:t>Dsports</a:t>
                      </a:r>
                      <a:r>
                        <a:rPr lang="en-GB" sz="900" b="1" kern="1200" dirty="0">
                          <a:solidFill>
                            <a:schemeClr val="accent6"/>
                          </a:solidFill>
                          <a:latin typeface="Arial" charset="0"/>
                          <a:ea typeface="+mn-ea"/>
                          <a:cs typeface="+mn-cs"/>
                        </a:rPr>
                        <a:t> 07/06 and 17/06</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734680557"/>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5" name="Picture 443" descr="https://pmcdeadline2.files.wordpress.com/2018/11/motortrend-e1542136057557.jpg?w=300&amp;h=57&amp;crop=1">
            <a:extLst>
              <a:ext uri="{FF2B5EF4-FFF2-40B4-BE49-F238E27FC236}">
                <a16:creationId xmlns:a16="http://schemas.microsoft.com/office/drawing/2014/main" id="{134285A4-7FD2-4EA6-BC42-139800FD1B4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9958" y="2593460"/>
            <a:ext cx="935949" cy="177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26" name="Picture 2" descr="Discovery Velocity - Wikipedia">
            <a:extLst>
              <a:ext uri="{FF2B5EF4-FFF2-40B4-BE49-F238E27FC236}">
                <a16:creationId xmlns:a16="http://schemas.microsoft.com/office/drawing/2014/main" id="{C95044DA-827E-4928-B430-9E1839EA0B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800" y="1930483"/>
            <a:ext cx="576151" cy="34456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38A56179-1295-53DC-7571-7FB59FADDF42}"/>
              </a:ext>
            </a:extLst>
          </p:cNvPr>
          <p:cNvPicPr>
            <a:picLocks noChangeAspect="1"/>
          </p:cNvPicPr>
          <p:nvPr/>
        </p:nvPicPr>
        <p:blipFill>
          <a:blip r:embed="rId4" r:link="rId5" cstate="print">
            <a:extLst>
              <a:ext uri="{28A0092B-C50C-407E-A947-70E740481C1C}">
                <a14:useLocalDpi xmlns:a14="http://schemas.microsoft.com/office/drawing/2010/main" val="0"/>
              </a:ext>
            </a:extLst>
          </a:blip>
          <a:srcRect/>
          <a:stretch>
            <a:fillRect/>
          </a:stretch>
        </p:blipFill>
        <p:spPr bwMode="auto">
          <a:xfrm>
            <a:off x="520903" y="2993938"/>
            <a:ext cx="1114490" cy="626954"/>
          </a:xfrm>
          <a:prstGeom prst="rect">
            <a:avLst/>
          </a:prstGeom>
          <a:noFill/>
          <a:ln>
            <a:noFill/>
          </a:ln>
        </p:spPr>
      </p:pic>
      <p:pic>
        <p:nvPicPr>
          <p:cNvPr id="14" name="Picture 13">
            <a:extLst>
              <a:ext uri="{FF2B5EF4-FFF2-40B4-BE49-F238E27FC236}">
                <a16:creationId xmlns:a16="http://schemas.microsoft.com/office/drawing/2014/main" id="{67C9332B-44C3-649D-9066-0F2AA4661F3D}"/>
              </a:ext>
            </a:extLst>
          </p:cNvPr>
          <p:cNvPicPr>
            <a:picLocks noChangeAspect="1"/>
          </p:cNvPicPr>
          <p:nvPr/>
        </p:nvPicPr>
        <p:blipFill>
          <a:blip r:embed="rId6" r:link="rId7" cstate="print">
            <a:extLst>
              <a:ext uri="{28A0092B-C50C-407E-A947-70E740481C1C}">
                <a14:useLocalDpi xmlns:a14="http://schemas.microsoft.com/office/drawing/2010/main" val="0"/>
              </a:ext>
            </a:extLst>
          </a:blip>
          <a:srcRect/>
          <a:stretch>
            <a:fillRect/>
          </a:stretch>
        </p:blipFill>
        <p:spPr bwMode="auto">
          <a:xfrm>
            <a:off x="639893" y="3713528"/>
            <a:ext cx="864115" cy="364719"/>
          </a:xfrm>
          <a:prstGeom prst="rect">
            <a:avLst/>
          </a:prstGeom>
          <a:noFill/>
          <a:ln>
            <a:noFill/>
          </a:ln>
        </p:spPr>
      </p:pic>
      <p:pic>
        <p:nvPicPr>
          <p:cNvPr id="2050" name="Picture 2">
            <a:extLst>
              <a:ext uri="{FF2B5EF4-FFF2-40B4-BE49-F238E27FC236}">
                <a16:creationId xmlns:a16="http://schemas.microsoft.com/office/drawing/2014/main" id="{C4276878-8258-CCF9-3A19-52B7B6F219C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04981" y="1963551"/>
            <a:ext cx="566007" cy="3144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72946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Pan-African, MENA and Other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1</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97461564"/>
              </p:ext>
            </p:extLst>
          </p:nvPr>
        </p:nvGraphicFramePr>
        <p:xfrm>
          <a:off x="412315" y="1247612"/>
          <a:ext cx="8463619" cy="378072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915098">
                  <a:extLst>
                    <a:ext uri="{9D8B030D-6E8A-4147-A177-3AD203B41FA5}">
                      <a16:colId xmlns:a16="http://schemas.microsoft.com/office/drawing/2014/main" val="1548871955"/>
                    </a:ext>
                  </a:extLst>
                </a:gridCol>
                <a:gridCol w="921174">
                  <a:extLst>
                    <a:ext uri="{9D8B030D-6E8A-4147-A177-3AD203B41FA5}">
                      <a16:colId xmlns:a16="http://schemas.microsoft.com/office/drawing/2014/main" val="1220884781"/>
                    </a:ext>
                  </a:extLst>
                </a:gridCol>
                <a:gridCol w="806026">
                  <a:extLst>
                    <a:ext uri="{9D8B030D-6E8A-4147-A177-3AD203B41FA5}">
                      <a16:colId xmlns:a16="http://schemas.microsoft.com/office/drawing/2014/main" val="1824730945"/>
                    </a:ext>
                  </a:extLst>
                </a:gridCol>
                <a:gridCol w="4561321">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Sub-Saharan Afric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on Action/Action A (Compact + bouquet), split into various parts from 15:30 (10/06) to 16:00 (11/06)</a:t>
                      </a:r>
                      <a:br>
                        <a:rPr lang="en-GB" sz="900" b="1" kern="1200" dirty="0">
                          <a:solidFill>
                            <a:srgbClr val="00B050"/>
                          </a:solidFill>
                          <a:latin typeface="Arial" charset="0"/>
                          <a:ea typeface="+mn-ea"/>
                          <a:cs typeface="+mn-cs"/>
                        </a:rPr>
                      </a:br>
                      <a:r>
                        <a:rPr lang="en-GB" sz="900" b="1" kern="1200" dirty="0">
                          <a:solidFill>
                            <a:schemeClr val="accent6"/>
                          </a:solidFill>
                          <a:latin typeface="Arial" charset="0"/>
                          <a:ea typeface="+mn-ea"/>
                          <a:cs typeface="+mn-cs"/>
                        </a:rPr>
                        <a:t>HLs on14/06 19:00 on MSP / MSPA (multiple repeats between 15/06 and 21/06</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Pan-MEN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24056025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dk1"/>
                          </a:solidFill>
                          <a:latin typeface="+mn-lt"/>
                          <a:ea typeface="+mn-ea"/>
                          <a:cs typeface="+mn-cs"/>
                        </a:rPr>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HLs (in CET):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TV5 Afrique: Road to Le Mans 09/06 22:01</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TV5 </a:t>
                      </a:r>
                      <a:r>
                        <a:rPr lang="en-GB" sz="900" b="1" kern="1200" dirty="0" err="1">
                          <a:solidFill>
                            <a:schemeClr val="tx2"/>
                          </a:solidFill>
                          <a:latin typeface="Arial" charset="0"/>
                          <a:ea typeface="+mn-ea"/>
                          <a:cs typeface="+mn-cs"/>
                        </a:rPr>
                        <a:t>Amerique</a:t>
                      </a:r>
                      <a:r>
                        <a:rPr lang="en-GB" sz="900" b="1" kern="1200" dirty="0">
                          <a:solidFill>
                            <a:schemeClr val="tx2"/>
                          </a:solidFill>
                          <a:latin typeface="Arial" charset="0"/>
                          <a:ea typeface="+mn-ea"/>
                          <a:cs typeface="+mn-cs"/>
                        </a:rPr>
                        <a:t> Latin: Road to Le Mans 09/06 10:01 &amp; 24h du Mans 16/06 09:39</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TV5 </a:t>
                      </a:r>
                      <a:r>
                        <a:rPr lang="en-GB" sz="900" b="1" kern="1200" dirty="0" err="1">
                          <a:solidFill>
                            <a:schemeClr val="tx2"/>
                          </a:solidFill>
                          <a:latin typeface="Arial" charset="0"/>
                          <a:ea typeface="+mn-ea"/>
                          <a:cs typeface="+mn-cs"/>
                        </a:rPr>
                        <a:t>Asie</a:t>
                      </a:r>
                      <a:r>
                        <a:rPr lang="en-GB" sz="900" b="1" kern="1200" dirty="0">
                          <a:solidFill>
                            <a:schemeClr val="tx2"/>
                          </a:solidFill>
                          <a:latin typeface="Arial" charset="0"/>
                          <a:ea typeface="+mn-ea"/>
                          <a:cs typeface="+mn-cs"/>
                        </a:rPr>
                        <a:t>: Road to Le Mans 09/06 16:27 &amp; 24h du Mans 18/06 9:54</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TV5 </a:t>
                      </a:r>
                      <a:r>
                        <a:rPr lang="en-GB" sz="900" b="1" kern="1200" dirty="0" err="1">
                          <a:solidFill>
                            <a:schemeClr val="tx2"/>
                          </a:solidFill>
                          <a:latin typeface="Arial" charset="0"/>
                          <a:ea typeface="+mn-ea"/>
                          <a:cs typeface="+mn-cs"/>
                        </a:rPr>
                        <a:t>Etats</a:t>
                      </a:r>
                      <a:r>
                        <a:rPr lang="en-GB" sz="900" b="1" kern="1200" dirty="0">
                          <a:solidFill>
                            <a:schemeClr val="tx2"/>
                          </a:solidFill>
                          <a:latin typeface="Arial" charset="0"/>
                          <a:ea typeface="+mn-ea"/>
                          <a:cs typeface="+mn-cs"/>
                        </a:rPr>
                        <a:t> Unis: Road to Le Mans 09/06 10:37 &amp; 24h du Mans 16/06 10:07</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TV5 FBSM: Road to Le Mans 10/06 02:01 &amp; 24h du Mans 17/06 01:30</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TV5 Orient: Road to Le Mans 08/06 18:03 &amp; 24h du Mans 18/06 01:59</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TV5 </a:t>
                      </a:r>
                      <a:r>
                        <a:rPr lang="en-GB" sz="900" b="1" kern="1200" dirty="0" err="1">
                          <a:solidFill>
                            <a:schemeClr val="tx2"/>
                          </a:solidFill>
                          <a:latin typeface="Arial" charset="0"/>
                          <a:ea typeface="+mn-ea"/>
                          <a:cs typeface="+mn-cs"/>
                        </a:rPr>
                        <a:t>Pacifique</a:t>
                      </a:r>
                      <a:r>
                        <a:rPr lang="en-GB" sz="900" b="1" kern="1200" dirty="0">
                          <a:solidFill>
                            <a:schemeClr val="tx2"/>
                          </a:solidFill>
                          <a:latin typeface="Arial" charset="0"/>
                          <a:ea typeface="+mn-ea"/>
                          <a:cs typeface="+mn-cs"/>
                        </a:rPr>
                        <a:t>: Road to Le Mans 09/06 15:33 &amp; 24h du Mans 18/06 07:06</a:t>
                      </a: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817426768"/>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dk1"/>
                          </a:solidFill>
                          <a:latin typeface="+mn-lt"/>
                          <a:ea typeface="+mn-ea"/>
                          <a:cs typeface="+mn-cs"/>
                        </a:rPr>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New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dirty="0">
                          <a:solidFill>
                            <a:schemeClr val="accent2">
                              <a:lumMod val="75000"/>
                            </a:schemeClr>
                          </a:solidFill>
                          <a:latin typeface="Arial" charset="0"/>
                        </a:rPr>
                        <a:t>News Acces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3783090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dk1"/>
                          </a:solidFill>
                          <a:latin typeface="+mn-lt"/>
                          <a:ea typeface="+mn-ea"/>
                          <a:cs typeface="+mn-cs"/>
                        </a:rPr>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New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dirty="0">
                          <a:solidFill>
                            <a:schemeClr val="accent2">
                              <a:lumMod val="75000"/>
                            </a:schemeClr>
                          </a:solidFill>
                          <a:latin typeface="Arial" charset="0"/>
                        </a:rPr>
                        <a:t>News Acces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34429622"/>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019599" y="1316361"/>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3" name="Picture 2">
            <a:extLst>
              <a:ext uri="{FF2B5EF4-FFF2-40B4-BE49-F238E27FC236}">
                <a16:creationId xmlns:a16="http://schemas.microsoft.com/office/drawing/2014/main" id="{5B867C61-31C8-4DF9-BEF1-99C35D12D8E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9254" y="1679612"/>
            <a:ext cx="694354" cy="304831"/>
          </a:xfrm>
          <a:prstGeom prst="rect">
            <a:avLst/>
          </a:prstGeom>
          <a:solidFill>
            <a:schemeClr val="bg1"/>
          </a:solidFill>
          <a:ln w="9525">
            <a:solidFill>
              <a:schemeClr val="tx1"/>
            </a:solidFill>
            <a:miter lim="800000"/>
            <a:headEnd/>
            <a:tailEnd/>
          </a:ln>
        </p:spPr>
      </p:pic>
      <p:pic>
        <p:nvPicPr>
          <p:cNvPr id="11" name="Picture 30">
            <a:extLst>
              <a:ext uri="{FF2B5EF4-FFF2-40B4-BE49-F238E27FC236}">
                <a16:creationId xmlns:a16="http://schemas.microsoft.com/office/drawing/2014/main" id="{8350C993-0FE6-4F4F-AF93-A86739D74A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5376" y="3174659"/>
            <a:ext cx="1159516" cy="158916"/>
          </a:xfrm>
          <a:prstGeom prst="rect">
            <a:avLst/>
          </a:prstGeom>
          <a:solidFill>
            <a:schemeClr val="bg1"/>
          </a:solidFill>
          <a:ln>
            <a:noFill/>
          </a:ln>
          <a:extLst>
            <a:ext uri="{91240B29-F687-4F45-9708-019B960494DF}">
              <a14:hiddenLine xmlns:a14="http://schemas.microsoft.com/office/drawing/2010/main" w="9525">
                <a:solidFill>
                  <a:schemeClr val="tx1"/>
                </a:solidFill>
                <a:miter lim="800000"/>
                <a:headEnd/>
                <a:tailEnd/>
              </a14:hiddenLine>
            </a:ext>
          </a:extLst>
        </p:spPr>
      </p:pic>
      <p:pic>
        <p:nvPicPr>
          <p:cNvPr id="14" name="Picture 623" descr="Saudi Sports Company - Wikipedia">
            <a:extLst>
              <a:ext uri="{FF2B5EF4-FFF2-40B4-BE49-F238E27FC236}">
                <a16:creationId xmlns:a16="http://schemas.microsoft.com/office/drawing/2014/main" id="{3C0E4C5D-C8EF-4207-B0E2-BDF5AD93D11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4164" b="31031"/>
          <a:stretch/>
        </p:blipFill>
        <p:spPr bwMode="auto">
          <a:xfrm>
            <a:off x="625725" y="2288039"/>
            <a:ext cx="798818" cy="25357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C4B7650-24C0-5093-F71D-AD6C57137D05}"/>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30723" y="3966622"/>
            <a:ext cx="388822" cy="388822"/>
          </a:xfrm>
          <a:prstGeom prst="rect">
            <a:avLst/>
          </a:prstGeom>
          <a:noFill/>
          <a:ln>
            <a:noFill/>
          </a:ln>
        </p:spPr>
      </p:pic>
      <p:pic>
        <p:nvPicPr>
          <p:cNvPr id="7" name="Picture 6">
            <a:extLst>
              <a:ext uri="{FF2B5EF4-FFF2-40B4-BE49-F238E27FC236}">
                <a16:creationId xmlns:a16="http://schemas.microsoft.com/office/drawing/2014/main" id="{FA63EC4B-28F2-7946-50EE-71655B6D2533}"/>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6388" y="4583496"/>
            <a:ext cx="577492" cy="320847"/>
          </a:xfrm>
          <a:prstGeom prst="rect">
            <a:avLst/>
          </a:prstGeom>
          <a:noFill/>
          <a:ln>
            <a:noFill/>
          </a:ln>
        </p:spPr>
      </p:pic>
    </p:spTree>
    <p:extLst>
      <p:ext uri="{BB962C8B-B14F-4D97-AF65-F5344CB8AC3E}">
        <p14:creationId xmlns:p14="http://schemas.microsoft.com/office/powerpoint/2010/main" val="39026522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Online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2</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1427163591"/>
              </p:ext>
            </p:extLst>
          </p:nvPr>
        </p:nvGraphicFramePr>
        <p:xfrm>
          <a:off x="412315" y="1247612"/>
          <a:ext cx="8463619" cy="3060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Austr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Belgium</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26994600"/>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Denmark</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335104177"/>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Franc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on </a:t>
                      </a:r>
                      <a:r>
                        <a:rPr lang="fr-FR" sz="900" b="1" kern="1200" dirty="0">
                          <a:solidFill>
                            <a:schemeClr val="tx2"/>
                          </a:solidFill>
                          <a:latin typeface="Arial" charset="0"/>
                          <a:ea typeface="+mn-ea"/>
                          <a:cs typeface="+mn-cs"/>
                        </a:rPr>
                        <a:t>lequipe.fr: </a:t>
                      </a:r>
                      <a:r>
                        <a:rPr lang="en-GB" sz="900" b="1" kern="1200" dirty="0">
                          <a:solidFill>
                            <a:schemeClr val="tx2"/>
                          </a:solidFill>
                          <a:latin typeface="Arial" charset="0"/>
                          <a:ea typeface="+mn-ea"/>
                          <a:cs typeface="+mn-cs"/>
                        </a:rPr>
                        <a:t>Part 1: 16:00-20:57 / </a:t>
                      </a:r>
                      <a:br>
                        <a:rPr lang="en-GB" sz="900" b="1" kern="1200" dirty="0">
                          <a:solidFill>
                            <a:schemeClr val="tx2"/>
                          </a:solidFill>
                          <a:latin typeface="Arial" charset="0"/>
                          <a:ea typeface="+mn-ea"/>
                          <a:cs typeface="+mn-cs"/>
                        </a:rPr>
                      </a:br>
                      <a:r>
                        <a:rPr lang="en-GB" sz="900" b="1" kern="1200" dirty="0">
                          <a:solidFill>
                            <a:schemeClr val="tx2"/>
                          </a:solidFill>
                          <a:latin typeface="Arial" charset="0"/>
                          <a:ea typeface="+mn-ea"/>
                          <a:cs typeface="+mn-cs"/>
                        </a:rPr>
                        <a:t>Part 2: 22:53-01:30 / Part 3: 5:00-16:00</a:t>
                      </a:r>
                      <a:endParaRPr lang="en-GB" sz="900" b="1" dirty="0">
                        <a:solidFill>
                          <a:schemeClr val="accent2">
                            <a:lumMod val="75000"/>
                          </a:schemeClr>
                        </a:solidFill>
                        <a:latin typeface="Arial"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85143989"/>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Fin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667546793"/>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9" name="Picture 825">
            <a:extLst>
              <a:ext uri="{FF2B5EF4-FFF2-40B4-BE49-F238E27FC236}">
                <a16:creationId xmlns:a16="http://schemas.microsoft.com/office/drawing/2014/main" id="{32B5A67B-04F0-4D4F-ACE4-CA724E396D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0816" y="1753700"/>
            <a:ext cx="983009" cy="16912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48F07459-2666-4E6E-8731-CF438FFD04F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5795" y="2202466"/>
            <a:ext cx="719778" cy="404299"/>
          </a:xfrm>
          <a:prstGeom prst="rect">
            <a:avLst/>
          </a:prstGeom>
          <a:solidFill>
            <a:schemeClr val="bg1"/>
          </a:solidFill>
        </p:spPr>
      </p:pic>
      <p:pic>
        <p:nvPicPr>
          <p:cNvPr id="33" name="Picture 120">
            <a:extLst>
              <a:ext uri="{FF2B5EF4-FFF2-40B4-BE49-F238E27FC236}">
                <a16:creationId xmlns:a16="http://schemas.microsoft.com/office/drawing/2014/main" id="{EB71F428-FB12-4163-87A8-041FA5D281C5}"/>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469626" y="3404336"/>
            <a:ext cx="1145388" cy="170942"/>
          </a:xfrm>
          <a:prstGeom prst="rect">
            <a:avLst/>
          </a:prstGeom>
          <a:solidFill>
            <a:schemeClr val="bg1"/>
          </a:solidFill>
          <a:ln>
            <a:noFill/>
          </a:ln>
          <a:extLst>
            <a:ext uri="{91240B29-F687-4F45-9708-019B960494DF}">
              <a14:hiddenLine xmlns:a14="http://schemas.microsoft.com/office/drawing/2010/main" w="9525">
                <a:solidFill>
                  <a:schemeClr val="tx1"/>
                </a:solidFill>
                <a:miter lim="800000"/>
                <a:headEnd/>
                <a:tailEnd/>
              </a14:hiddenLine>
            </a:ext>
          </a:extLst>
        </p:spPr>
      </p:pic>
      <p:pic>
        <p:nvPicPr>
          <p:cNvPr id="53250" name="Picture 2" descr="C More Entertainment - Wikiwand">
            <a:extLst>
              <a:ext uri="{FF2B5EF4-FFF2-40B4-BE49-F238E27FC236}">
                <a16:creationId xmlns:a16="http://schemas.microsoft.com/office/drawing/2014/main" id="{AC543214-2CD6-4D4A-9CD5-78720D40D7A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1733" t="25384" r="12267" b="29829"/>
          <a:stretch/>
        </p:blipFill>
        <p:spPr bwMode="auto">
          <a:xfrm>
            <a:off x="552089" y="3918660"/>
            <a:ext cx="993758" cy="22839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Logo&#10;&#10;Description automatically generated">
            <a:extLst>
              <a:ext uri="{FF2B5EF4-FFF2-40B4-BE49-F238E27FC236}">
                <a16:creationId xmlns:a16="http://schemas.microsoft.com/office/drawing/2014/main" id="{F95B6A1E-B9D0-D203-EF17-38C1D70D47D7}"/>
              </a:ext>
            </a:extLst>
          </p:cNvPr>
          <p:cNvPicPr>
            <a:picLocks noChangeAspect="1"/>
          </p:cNvPicPr>
          <p:nvPr/>
        </p:nvPicPr>
        <p:blipFill>
          <a:blip r:embed="rId6"/>
          <a:stretch>
            <a:fillRect/>
          </a:stretch>
        </p:blipFill>
        <p:spPr>
          <a:xfrm>
            <a:off x="809182" y="2754663"/>
            <a:ext cx="390968" cy="390968"/>
          </a:xfrm>
          <a:prstGeom prst="rect">
            <a:avLst/>
          </a:prstGeom>
        </p:spPr>
      </p:pic>
    </p:spTree>
    <p:extLst>
      <p:ext uri="{BB962C8B-B14F-4D97-AF65-F5344CB8AC3E}">
        <p14:creationId xmlns:p14="http://schemas.microsoft.com/office/powerpoint/2010/main" val="38149264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Online Broadcasters - Europe</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3</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1810186489"/>
              </p:ext>
            </p:extLst>
          </p:nvPr>
        </p:nvGraphicFramePr>
        <p:xfrm>
          <a:off x="412315" y="1247612"/>
          <a:ext cx="8463619" cy="2016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German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56503568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German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Netherlands &amp; Luxembourg</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9" name="Picture 608">
            <a:extLst>
              <a:ext uri="{FF2B5EF4-FFF2-40B4-BE49-F238E27FC236}">
                <a16:creationId xmlns:a16="http://schemas.microsoft.com/office/drawing/2014/main" id="{A004BE1C-FC2D-4065-B021-480ECFB2E1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0729" y="2880566"/>
            <a:ext cx="1127171" cy="263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8">
            <a:extLst>
              <a:ext uri="{FF2B5EF4-FFF2-40B4-BE49-F238E27FC236}">
                <a16:creationId xmlns:a16="http://schemas.microsoft.com/office/drawing/2014/main" id="{4F82E974-2729-460F-8B4D-CCBDE0E89DEC}"/>
              </a:ext>
            </a:extLst>
          </p:cNvPr>
          <p:cNvPicPr>
            <a:picLocks noChangeAspect="1"/>
          </p:cNvPicPr>
          <p:nvPr/>
        </p:nvPicPr>
        <p:blipFill>
          <a:blip r:embed="rId3"/>
          <a:stretch>
            <a:fillRect/>
          </a:stretch>
        </p:blipFill>
        <p:spPr>
          <a:xfrm>
            <a:off x="452374" y="2311132"/>
            <a:ext cx="1175526" cy="226753"/>
          </a:xfrm>
          <a:prstGeom prst="rect">
            <a:avLst/>
          </a:prstGeom>
        </p:spPr>
      </p:pic>
      <p:pic>
        <p:nvPicPr>
          <p:cNvPr id="15" name="Picture 158" descr="RTL+ Angebote - JETZT: 1 Monat kostenlos - PREMIUM 4,99€">
            <a:extLst>
              <a:ext uri="{FF2B5EF4-FFF2-40B4-BE49-F238E27FC236}">
                <a16:creationId xmlns:a16="http://schemas.microsoft.com/office/drawing/2014/main" id="{770F8BCA-1F61-4E9D-A1D2-B01838ACDF6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280" r="2996" b="51150"/>
          <a:stretch/>
        </p:blipFill>
        <p:spPr bwMode="auto">
          <a:xfrm>
            <a:off x="435919" y="1743193"/>
            <a:ext cx="1208436" cy="200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48085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Online Broadcasters - Asia-Pacific</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4</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3078515052"/>
              </p:ext>
            </p:extLst>
          </p:nvPr>
        </p:nvGraphicFramePr>
        <p:xfrm>
          <a:off x="412315" y="1247612"/>
          <a:ext cx="8463619" cy="3708000"/>
        </p:xfrm>
        <a:graphic>
          <a:graphicData uri="http://schemas.openxmlformats.org/drawingml/2006/table">
            <a:tbl>
              <a:tblPr firstRow="1" bandRow="1">
                <a:tableStyleId>{5C22544A-7EE6-4342-B048-85BDC9FD1C3A}</a:tableStyleId>
              </a:tblPr>
              <a:tblGrid>
                <a:gridCol w="1247152">
                  <a:extLst>
                    <a:ext uri="{9D8B030D-6E8A-4147-A177-3AD203B41FA5}">
                      <a16:colId xmlns:a16="http://schemas.microsoft.com/office/drawing/2014/main" val="1171426331"/>
                    </a:ext>
                  </a:extLst>
                </a:gridCol>
                <a:gridCol w="1636467">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Austral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ree Practice and Qualification Live</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00:00 (11/06) on Stan Sport, plus re-runs</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06/06 10:00 on Stan Spor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56503568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Chin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21:45-22:30 (CST) on </a:t>
                      </a:r>
                      <a:r>
                        <a:rPr lang="en-GB" sz="900" b="1" kern="1200" dirty="0" err="1">
                          <a:solidFill>
                            <a:schemeClr val="tx2"/>
                          </a:solidFill>
                          <a:latin typeface="Arial" charset="0"/>
                          <a:ea typeface="+mn-ea"/>
                          <a:cs typeface="+mn-cs"/>
                        </a:rPr>
                        <a:t>Douyin</a:t>
                      </a:r>
                      <a:r>
                        <a:rPr lang="en-GB" sz="900" b="1" kern="1200" dirty="0">
                          <a:solidFill>
                            <a:schemeClr val="tx2"/>
                          </a:solidFill>
                          <a:latin typeface="Arial" charset="0"/>
                          <a:ea typeface="+mn-ea"/>
                          <a:cs typeface="+mn-cs"/>
                        </a:rPr>
                        <a:t>:</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He Xin Motorsports, 24h Sports, </a:t>
                      </a:r>
                      <a:r>
                        <a:rPr lang="en-GB" sz="900" b="1" kern="1200" dirty="0" err="1">
                          <a:solidFill>
                            <a:schemeClr val="tx2"/>
                          </a:solidFill>
                          <a:latin typeface="Arial" charset="0"/>
                          <a:ea typeface="+mn-ea"/>
                          <a:cs typeface="+mn-cs"/>
                        </a:rPr>
                        <a:t>Douyintiyu</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on </a:t>
                      </a:r>
                      <a:r>
                        <a:rPr lang="en-GB" sz="900" b="1" kern="1200" dirty="0" err="1">
                          <a:solidFill>
                            <a:schemeClr val="accent6"/>
                          </a:solidFill>
                          <a:latin typeface="Arial" charset="0"/>
                          <a:ea typeface="+mn-ea"/>
                          <a:cs typeface="+mn-cs"/>
                        </a:rPr>
                        <a:t>Douyin</a:t>
                      </a:r>
                      <a:r>
                        <a:rPr lang="en-GB" sz="900" b="1" kern="1200" dirty="0">
                          <a:solidFill>
                            <a:schemeClr val="accent6"/>
                          </a:solidFill>
                          <a:latin typeface="Arial" charset="0"/>
                          <a:ea typeface="+mn-ea"/>
                          <a:cs typeface="+mn-cs"/>
                        </a:rPr>
                        <a:t> 24 Sports (date tb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Chin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21:45-22:30 on </a:t>
                      </a:r>
                      <a:r>
                        <a:rPr lang="en-GB" sz="900" b="1" kern="1200" dirty="0" err="1">
                          <a:solidFill>
                            <a:schemeClr val="tx2"/>
                          </a:solidFill>
                          <a:latin typeface="Arial" charset="0"/>
                          <a:ea typeface="+mn-ea"/>
                          <a:cs typeface="+mn-cs"/>
                        </a:rPr>
                        <a:t>Wechat</a:t>
                      </a:r>
                      <a:r>
                        <a:rPr lang="en-GB" sz="900" b="1" kern="1200" dirty="0">
                          <a:solidFill>
                            <a:schemeClr val="tx2"/>
                          </a:solidFill>
                          <a:latin typeface="Arial" charset="0"/>
                          <a:ea typeface="+mn-ea"/>
                          <a:cs typeface="+mn-cs"/>
                        </a:rPr>
                        <a:t> and </a:t>
                      </a:r>
                      <a:br>
                        <a:rPr lang="en-GB" sz="900" b="1" kern="1200" dirty="0">
                          <a:solidFill>
                            <a:schemeClr val="tx2"/>
                          </a:solidFill>
                          <a:latin typeface="Arial" charset="0"/>
                          <a:ea typeface="+mn-ea"/>
                          <a:cs typeface="+mn-cs"/>
                        </a:rPr>
                      </a:br>
                      <a:r>
                        <a:rPr lang="en-GB" sz="900" b="1" kern="1200" dirty="0">
                          <a:solidFill>
                            <a:schemeClr val="tx2"/>
                          </a:solidFill>
                          <a:latin typeface="Arial" charset="0"/>
                          <a:ea typeface="+mn-ea"/>
                          <a:cs typeface="+mn-cs"/>
                        </a:rPr>
                        <a:t>Weibo (Porsche Chin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370483551"/>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Chin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21:45-22:30 on Porsche China’s social media platforms (</a:t>
                      </a:r>
                      <a:r>
                        <a:rPr lang="en-GB" sz="900" b="1" kern="1200" dirty="0" err="1">
                          <a:solidFill>
                            <a:schemeClr val="tx2"/>
                          </a:solidFill>
                          <a:latin typeface="Arial" charset="0"/>
                          <a:ea typeface="+mn-ea"/>
                          <a:cs typeface="+mn-cs"/>
                        </a:rPr>
                        <a:t>Douyin</a:t>
                      </a:r>
                      <a:r>
                        <a:rPr lang="en-GB" sz="900" b="1" kern="1200" dirty="0">
                          <a:solidFill>
                            <a:schemeClr val="tx2"/>
                          </a:solidFill>
                          <a:latin typeface="Arial" charset="0"/>
                          <a:ea typeface="+mn-ea"/>
                          <a:cs typeface="+mn-cs"/>
                        </a:rPr>
                        <a:t>, WeChat, Weibo)</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642873318"/>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Indones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Japa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on J Sports On Demand 22:40-00:00 JST</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 24/06 22:15-23:15 on J Sports On Demand</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16768237"/>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32" name="Picture 484" descr="KUY Entertainment - YouTube">
            <a:extLst>
              <a:ext uri="{FF2B5EF4-FFF2-40B4-BE49-F238E27FC236}">
                <a16:creationId xmlns:a16="http://schemas.microsoft.com/office/drawing/2014/main" id="{D6D357BE-68D6-42DA-B597-0C5D6AABBE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5866" t="21002" r="16211" b="22551"/>
          <a:stretch>
            <a:fillRect/>
          </a:stretch>
        </p:blipFill>
        <p:spPr bwMode="auto">
          <a:xfrm>
            <a:off x="860678" y="3933498"/>
            <a:ext cx="354671" cy="294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2BB4130B-D478-421F-AB89-F9AFEC78D6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5383" y="4580098"/>
            <a:ext cx="769703" cy="274784"/>
          </a:xfrm>
          <a:prstGeom prst="rect">
            <a:avLst/>
          </a:prstGeom>
        </p:spPr>
      </p:pic>
      <p:pic>
        <p:nvPicPr>
          <p:cNvPr id="22" name="Picture 21">
            <a:extLst>
              <a:ext uri="{FF2B5EF4-FFF2-40B4-BE49-F238E27FC236}">
                <a16:creationId xmlns:a16="http://schemas.microsoft.com/office/drawing/2014/main" id="{6AF40DFA-C132-4EE6-8D74-177BC66C993D}"/>
              </a:ext>
            </a:extLst>
          </p:cNvPr>
          <p:cNvPicPr>
            <a:picLocks noChangeAspect="1"/>
          </p:cNvPicPr>
          <p:nvPr/>
        </p:nvPicPr>
        <p:blipFill>
          <a:blip r:embed="rId4"/>
          <a:stretch>
            <a:fillRect/>
          </a:stretch>
        </p:blipFill>
        <p:spPr>
          <a:xfrm>
            <a:off x="747086" y="1617882"/>
            <a:ext cx="648000" cy="364500"/>
          </a:xfrm>
          <a:prstGeom prst="rect">
            <a:avLst/>
          </a:prstGeom>
        </p:spPr>
      </p:pic>
      <p:pic>
        <p:nvPicPr>
          <p:cNvPr id="15" name="Picture 2" descr="DOUYIN: The new Chinese propaganda machine – Mass Media and Culture">
            <a:extLst>
              <a:ext uri="{FF2B5EF4-FFF2-40B4-BE49-F238E27FC236}">
                <a16:creationId xmlns:a16="http://schemas.microsoft.com/office/drawing/2014/main" id="{F433059F-8B07-4EE8-8455-319B74A019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3243" t="32722" r="12581" b="32398"/>
          <a:stretch/>
        </p:blipFill>
        <p:spPr bwMode="auto">
          <a:xfrm>
            <a:off x="747086" y="2224487"/>
            <a:ext cx="585698" cy="275414"/>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88CDBB75-62E3-4394-9244-A06B49AEAE1F}"/>
              </a:ext>
            </a:extLst>
          </p:cNvPr>
          <p:cNvSpPr txBox="1"/>
          <p:nvPr/>
        </p:nvSpPr>
        <p:spPr>
          <a:xfrm>
            <a:off x="886871" y="2540725"/>
            <a:ext cx="354672" cy="107722"/>
          </a:xfrm>
          <a:prstGeom prst="rect">
            <a:avLst/>
          </a:prstGeom>
          <a:noFill/>
        </p:spPr>
        <p:txBody>
          <a:bodyPr wrap="square" lIns="0" tIns="0" rIns="0" bIns="0" rtlCol="0">
            <a:spAutoFit/>
          </a:bodyPr>
          <a:lstStyle/>
          <a:p>
            <a:pPr algn="l"/>
            <a:r>
              <a:rPr lang="en-GB" sz="700" dirty="0" err="1">
                <a:solidFill>
                  <a:schemeClr val="tx1"/>
                </a:solidFill>
                <a:latin typeface="Arial" charset="0"/>
              </a:rPr>
              <a:t>Douyin</a:t>
            </a:r>
            <a:endParaRPr lang="en-GB" sz="1100" b="1" dirty="0"/>
          </a:p>
        </p:txBody>
      </p:sp>
      <p:pic>
        <p:nvPicPr>
          <p:cNvPr id="1026" name="Picture 2" descr="Porsche Logo and symbol, meaning, history, PNG, brand">
            <a:extLst>
              <a:ext uri="{FF2B5EF4-FFF2-40B4-BE49-F238E27FC236}">
                <a16:creationId xmlns:a16="http://schemas.microsoft.com/office/drawing/2014/main" id="{031D7D2E-DFAB-2EAF-4DF9-B50CEF8180F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6418" y="3325993"/>
            <a:ext cx="673076" cy="37692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A7F3876E-0D70-F7EF-360B-A5BE8ACB58FD}"/>
              </a:ext>
            </a:extLst>
          </p:cNvPr>
          <p:cNvSpPr txBox="1"/>
          <p:nvPr/>
        </p:nvSpPr>
        <p:spPr>
          <a:xfrm>
            <a:off x="625383" y="4256097"/>
            <a:ext cx="788020" cy="107722"/>
          </a:xfrm>
          <a:prstGeom prst="rect">
            <a:avLst/>
          </a:prstGeom>
          <a:noFill/>
        </p:spPr>
        <p:txBody>
          <a:bodyPr wrap="square" lIns="0" tIns="0" rIns="0" bIns="0" rtlCol="0">
            <a:spAutoFit/>
          </a:bodyPr>
          <a:lstStyle/>
          <a:p>
            <a:pPr algn="l"/>
            <a:r>
              <a:rPr lang="en-GB" sz="700" dirty="0">
                <a:solidFill>
                  <a:schemeClr val="tx1"/>
                </a:solidFill>
                <a:latin typeface="Arial" charset="0"/>
              </a:rPr>
              <a:t>KUY Entertainment</a:t>
            </a:r>
            <a:endParaRPr lang="en-GB" sz="1100" b="1" dirty="0"/>
          </a:p>
        </p:txBody>
      </p:sp>
      <p:sp>
        <p:nvSpPr>
          <p:cNvPr id="9" name="TextBox 8">
            <a:extLst>
              <a:ext uri="{FF2B5EF4-FFF2-40B4-BE49-F238E27FC236}">
                <a16:creationId xmlns:a16="http://schemas.microsoft.com/office/drawing/2014/main" id="{DB48A6B9-614D-0BDB-FCF0-4B05BF644286}"/>
              </a:ext>
            </a:extLst>
          </p:cNvPr>
          <p:cNvSpPr txBox="1"/>
          <p:nvPr/>
        </p:nvSpPr>
        <p:spPr>
          <a:xfrm>
            <a:off x="595538" y="3717229"/>
            <a:ext cx="788020" cy="107722"/>
          </a:xfrm>
          <a:prstGeom prst="rect">
            <a:avLst/>
          </a:prstGeom>
          <a:noFill/>
        </p:spPr>
        <p:txBody>
          <a:bodyPr wrap="square" lIns="0" tIns="0" rIns="0" bIns="0" rtlCol="0">
            <a:spAutoFit/>
          </a:bodyPr>
          <a:lstStyle/>
          <a:p>
            <a:pPr algn="ctr"/>
            <a:r>
              <a:rPr lang="en-GB" sz="700" dirty="0">
                <a:latin typeface="Arial" charset="0"/>
              </a:rPr>
              <a:t>Porsche China</a:t>
            </a:r>
            <a:endParaRPr lang="en-GB" sz="1100" dirty="0"/>
          </a:p>
        </p:txBody>
      </p:sp>
      <p:pic>
        <p:nvPicPr>
          <p:cNvPr id="10" name="Picture 2" descr="Weibo SVG Vector Logos - Vector Logo Zone">
            <a:extLst>
              <a:ext uri="{FF2B5EF4-FFF2-40B4-BE49-F238E27FC236}">
                <a16:creationId xmlns:a16="http://schemas.microsoft.com/office/drawing/2014/main" id="{B54A6B8A-9B4D-85BD-D6A6-F8D6C170617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8887" y="2822930"/>
            <a:ext cx="695002" cy="34750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Wechat Logo PNG Vector (AI) Free Download">
            <a:extLst>
              <a:ext uri="{FF2B5EF4-FFF2-40B4-BE49-F238E27FC236}">
                <a16:creationId xmlns:a16="http://schemas.microsoft.com/office/drawing/2014/main" id="{002F511E-292A-6B19-5A5E-020DA4B51CB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0940" y="2822930"/>
            <a:ext cx="349738" cy="3497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0116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Online Broadcasters – Pan-regional</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5</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630088062"/>
              </p:ext>
            </p:extLst>
          </p:nvPr>
        </p:nvGraphicFramePr>
        <p:xfrm>
          <a:off x="412315" y="1247612"/>
          <a:ext cx="8463619" cy="380808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kern="1200" dirty="0">
                          <a:solidFill>
                            <a:schemeClr val="tx1"/>
                          </a:solidFill>
                          <a:latin typeface="Arial" charset="0"/>
                          <a:ea typeface="+mn-ea"/>
                          <a:cs typeface="+mn-cs"/>
                        </a:rPr>
                        <a:t>Canada &amp; US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ree Practice, Qualifying, </a:t>
                      </a:r>
                      <a:r>
                        <a:rPr lang="en-GB" sz="900" b="1" kern="1200" dirty="0" err="1">
                          <a:solidFill>
                            <a:schemeClr val="tx2"/>
                          </a:solidFill>
                          <a:latin typeface="Arial" charset="0"/>
                          <a:ea typeface="+mn-ea"/>
                          <a:cs typeface="+mn-cs"/>
                        </a:rPr>
                        <a:t>Hyperpole</a:t>
                      </a:r>
                      <a:r>
                        <a:rPr lang="en-GB" sz="900" b="1" kern="1200" dirty="0">
                          <a:solidFill>
                            <a:schemeClr val="tx2"/>
                          </a:solidFill>
                          <a:latin typeface="Arial" charset="0"/>
                          <a:ea typeface="+mn-ea"/>
                          <a:cs typeface="+mn-cs"/>
                        </a:rPr>
                        <a:t>, </a:t>
                      </a:r>
                      <a:r>
                        <a:rPr lang="en-GB" sz="900" b="1" kern="1200" dirty="0" err="1">
                          <a:solidFill>
                            <a:schemeClr val="tx2"/>
                          </a:solidFill>
                          <a:latin typeface="Arial" charset="0"/>
                          <a:ea typeface="+mn-ea"/>
                          <a:cs typeface="+mn-cs"/>
                        </a:rPr>
                        <a:t>WarmUp</a:t>
                      </a:r>
                      <a:endParaRPr lang="en-GB" sz="900" b="1" kern="1200" dirty="0">
                        <a:solidFill>
                          <a:schemeClr val="tx2"/>
                        </a:solidFill>
                        <a:latin typeface="Arial"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15:00 (10/06) – 17:00 (11/06)</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online </a:t>
                      </a:r>
                      <a:r>
                        <a:rPr lang="en-GB" sz="900" b="1" kern="1200" dirty="0" err="1">
                          <a:solidFill>
                            <a:schemeClr val="accent6"/>
                          </a:solidFill>
                          <a:latin typeface="Arial" charset="0"/>
                          <a:ea typeface="+mn-ea"/>
                          <a:cs typeface="+mn-cs"/>
                        </a:rPr>
                        <a:t>avaialble</a:t>
                      </a: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47307987"/>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France, Spain, Romania, other Pan-European and Pan-Asian Territorie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ree Practice, Qualifying, </a:t>
                      </a:r>
                      <a:r>
                        <a:rPr lang="en-GB" sz="900" b="1" kern="1200" dirty="0" err="1">
                          <a:solidFill>
                            <a:schemeClr val="tx2"/>
                          </a:solidFill>
                          <a:latin typeface="Arial" charset="0"/>
                          <a:ea typeface="+mn-ea"/>
                          <a:cs typeface="+mn-cs"/>
                        </a:rPr>
                        <a:t>Hyperpole</a:t>
                      </a:r>
                      <a:r>
                        <a:rPr lang="en-GB" sz="900" b="1" kern="1200" dirty="0">
                          <a:solidFill>
                            <a:schemeClr val="tx2"/>
                          </a:solidFill>
                          <a:latin typeface="Arial" charset="0"/>
                          <a:ea typeface="+mn-ea"/>
                          <a:cs typeface="+mn-cs"/>
                        </a:rPr>
                        <a:t>, Warm Up partially live Race live 14:30 (10/06) – 17:00 (11/06)</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3/06 21:00 on Eurosport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55461762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kern="1200" dirty="0">
                          <a:solidFill>
                            <a:schemeClr val="dk1"/>
                          </a:solidFill>
                          <a:latin typeface="+mn-lt"/>
                          <a:ea typeface="+mn-ea"/>
                          <a:cs typeface="+mn-cs"/>
                        </a:rPr>
                        <a:t>Po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06983367"/>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900" kern="1200" dirty="0">
                          <a:solidFill>
                            <a:schemeClr val="dk1"/>
                          </a:solidFill>
                          <a:latin typeface="+mn-lt"/>
                          <a:ea typeface="+mn-ea"/>
                          <a:cs typeface="+mn-cs"/>
                        </a:rPr>
                        <a:t>United Kingdom, Germany, </a:t>
                      </a:r>
                      <a:r>
                        <a:rPr lang="it-IT" sz="900" kern="1200" dirty="0" err="1">
                          <a:solidFill>
                            <a:schemeClr val="dk1"/>
                          </a:solidFill>
                          <a:latin typeface="+mn-lt"/>
                          <a:ea typeface="+mn-ea"/>
                          <a:cs typeface="+mn-cs"/>
                        </a:rPr>
                        <a:t>Denmark</a:t>
                      </a:r>
                      <a:r>
                        <a:rPr lang="it-IT" sz="900" kern="1200" dirty="0">
                          <a:solidFill>
                            <a:schemeClr val="dk1"/>
                          </a:solidFill>
                          <a:latin typeface="+mn-lt"/>
                          <a:ea typeface="+mn-ea"/>
                          <a:cs typeface="+mn-cs"/>
                        </a:rPr>
                        <a:t>, Sweden, </a:t>
                      </a:r>
                      <a:r>
                        <a:rPr lang="it-IT" sz="900" kern="1200" dirty="0" err="1">
                          <a:solidFill>
                            <a:schemeClr val="dk1"/>
                          </a:solidFill>
                          <a:latin typeface="+mn-lt"/>
                          <a:ea typeface="+mn-ea"/>
                          <a:cs typeface="+mn-cs"/>
                        </a:rPr>
                        <a:t>Norway</a:t>
                      </a:r>
                      <a:r>
                        <a:rPr lang="it-IT" sz="900" kern="1200" dirty="0">
                          <a:solidFill>
                            <a:schemeClr val="dk1"/>
                          </a:solidFill>
                          <a:latin typeface="+mn-lt"/>
                          <a:ea typeface="+mn-ea"/>
                          <a:cs typeface="+mn-cs"/>
                        </a:rPr>
                        <a:t>, </a:t>
                      </a:r>
                      <a:r>
                        <a:rPr lang="it-IT" sz="900" kern="1200" dirty="0" err="1">
                          <a:solidFill>
                            <a:schemeClr val="dk1"/>
                          </a:solidFill>
                          <a:latin typeface="+mn-lt"/>
                          <a:ea typeface="+mn-ea"/>
                          <a:cs typeface="+mn-cs"/>
                        </a:rPr>
                        <a:t>Finland</a:t>
                      </a:r>
                      <a:r>
                        <a:rPr lang="it-IT" sz="900" kern="1200" dirty="0">
                          <a:solidFill>
                            <a:schemeClr val="dk1"/>
                          </a:solidFill>
                          <a:latin typeface="+mn-lt"/>
                          <a:ea typeface="+mn-ea"/>
                          <a:cs typeface="+mn-cs"/>
                        </a:rPr>
                        <a:t>, Netherlands, </a:t>
                      </a:r>
                      <a:r>
                        <a:rPr lang="it-IT" sz="900" kern="1200" dirty="0" err="1">
                          <a:solidFill>
                            <a:schemeClr val="dk1"/>
                          </a:solidFill>
                          <a:latin typeface="+mn-lt"/>
                          <a:ea typeface="+mn-ea"/>
                          <a:cs typeface="+mn-cs"/>
                        </a:rPr>
                        <a:t>Italy</a:t>
                      </a:r>
                      <a:r>
                        <a:rPr lang="it-IT" sz="900" kern="1200" dirty="0">
                          <a:solidFill>
                            <a:schemeClr val="dk1"/>
                          </a:solidFill>
                          <a:latin typeface="+mn-lt"/>
                          <a:ea typeface="+mn-ea"/>
                          <a:cs typeface="+mn-cs"/>
                        </a:rPr>
                        <a:t> and </a:t>
                      </a:r>
                      <a:r>
                        <a:rPr lang="it-IT" sz="900" kern="1200" dirty="0" err="1">
                          <a:solidFill>
                            <a:schemeClr val="dk1"/>
                          </a:solidFill>
                          <a:latin typeface="+mn-lt"/>
                          <a:ea typeface="+mn-ea"/>
                          <a:cs typeface="+mn-cs"/>
                        </a:rPr>
                        <a:t>Indian</a:t>
                      </a:r>
                      <a:r>
                        <a:rPr lang="it-IT" sz="900" kern="1200" dirty="0">
                          <a:solidFill>
                            <a:schemeClr val="dk1"/>
                          </a:solidFill>
                          <a:latin typeface="+mn-lt"/>
                          <a:ea typeface="+mn-ea"/>
                          <a:cs typeface="+mn-cs"/>
                        </a:rPr>
                        <a:t> </a:t>
                      </a:r>
                      <a:r>
                        <a:rPr lang="it-IT" sz="900" kern="1200" dirty="0" err="1">
                          <a:solidFill>
                            <a:schemeClr val="dk1"/>
                          </a:solidFill>
                          <a:latin typeface="+mn-lt"/>
                          <a:ea typeface="+mn-ea"/>
                          <a:cs typeface="+mn-cs"/>
                        </a:rPr>
                        <a:t>Subcontinent</a:t>
                      </a:r>
                      <a:endParaRPr lang="en-GB" sz="900" kern="1200" dirty="0">
                        <a:solidFill>
                          <a:schemeClr val="dk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ree Practice, Qualifying, </a:t>
                      </a:r>
                      <a:r>
                        <a:rPr lang="en-GB" sz="900" b="1" kern="1200" dirty="0" err="1">
                          <a:solidFill>
                            <a:schemeClr val="tx2"/>
                          </a:solidFill>
                          <a:latin typeface="Arial" charset="0"/>
                          <a:ea typeface="+mn-ea"/>
                          <a:cs typeface="+mn-cs"/>
                        </a:rPr>
                        <a:t>Hyperpole</a:t>
                      </a:r>
                      <a:r>
                        <a:rPr lang="en-GB" sz="900" b="1" kern="1200" dirty="0">
                          <a:solidFill>
                            <a:schemeClr val="tx2"/>
                          </a:solidFill>
                          <a:latin typeface="Arial" charset="0"/>
                          <a:ea typeface="+mn-ea"/>
                          <a:cs typeface="+mn-cs"/>
                        </a:rPr>
                        <a:t>, Warm Up partially live Race live 14:30 (10/06) – 17:00 (11/06)</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3/06 21:00 on Eurosport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048031735"/>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Arial" charset="0"/>
                          <a:ea typeface="+mn-ea"/>
                          <a:cs typeface="+mn-cs"/>
                        </a:rPr>
                        <a:t>Central &amp; South America Caribbean (excl. Mexico &amp; Brazi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a:t>
                      </a:r>
                      <a:r>
                        <a:rPr lang="en-GB" sz="900" b="1" kern="1200" dirty="0" err="1">
                          <a:solidFill>
                            <a:schemeClr val="tx2"/>
                          </a:solidFill>
                          <a:latin typeface="Arial" charset="0"/>
                          <a:ea typeface="+mn-ea"/>
                          <a:cs typeface="+mn-cs"/>
                        </a:rPr>
                        <a:t>Dsports</a:t>
                      </a:r>
                      <a:r>
                        <a:rPr lang="en-GB" sz="900" b="1" kern="1200" dirty="0">
                          <a:solidFill>
                            <a:schemeClr val="tx2"/>
                          </a:solidFill>
                          <a:latin typeface="Arial" charset="0"/>
                          <a:ea typeface="+mn-ea"/>
                          <a:cs typeface="+mn-cs"/>
                        </a:rPr>
                        <a:t> Motor</a:t>
                      </a: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48037329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IA WEC Official App</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available onlin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73838280"/>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20" name="Picture 19">
            <a:extLst>
              <a:ext uri="{FF2B5EF4-FFF2-40B4-BE49-F238E27FC236}">
                <a16:creationId xmlns:a16="http://schemas.microsoft.com/office/drawing/2014/main" id="{3D1533F5-9130-40F9-B6F6-E676212CF1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7650" y="4558474"/>
            <a:ext cx="431971" cy="425973"/>
          </a:xfrm>
          <a:prstGeom prst="rect">
            <a:avLst/>
          </a:prstGeom>
          <a:solidFill>
            <a:schemeClr val="bg1"/>
          </a:solidFill>
        </p:spPr>
      </p:pic>
      <p:pic>
        <p:nvPicPr>
          <p:cNvPr id="13" name="Picture 3">
            <a:extLst>
              <a:ext uri="{FF2B5EF4-FFF2-40B4-BE49-F238E27FC236}">
                <a16:creationId xmlns:a16="http://schemas.microsoft.com/office/drawing/2014/main" id="{1FE4364A-FF40-4AF1-B080-415E0386112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51" t="8424" r="1495" b="16240"/>
          <a:stretch>
            <a:fillRect/>
          </a:stretch>
        </p:blipFill>
        <p:spPr bwMode="auto">
          <a:xfrm>
            <a:off x="476249" y="1685832"/>
            <a:ext cx="1022882" cy="281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8" descr="Image result for eurosport player logo">
            <a:extLst>
              <a:ext uri="{FF2B5EF4-FFF2-40B4-BE49-F238E27FC236}">
                <a16:creationId xmlns:a16="http://schemas.microsoft.com/office/drawing/2014/main" id="{6357ECDD-3112-4C8D-B03C-E255297E329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6379" y="2312522"/>
            <a:ext cx="997498" cy="195588"/>
          </a:xfrm>
          <a:prstGeom prst="rect">
            <a:avLst/>
          </a:prstGeom>
          <a:solidFill>
            <a:schemeClr val="bg1"/>
          </a:solidFill>
        </p:spPr>
      </p:pic>
      <p:pic>
        <p:nvPicPr>
          <p:cNvPr id="52226" name="Picture 2">
            <a:extLst>
              <a:ext uri="{FF2B5EF4-FFF2-40B4-BE49-F238E27FC236}">
                <a16:creationId xmlns:a16="http://schemas.microsoft.com/office/drawing/2014/main" id="{95F2E6D1-A545-4CFF-A6FE-EA594BCA495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5491" y="3437084"/>
            <a:ext cx="1036293" cy="20851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AACEE25E-2854-04AC-C6F2-B1E171415DC4}"/>
              </a:ext>
            </a:extLst>
          </p:cNvPr>
          <p:cNvPicPr>
            <a:picLocks noChangeAspect="1"/>
          </p:cNvPicPr>
          <p:nvPr/>
        </p:nvPicPr>
        <p:blipFill>
          <a:blip r:embed="rId6"/>
          <a:stretch>
            <a:fillRect/>
          </a:stretch>
        </p:blipFill>
        <p:spPr>
          <a:xfrm>
            <a:off x="440169" y="2906787"/>
            <a:ext cx="1206935" cy="98644"/>
          </a:xfrm>
          <a:prstGeom prst="rect">
            <a:avLst/>
          </a:prstGeom>
        </p:spPr>
      </p:pic>
      <p:pic>
        <p:nvPicPr>
          <p:cNvPr id="16" name="Picture 15">
            <a:extLst>
              <a:ext uri="{FF2B5EF4-FFF2-40B4-BE49-F238E27FC236}">
                <a16:creationId xmlns:a16="http://schemas.microsoft.com/office/drawing/2014/main" id="{7485403E-BA30-98C6-CBE4-E4EE385BBE00}"/>
              </a:ext>
            </a:extLst>
          </p:cNvPr>
          <p:cNvPicPr>
            <a:picLocks noChangeAspect="1"/>
          </p:cNvPicPr>
          <p:nvPr/>
        </p:nvPicPr>
        <p:blipFill>
          <a:blip r:embed="rId7" r:link="rId8" cstate="print">
            <a:extLst>
              <a:ext uri="{28A0092B-C50C-407E-A947-70E740481C1C}">
                <a14:useLocalDpi xmlns:a14="http://schemas.microsoft.com/office/drawing/2010/main" val="0"/>
              </a:ext>
            </a:extLst>
          </a:blip>
          <a:srcRect/>
          <a:stretch>
            <a:fillRect/>
          </a:stretch>
        </p:blipFill>
        <p:spPr bwMode="auto">
          <a:xfrm>
            <a:off x="588216" y="3997240"/>
            <a:ext cx="840577" cy="354784"/>
          </a:xfrm>
          <a:prstGeom prst="rect">
            <a:avLst/>
          </a:prstGeom>
          <a:noFill/>
          <a:ln>
            <a:noFill/>
          </a:ln>
        </p:spPr>
      </p:pic>
    </p:spTree>
    <p:extLst>
      <p:ext uri="{BB962C8B-B14F-4D97-AF65-F5344CB8AC3E}">
        <p14:creationId xmlns:p14="http://schemas.microsoft.com/office/powerpoint/2010/main" val="33342408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Radio Broadcasters &amp; Other Media</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6</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2109415817"/>
              </p:ext>
            </p:extLst>
          </p:nvPr>
        </p:nvGraphicFramePr>
        <p:xfrm>
          <a:off x="412315" y="1247612"/>
          <a:ext cx="7203619" cy="3168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Radio</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kern="1200" dirty="0">
                          <a:solidFill>
                            <a:schemeClr val="tx2"/>
                          </a:solidFill>
                          <a:latin typeface="Arial" charset="0"/>
                          <a:ea typeface="+mn-ea"/>
                          <a:cs typeface="+mn-cs"/>
                        </a:rPr>
                        <a:t>Full Race Live Commentar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Clip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dirty="0">
                          <a:solidFill>
                            <a:schemeClr val="tx1"/>
                          </a:solidFill>
                        </a:rPr>
                        <a:t>Coverage in Mobil 1: The Grid distributed internationall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829254084"/>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dirty="0">
                          <a:solidFill>
                            <a:schemeClr val="tx1"/>
                          </a:solidFill>
                        </a:rPr>
                        <a:t>In-Fligh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70548425"/>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Worldwide (excl. German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2">
                              <a:lumMod val="75000"/>
                            </a:schemeClr>
                          </a:solidFill>
                          <a:latin typeface="Arial" charset="0"/>
                          <a:ea typeface="+mn-ea"/>
                          <a:cs typeface="+mn-cs"/>
                        </a:rPr>
                        <a:t>News Acces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170285476"/>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Europe (excl. German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2">
                              <a:lumMod val="75000"/>
                            </a:schemeClr>
                          </a:solidFill>
                          <a:latin typeface="Arial" charset="0"/>
                          <a:ea typeface="+mn-ea"/>
                          <a:cs typeface="+mn-cs"/>
                        </a:rPr>
                        <a:t>News Acces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248430915"/>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3517102" y="132419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1" name="Picture 192" descr="Home">
            <a:extLst>
              <a:ext uri="{FF2B5EF4-FFF2-40B4-BE49-F238E27FC236}">
                <a16:creationId xmlns:a16="http://schemas.microsoft.com/office/drawing/2014/main" id="{C1E80EFD-510A-49B3-9061-D43BD0E907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5989" y="1690818"/>
            <a:ext cx="1051795" cy="2233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2" name="Picture 16" descr="Image result for mobil 1 the grid">
            <a:extLst>
              <a:ext uri="{FF2B5EF4-FFF2-40B4-BE49-F238E27FC236}">
                <a16:creationId xmlns:a16="http://schemas.microsoft.com/office/drawing/2014/main" id="{0EB17FF1-7C51-437E-A04E-944091792F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405" y="2173166"/>
            <a:ext cx="846961" cy="455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6FE66183-876F-6A82-51B8-6809182F5CE9}"/>
              </a:ext>
            </a:extLst>
          </p:cNvPr>
          <p:cNvPicPr>
            <a:picLocks noChangeAspect="1"/>
          </p:cNvPicPr>
          <p:nvPr/>
        </p:nvPicPr>
        <p:blipFill>
          <a:blip r:embed="rId4"/>
          <a:stretch>
            <a:fillRect/>
          </a:stretch>
        </p:blipFill>
        <p:spPr>
          <a:xfrm>
            <a:off x="668405" y="2859750"/>
            <a:ext cx="791544" cy="267085"/>
          </a:xfrm>
          <a:prstGeom prst="rect">
            <a:avLst/>
          </a:prstGeom>
        </p:spPr>
      </p:pic>
      <p:pic>
        <p:nvPicPr>
          <p:cNvPr id="8" name="Picture 7">
            <a:extLst>
              <a:ext uri="{FF2B5EF4-FFF2-40B4-BE49-F238E27FC236}">
                <a16:creationId xmlns:a16="http://schemas.microsoft.com/office/drawing/2014/main" id="{8F3FF863-360C-E916-664B-FBB7BF97F84F}"/>
              </a:ext>
            </a:extLst>
          </p:cNvPr>
          <p:cNvPicPr>
            <a:picLocks noChangeAspect="1"/>
          </p:cNvPicPr>
          <p:nvPr/>
        </p:nvPicPr>
        <p:blipFill>
          <a:blip r:embed="rId5"/>
          <a:stretch>
            <a:fillRect/>
          </a:stretch>
        </p:blipFill>
        <p:spPr>
          <a:xfrm>
            <a:off x="702950" y="3309848"/>
            <a:ext cx="825116" cy="455733"/>
          </a:xfrm>
          <a:prstGeom prst="rect">
            <a:avLst/>
          </a:prstGeom>
        </p:spPr>
      </p:pic>
      <p:pic>
        <p:nvPicPr>
          <p:cNvPr id="6" name="Picture 2">
            <a:extLst>
              <a:ext uri="{FF2B5EF4-FFF2-40B4-BE49-F238E27FC236}">
                <a16:creationId xmlns:a16="http://schemas.microsoft.com/office/drawing/2014/main" id="{ED1B6DA5-B11F-C894-39D3-F2BC1879F83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5239" y="3948594"/>
            <a:ext cx="537875" cy="3027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19369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 Diagonal Corner Rectangle 152">
            <a:extLst>
              <a:ext uri="{FF2B5EF4-FFF2-40B4-BE49-F238E27FC236}">
                <a16:creationId xmlns:a16="http://schemas.microsoft.com/office/drawing/2014/main" id="{3A0354B8-145C-4F38-6895-14CD5DE27746}"/>
              </a:ext>
            </a:extLst>
          </p:cNvPr>
          <p:cNvSpPr/>
          <p:nvPr/>
        </p:nvSpPr>
        <p:spPr bwMode="blackWhite">
          <a:xfrm>
            <a:off x="159143" y="4686438"/>
            <a:ext cx="1800000" cy="360000"/>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latin typeface="Arial" charset="0"/>
            </a:endParaRPr>
          </a:p>
        </p:txBody>
      </p:sp>
      <p:sp>
        <p:nvSpPr>
          <p:cNvPr id="13" name="Round Diagonal Corner Rectangle 152">
            <a:extLst>
              <a:ext uri="{FF2B5EF4-FFF2-40B4-BE49-F238E27FC236}">
                <a16:creationId xmlns:a16="http://schemas.microsoft.com/office/drawing/2014/main" id="{42F544DB-6293-F92D-E1D4-70C6E95D3616}"/>
              </a:ext>
            </a:extLst>
          </p:cNvPr>
          <p:cNvSpPr/>
          <p:nvPr/>
        </p:nvSpPr>
        <p:spPr bwMode="blackWhite">
          <a:xfrm>
            <a:off x="153122" y="3397959"/>
            <a:ext cx="1800000" cy="360000"/>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highlight>
                <a:srgbClr val="00FF00"/>
              </a:highlight>
              <a:latin typeface="Arial" charset="0"/>
            </a:endParaRPr>
          </a:p>
        </p:txBody>
      </p:sp>
      <p:grpSp>
        <p:nvGrpSpPr>
          <p:cNvPr id="297" name="Group 296">
            <a:extLst>
              <a:ext uri="{FF2B5EF4-FFF2-40B4-BE49-F238E27FC236}">
                <a16:creationId xmlns:a16="http://schemas.microsoft.com/office/drawing/2014/main" id="{43387381-B3D1-44E0-ACF3-CE830F7EBA8B}"/>
              </a:ext>
            </a:extLst>
          </p:cNvPr>
          <p:cNvGrpSpPr/>
          <p:nvPr/>
        </p:nvGrpSpPr>
        <p:grpSpPr>
          <a:xfrm>
            <a:off x="459251" y="930942"/>
            <a:ext cx="7419190" cy="3554150"/>
            <a:chOff x="234950" y="1076022"/>
            <a:chExt cx="8432800" cy="4039718"/>
          </a:xfrm>
        </p:grpSpPr>
        <p:sp>
          <p:nvSpPr>
            <p:cNvPr id="298" name="Argentina">
              <a:extLst>
                <a:ext uri="{FF2B5EF4-FFF2-40B4-BE49-F238E27FC236}">
                  <a16:creationId xmlns:a16="http://schemas.microsoft.com/office/drawing/2014/main" id="{E28578B8-416E-460C-A7A6-ACFADB70A76C}"/>
                </a:ext>
              </a:extLst>
            </p:cNvPr>
            <p:cNvSpPr>
              <a:spLocks noEditPoints="1"/>
            </p:cNvSpPr>
            <p:nvPr/>
          </p:nvSpPr>
          <p:spPr bwMode="gray">
            <a:xfrm>
              <a:off x="2286458" y="4109547"/>
              <a:ext cx="418693" cy="918659"/>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nvGrpSpPr>
            <p:cNvPr id="299" name="Group 298">
              <a:extLst>
                <a:ext uri="{FF2B5EF4-FFF2-40B4-BE49-F238E27FC236}">
                  <a16:creationId xmlns:a16="http://schemas.microsoft.com/office/drawing/2014/main" id="{07E14598-DFE5-4EF9-B0AF-CC892C887C3A}"/>
                </a:ext>
              </a:extLst>
            </p:cNvPr>
            <p:cNvGrpSpPr/>
            <p:nvPr/>
          </p:nvGrpSpPr>
          <p:grpSpPr>
            <a:xfrm>
              <a:off x="234950" y="1076022"/>
              <a:ext cx="8432800" cy="4039718"/>
              <a:chOff x="423667" y="1011533"/>
              <a:chExt cx="8298919" cy="4048753"/>
            </a:xfrm>
          </p:grpSpPr>
          <p:sp>
            <p:nvSpPr>
              <p:cNvPr id="300" name="Chile">
                <a:extLst>
                  <a:ext uri="{FF2B5EF4-FFF2-40B4-BE49-F238E27FC236}">
                    <a16:creationId xmlns:a16="http://schemas.microsoft.com/office/drawing/2014/main" id="{24ABECD2-B47B-4A7D-AED3-C11595DD8334}"/>
                  </a:ext>
                </a:extLst>
              </p:cNvPr>
              <p:cNvSpPr>
                <a:spLocks noEditPoints="1"/>
              </p:cNvSpPr>
              <p:nvPr/>
            </p:nvSpPr>
            <p:spPr bwMode="gray">
              <a:xfrm>
                <a:off x="2379766" y="3917949"/>
                <a:ext cx="437333" cy="1142337"/>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nvGrpSpPr>
              <p:cNvPr id="301" name="Group 300">
                <a:extLst>
                  <a:ext uri="{FF2B5EF4-FFF2-40B4-BE49-F238E27FC236}">
                    <a16:creationId xmlns:a16="http://schemas.microsoft.com/office/drawing/2014/main" id="{6D2AF155-ADC9-4AAB-94D1-1B7685EEC857}"/>
                  </a:ext>
                </a:extLst>
              </p:cNvPr>
              <p:cNvGrpSpPr/>
              <p:nvPr/>
            </p:nvGrpSpPr>
            <p:grpSpPr>
              <a:xfrm>
                <a:off x="423667" y="1011533"/>
                <a:ext cx="8298919" cy="3783992"/>
                <a:chOff x="423667" y="1011533"/>
                <a:chExt cx="8298919" cy="3783992"/>
              </a:xfrm>
            </p:grpSpPr>
            <p:sp>
              <p:nvSpPr>
                <p:cNvPr id="302" name="Solomon Islands">
                  <a:extLst>
                    <a:ext uri="{FF2B5EF4-FFF2-40B4-BE49-F238E27FC236}">
                      <a16:creationId xmlns:a16="http://schemas.microsoft.com/office/drawing/2014/main" id="{E75FE38A-D591-4418-968C-B7342E81E542}"/>
                    </a:ext>
                  </a:extLst>
                </p:cNvPr>
                <p:cNvSpPr>
                  <a:spLocks noEditPoints="1"/>
                </p:cNvSpPr>
                <p:nvPr/>
              </p:nvSpPr>
              <p:spPr bwMode="gray">
                <a:xfrm>
                  <a:off x="8435493" y="3586254"/>
                  <a:ext cx="139828" cy="130893"/>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3" name="Papua New Guinea">
                  <a:extLst>
                    <a:ext uri="{FF2B5EF4-FFF2-40B4-BE49-F238E27FC236}">
                      <a16:creationId xmlns:a16="http://schemas.microsoft.com/office/drawing/2014/main" id="{F842ABF5-7841-48D5-BCB4-EBE2DD6050A3}"/>
                    </a:ext>
                  </a:extLst>
                </p:cNvPr>
                <p:cNvSpPr>
                  <a:spLocks noEditPoints="1"/>
                </p:cNvSpPr>
                <p:nvPr/>
              </p:nvSpPr>
              <p:spPr bwMode="gray">
                <a:xfrm>
                  <a:off x="8007085" y="3439000"/>
                  <a:ext cx="410557" cy="273685"/>
                </a:xfrm>
                <a:custGeom>
                  <a:avLst/>
                  <a:gdLst>
                    <a:gd name="T0" fmla="*/ 2147483647 w 1086"/>
                    <a:gd name="T1" fmla="*/ 2147483647 h 726"/>
                    <a:gd name="T2" fmla="*/ 2147483647 w 1086"/>
                    <a:gd name="T3" fmla="*/ 2147483647 h 726"/>
                    <a:gd name="T4" fmla="*/ 2147483647 w 1086"/>
                    <a:gd name="T5" fmla="*/ 2147483647 h 726"/>
                    <a:gd name="T6" fmla="*/ 2147483647 w 1086"/>
                    <a:gd name="T7" fmla="*/ 2147483647 h 726"/>
                    <a:gd name="T8" fmla="*/ 2147483647 w 1086"/>
                    <a:gd name="T9" fmla="*/ 2147483647 h 726"/>
                    <a:gd name="T10" fmla="*/ 2147483647 w 1086"/>
                    <a:gd name="T11" fmla="*/ 2147483647 h 726"/>
                    <a:gd name="T12" fmla="*/ 2147483647 w 1086"/>
                    <a:gd name="T13" fmla="*/ 2147483647 h 726"/>
                    <a:gd name="T14" fmla="*/ 2147483647 w 1086"/>
                    <a:gd name="T15" fmla="*/ 2147483647 h 726"/>
                    <a:gd name="T16" fmla="*/ 2147483647 w 1086"/>
                    <a:gd name="T17" fmla="*/ 2147483647 h 726"/>
                    <a:gd name="T18" fmla="*/ 2147483647 w 1086"/>
                    <a:gd name="T19" fmla="*/ 2147483647 h 726"/>
                    <a:gd name="T20" fmla="*/ 2147483647 w 1086"/>
                    <a:gd name="T21" fmla="*/ 2147483647 h 726"/>
                    <a:gd name="T22" fmla="*/ 2147483647 w 1086"/>
                    <a:gd name="T23" fmla="*/ 2147483647 h 726"/>
                    <a:gd name="T24" fmla="*/ 2147483647 w 1086"/>
                    <a:gd name="T25" fmla="*/ 2147483647 h 726"/>
                    <a:gd name="T26" fmla="*/ 2147483647 w 1086"/>
                    <a:gd name="T27" fmla="*/ 2147483647 h 726"/>
                    <a:gd name="T28" fmla="*/ 2147483647 w 1086"/>
                    <a:gd name="T29" fmla="*/ 2147483647 h 726"/>
                    <a:gd name="T30" fmla="*/ 2147483647 w 1086"/>
                    <a:gd name="T31" fmla="*/ 2147483647 h 726"/>
                    <a:gd name="T32" fmla="*/ 2147483647 w 1086"/>
                    <a:gd name="T33" fmla="*/ 2147483647 h 726"/>
                    <a:gd name="T34" fmla="*/ 2147483647 w 1086"/>
                    <a:gd name="T35" fmla="*/ 2147483647 h 726"/>
                    <a:gd name="T36" fmla="*/ 2147483647 w 1086"/>
                    <a:gd name="T37" fmla="*/ 2147483647 h 726"/>
                    <a:gd name="T38" fmla="*/ 2147483647 w 1086"/>
                    <a:gd name="T39" fmla="*/ 2147483647 h 726"/>
                    <a:gd name="T40" fmla="*/ 2147483647 w 1086"/>
                    <a:gd name="T41" fmla="*/ 2147483647 h 726"/>
                    <a:gd name="T42" fmla="*/ 2147483647 w 1086"/>
                    <a:gd name="T43" fmla="*/ 2147483647 h 726"/>
                    <a:gd name="T44" fmla="*/ 2147483647 w 1086"/>
                    <a:gd name="T45" fmla="*/ 2147483647 h 726"/>
                    <a:gd name="T46" fmla="*/ 2147483647 w 1086"/>
                    <a:gd name="T47" fmla="*/ 2147483647 h 726"/>
                    <a:gd name="T48" fmla="*/ 2147483647 w 1086"/>
                    <a:gd name="T49" fmla="*/ 2147483647 h 726"/>
                    <a:gd name="T50" fmla="*/ 2147483647 w 1086"/>
                    <a:gd name="T51" fmla="*/ 2147483647 h 726"/>
                    <a:gd name="T52" fmla="*/ 2147483647 w 1086"/>
                    <a:gd name="T53" fmla="*/ 2147483647 h 726"/>
                    <a:gd name="T54" fmla="*/ 2147483647 w 1086"/>
                    <a:gd name="T55" fmla="*/ 2147483647 h 726"/>
                    <a:gd name="T56" fmla="*/ 2147483647 w 1086"/>
                    <a:gd name="T57" fmla="*/ 2147483647 h 726"/>
                    <a:gd name="T58" fmla="*/ 2147483647 w 1086"/>
                    <a:gd name="T59" fmla="*/ 2147483647 h 726"/>
                    <a:gd name="T60" fmla="*/ 2147483647 w 1086"/>
                    <a:gd name="T61" fmla="*/ 2147483647 h 726"/>
                    <a:gd name="T62" fmla="*/ 2147483647 w 1086"/>
                    <a:gd name="T63" fmla="*/ 2147483647 h 726"/>
                    <a:gd name="T64" fmla="*/ 2147483647 w 1086"/>
                    <a:gd name="T65" fmla="*/ 2147483647 h 726"/>
                    <a:gd name="T66" fmla="*/ 2147483647 w 1086"/>
                    <a:gd name="T67" fmla="*/ 2147483647 h 726"/>
                    <a:gd name="T68" fmla="*/ 2147483647 w 1086"/>
                    <a:gd name="T69" fmla="*/ 2147483647 h 726"/>
                    <a:gd name="T70" fmla="*/ 2147483647 w 1086"/>
                    <a:gd name="T71" fmla="*/ 2147483647 h 726"/>
                    <a:gd name="T72" fmla="*/ 2147483647 w 1086"/>
                    <a:gd name="T73" fmla="*/ 2147483647 h 726"/>
                    <a:gd name="T74" fmla="*/ 2147483647 w 1086"/>
                    <a:gd name="T75" fmla="*/ 2147483647 h 726"/>
                    <a:gd name="T76" fmla="*/ 2147483647 w 1086"/>
                    <a:gd name="T77" fmla="*/ 2147483647 h 726"/>
                    <a:gd name="T78" fmla="*/ 2147483647 w 1086"/>
                    <a:gd name="T79" fmla="*/ 2147483647 h 726"/>
                    <a:gd name="T80" fmla="*/ 2147483647 w 1086"/>
                    <a:gd name="T81" fmla="*/ 2147483647 h 726"/>
                    <a:gd name="T82" fmla="*/ 2147483647 w 1086"/>
                    <a:gd name="T83" fmla="*/ 2147483647 h 726"/>
                    <a:gd name="T84" fmla="*/ 2147483647 w 1086"/>
                    <a:gd name="T85" fmla="*/ 2147483647 h 726"/>
                    <a:gd name="T86" fmla="*/ 2147483647 w 1086"/>
                    <a:gd name="T87" fmla="*/ 2147483647 h 726"/>
                    <a:gd name="T88" fmla="*/ 2147483647 w 1086"/>
                    <a:gd name="T89" fmla="*/ 2147483647 h 726"/>
                    <a:gd name="T90" fmla="*/ 2147483647 w 1086"/>
                    <a:gd name="T91" fmla="*/ 2147483647 h 726"/>
                    <a:gd name="T92" fmla="*/ 2147483647 w 1086"/>
                    <a:gd name="T93" fmla="*/ 2147483647 h 726"/>
                    <a:gd name="T94" fmla="*/ 2147483647 w 1086"/>
                    <a:gd name="T95" fmla="*/ 2147483647 h 726"/>
                    <a:gd name="T96" fmla="*/ 2147483647 w 1086"/>
                    <a:gd name="T97" fmla="*/ 2147483647 h 726"/>
                    <a:gd name="T98" fmla="*/ 2147483647 w 1086"/>
                    <a:gd name="T99" fmla="*/ 2147483647 h 726"/>
                    <a:gd name="T100" fmla="*/ 2147483647 w 1086"/>
                    <a:gd name="T101" fmla="*/ 2147483647 h 726"/>
                    <a:gd name="T102" fmla="*/ 2147483647 w 1086"/>
                    <a:gd name="T103" fmla="*/ 2147483647 h 726"/>
                    <a:gd name="T104" fmla="*/ 2147483647 w 1086"/>
                    <a:gd name="T105" fmla="*/ 2147483647 h 726"/>
                    <a:gd name="T106" fmla="*/ 2147483647 w 1086"/>
                    <a:gd name="T107" fmla="*/ 2147483647 h 726"/>
                    <a:gd name="T108" fmla="*/ 2147483647 w 1086"/>
                    <a:gd name="T109" fmla="*/ 2147483647 h 726"/>
                    <a:gd name="T110" fmla="*/ 2147483647 w 1086"/>
                    <a:gd name="T111" fmla="*/ 2147483647 h 726"/>
                    <a:gd name="T112" fmla="*/ 2147483647 w 1086"/>
                    <a:gd name="T113" fmla="*/ 2147483647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86"/>
                    <a:gd name="T172" fmla="*/ 0 h 726"/>
                    <a:gd name="T173" fmla="*/ 1086 w 1086"/>
                    <a:gd name="T174" fmla="*/ 726 h 7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86" h="726">
                      <a:moveTo>
                        <a:pt x="486" y="0"/>
                      </a:moveTo>
                      <a:lnTo>
                        <a:pt x="462" y="0"/>
                      </a:lnTo>
                      <a:lnTo>
                        <a:pt x="450" y="6"/>
                      </a:lnTo>
                      <a:lnTo>
                        <a:pt x="444" y="12"/>
                      </a:lnTo>
                      <a:lnTo>
                        <a:pt x="432" y="18"/>
                      </a:lnTo>
                      <a:lnTo>
                        <a:pt x="462" y="36"/>
                      </a:lnTo>
                      <a:lnTo>
                        <a:pt x="474" y="36"/>
                      </a:lnTo>
                      <a:lnTo>
                        <a:pt x="486" y="30"/>
                      </a:lnTo>
                      <a:lnTo>
                        <a:pt x="498" y="18"/>
                      </a:lnTo>
                      <a:lnTo>
                        <a:pt x="492" y="6"/>
                      </a:lnTo>
                      <a:lnTo>
                        <a:pt x="486" y="0"/>
                      </a:lnTo>
                      <a:close/>
                      <a:moveTo>
                        <a:pt x="756" y="216"/>
                      </a:moveTo>
                      <a:lnTo>
                        <a:pt x="750" y="222"/>
                      </a:lnTo>
                      <a:lnTo>
                        <a:pt x="750" y="228"/>
                      </a:lnTo>
                      <a:lnTo>
                        <a:pt x="756" y="234"/>
                      </a:lnTo>
                      <a:lnTo>
                        <a:pt x="768" y="240"/>
                      </a:lnTo>
                      <a:lnTo>
                        <a:pt x="774" y="246"/>
                      </a:lnTo>
                      <a:lnTo>
                        <a:pt x="774" y="264"/>
                      </a:lnTo>
                      <a:lnTo>
                        <a:pt x="702" y="300"/>
                      </a:lnTo>
                      <a:lnTo>
                        <a:pt x="666" y="300"/>
                      </a:lnTo>
                      <a:lnTo>
                        <a:pt x="630" y="312"/>
                      </a:lnTo>
                      <a:lnTo>
                        <a:pt x="594" y="330"/>
                      </a:lnTo>
                      <a:lnTo>
                        <a:pt x="588" y="336"/>
                      </a:lnTo>
                      <a:lnTo>
                        <a:pt x="570" y="336"/>
                      </a:lnTo>
                      <a:lnTo>
                        <a:pt x="564" y="342"/>
                      </a:lnTo>
                      <a:lnTo>
                        <a:pt x="588" y="378"/>
                      </a:lnTo>
                      <a:lnTo>
                        <a:pt x="684" y="378"/>
                      </a:lnTo>
                      <a:lnTo>
                        <a:pt x="702" y="366"/>
                      </a:lnTo>
                      <a:lnTo>
                        <a:pt x="738" y="366"/>
                      </a:lnTo>
                      <a:lnTo>
                        <a:pt x="750" y="360"/>
                      </a:lnTo>
                      <a:lnTo>
                        <a:pt x="774" y="336"/>
                      </a:lnTo>
                      <a:lnTo>
                        <a:pt x="774" y="330"/>
                      </a:lnTo>
                      <a:lnTo>
                        <a:pt x="804" y="324"/>
                      </a:lnTo>
                      <a:lnTo>
                        <a:pt x="798" y="300"/>
                      </a:lnTo>
                      <a:lnTo>
                        <a:pt x="822" y="300"/>
                      </a:lnTo>
                      <a:lnTo>
                        <a:pt x="822" y="288"/>
                      </a:lnTo>
                      <a:lnTo>
                        <a:pt x="828" y="258"/>
                      </a:lnTo>
                      <a:lnTo>
                        <a:pt x="828" y="228"/>
                      </a:lnTo>
                      <a:lnTo>
                        <a:pt x="822" y="198"/>
                      </a:lnTo>
                      <a:lnTo>
                        <a:pt x="816" y="192"/>
                      </a:lnTo>
                      <a:lnTo>
                        <a:pt x="804" y="186"/>
                      </a:lnTo>
                      <a:lnTo>
                        <a:pt x="792" y="192"/>
                      </a:lnTo>
                      <a:lnTo>
                        <a:pt x="786" y="198"/>
                      </a:lnTo>
                      <a:lnTo>
                        <a:pt x="762" y="210"/>
                      </a:lnTo>
                      <a:lnTo>
                        <a:pt x="756" y="216"/>
                      </a:lnTo>
                      <a:close/>
                      <a:moveTo>
                        <a:pt x="834" y="132"/>
                      </a:moveTo>
                      <a:lnTo>
                        <a:pt x="822" y="132"/>
                      </a:lnTo>
                      <a:lnTo>
                        <a:pt x="816" y="120"/>
                      </a:lnTo>
                      <a:lnTo>
                        <a:pt x="804" y="108"/>
                      </a:lnTo>
                      <a:lnTo>
                        <a:pt x="792" y="102"/>
                      </a:lnTo>
                      <a:lnTo>
                        <a:pt x="786" y="90"/>
                      </a:lnTo>
                      <a:lnTo>
                        <a:pt x="774" y="78"/>
                      </a:lnTo>
                      <a:lnTo>
                        <a:pt x="768" y="78"/>
                      </a:lnTo>
                      <a:lnTo>
                        <a:pt x="762" y="72"/>
                      </a:lnTo>
                      <a:lnTo>
                        <a:pt x="756" y="72"/>
                      </a:lnTo>
                      <a:lnTo>
                        <a:pt x="732" y="36"/>
                      </a:lnTo>
                      <a:lnTo>
                        <a:pt x="720" y="84"/>
                      </a:lnTo>
                      <a:lnTo>
                        <a:pt x="762" y="96"/>
                      </a:lnTo>
                      <a:lnTo>
                        <a:pt x="816" y="150"/>
                      </a:lnTo>
                      <a:lnTo>
                        <a:pt x="828" y="150"/>
                      </a:lnTo>
                      <a:lnTo>
                        <a:pt x="834" y="156"/>
                      </a:lnTo>
                      <a:lnTo>
                        <a:pt x="846" y="162"/>
                      </a:lnTo>
                      <a:lnTo>
                        <a:pt x="852" y="174"/>
                      </a:lnTo>
                      <a:lnTo>
                        <a:pt x="852" y="180"/>
                      </a:lnTo>
                      <a:lnTo>
                        <a:pt x="858" y="192"/>
                      </a:lnTo>
                      <a:lnTo>
                        <a:pt x="852" y="204"/>
                      </a:lnTo>
                      <a:lnTo>
                        <a:pt x="852" y="240"/>
                      </a:lnTo>
                      <a:lnTo>
                        <a:pt x="858" y="252"/>
                      </a:lnTo>
                      <a:lnTo>
                        <a:pt x="864" y="258"/>
                      </a:lnTo>
                      <a:lnTo>
                        <a:pt x="882" y="258"/>
                      </a:lnTo>
                      <a:lnTo>
                        <a:pt x="894" y="246"/>
                      </a:lnTo>
                      <a:lnTo>
                        <a:pt x="900" y="234"/>
                      </a:lnTo>
                      <a:lnTo>
                        <a:pt x="900" y="222"/>
                      </a:lnTo>
                      <a:lnTo>
                        <a:pt x="888" y="186"/>
                      </a:lnTo>
                      <a:lnTo>
                        <a:pt x="876" y="174"/>
                      </a:lnTo>
                      <a:lnTo>
                        <a:pt x="864" y="156"/>
                      </a:lnTo>
                      <a:lnTo>
                        <a:pt x="852" y="150"/>
                      </a:lnTo>
                      <a:lnTo>
                        <a:pt x="846" y="138"/>
                      </a:lnTo>
                      <a:lnTo>
                        <a:pt x="834" y="132"/>
                      </a:lnTo>
                      <a:close/>
                      <a:moveTo>
                        <a:pt x="1086" y="360"/>
                      </a:moveTo>
                      <a:lnTo>
                        <a:pt x="1020" y="294"/>
                      </a:lnTo>
                      <a:lnTo>
                        <a:pt x="1020" y="288"/>
                      </a:lnTo>
                      <a:lnTo>
                        <a:pt x="1002" y="270"/>
                      </a:lnTo>
                      <a:lnTo>
                        <a:pt x="984" y="270"/>
                      </a:lnTo>
                      <a:lnTo>
                        <a:pt x="978" y="276"/>
                      </a:lnTo>
                      <a:lnTo>
                        <a:pt x="978" y="300"/>
                      </a:lnTo>
                      <a:lnTo>
                        <a:pt x="996" y="330"/>
                      </a:lnTo>
                      <a:lnTo>
                        <a:pt x="1020" y="378"/>
                      </a:lnTo>
                      <a:lnTo>
                        <a:pt x="1086" y="438"/>
                      </a:lnTo>
                      <a:lnTo>
                        <a:pt x="1086" y="360"/>
                      </a:lnTo>
                      <a:close/>
                      <a:moveTo>
                        <a:pt x="672" y="672"/>
                      </a:moveTo>
                      <a:lnTo>
                        <a:pt x="630" y="642"/>
                      </a:lnTo>
                      <a:lnTo>
                        <a:pt x="648" y="630"/>
                      </a:lnTo>
                      <a:lnTo>
                        <a:pt x="636" y="630"/>
                      </a:lnTo>
                      <a:lnTo>
                        <a:pt x="624" y="624"/>
                      </a:lnTo>
                      <a:lnTo>
                        <a:pt x="612" y="624"/>
                      </a:lnTo>
                      <a:lnTo>
                        <a:pt x="600" y="618"/>
                      </a:lnTo>
                      <a:lnTo>
                        <a:pt x="594" y="606"/>
                      </a:lnTo>
                      <a:lnTo>
                        <a:pt x="594" y="594"/>
                      </a:lnTo>
                      <a:lnTo>
                        <a:pt x="600" y="582"/>
                      </a:lnTo>
                      <a:lnTo>
                        <a:pt x="600" y="564"/>
                      </a:lnTo>
                      <a:lnTo>
                        <a:pt x="588" y="570"/>
                      </a:lnTo>
                      <a:lnTo>
                        <a:pt x="582" y="570"/>
                      </a:lnTo>
                      <a:lnTo>
                        <a:pt x="570" y="576"/>
                      </a:lnTo>
                      <a:lnTo>
                        <a:pt x="564" y="576"/>
                      </a:lnTo>
                      <a:lnTo>
                        <a:pt x="552" y="582"/>
                      </a:lnTo>
                      <a:lnTo>
                        <a:pt x="552" y="552"/>
                      </a:lnTo>
                      <a:lnTo>
                        <a:pt x="528" y="540"/>
                      </a:lnTo>
                      <a:lnTo>
                        <a:pt x="528" y="492"/>
                      </a:lnTo>
                      <a:lnTo>
                        <a:pt x="474" y="456"/>
                      </a:lnTo>
                      <a:lnTo>
                        <a:pt x="450" y="402"/>
                      </a:lnTo>
                      <a:lnTo>
                        <a:pt x="474" y="390"/>
                      </a:lnTo>
                      <a:lnTo>
                        <a:pt x="480" y="384"/>
                      </a:lnTo>
                      <a:lnTo>
                        <a:pt x="492" y="378"/>
                      </a:lnTo>
                      <a:lnTo>
                        <a:pt x="504" y="366"/>
                      </a:lnTo>
                      <a:lnTo>
                        <a:pt x="504" y="360"/>
                      </a:lnTo>
                      <a:lnTo>
                        <a:pt x="492" y="336"/>
                      </a:lnTo>
                      <a:lnTo>
                        <a:pt x="468" y="324"/>
                      </a:lnTo>
                      <a:lnTo>
                        <a:pt x="462" y="318"/>
                      </a:lnTo>
                      <a:lnTo>
                        <a:pt x="456" y="318"/>
                      </a:lnTo>
                      <a:lnTo>
                        <a:pt x="450" y="312"/>
                      </a:lnTo>
                      <a:lnTo>
                        <a:pt x="438" y="312"/>
                      </a:lnTo>
                      <a:lnTo>
                        <a:pt x="402" y="300"/>
                      </a:lnTo>
                      <a:lnTo>
                        <a:pt x="390" y="300"/>
                      </a:lnTo>
                      <a:lnTo>
                        <a:pt x="378" y="294"/>
                      </a:lnTo>
                      <a:lnTo>
                        <a:pt x="372" y="294"/>
                      </a:lnTo>
                      <a:lnTo>
                        <a:pt x="372" y="234"/>
                      </a:lnTo>
                      <a:lnTo>
                        <a:pt x="366" y="222"/>
                      </a:lnTo>
                      <a:lnTo>
                        <a:pt x="354" y="210"/>
                      </a:lnTo>
                      <a:lnTo>
                        <a:pt x="342" y="210"/>
                      </a:lnTo>
                      <a:lnTo>
                        <a:pt x="288" y="156"/>
                      </a:lnTo>
                      <a:lnTo>
                        <a:pt x="252" y="162"/>
                      </a:lnTo>
                      <a:lnTo>
                        <a:pt x="216" y="126"/>
                      </a:lnTo>
                      <a:lnTo>
                        <a:pt x="186" y="120"/>
                      </a:lnTo>
                      <a:lnTo>
                        <a:pt x="66" y="60"/>
                      </a:lnTo>
                      <a:lnTo>
                        <a:pt x="42" y="72"/>
                      </a:lnTo>
                      <a:lnTo>
                        <a:pt x="0" y="42"/>
                      </a:lnTo>
                      <a:lnTo>
                        <a:pt x="42" y="72"/>
                      </a:lnTo>
                      <a:lnTo>
                        <a:pt x="36" y="102"/>
                      </a:lnTo>
                      <a:lnTo>
                        <a:pt x="36" y="240"/>
                      </a:lnTo>
                      <a:lnTo>
                        <a:pt x="30" y="258"/>
                      </a:lnTo>
                      <a:lnTo>
                        <a:pt x="30" y="372"/>
                      </a:lnTo>
                      <a:lnTo>
                        <a:pt x="24" y="378"/>
                      </a:lnTo>
                      <a:lnTo>
                        <a:pt x="12" y="384"/>
                      </a:lnTo>
                      <a:lnTo>
                        <a:pt x="0" y="396"/>
                      </a:lnTo>
                      <a:lnTo>
                        <a:pt x="0" y="402"/>
                      </a:lnTo>
                      <a:lnTo>
                        <a:pt x="6" y="408"/>
                      </a:lnTo>
                      <a:lnTo>
                        <a:pt x="18" y="414"/>
                      </a:lnTo>
                      <a:lnTo>
                        <a:pt x="30" y="414"/>
                      </a:lnTo>
                      <a:lnTo>
                        <a:pt x="30" y="444"/>
                      </a:lnTo>
                      <a:lnTo>
                        <a:pt x="24" y="456"/>
                      </a:lnTo>
                      <a:lnTo>
                        <a:pt x="24" y="480"/>
                      </a:lnTo>
                      <a:lnTo>
                        <a:pt x="18" y="492"/>
                      </a:lnTo>
                      <a:lnTo>
                        <a:pt x="18" y="504"/>
                      </a:lnTo>
                      <a:lnTo>
                        <a:pt x="12" y="510"/>
                      </a:lnTo>
                      <a:lnTo>
                        <a:pt x="12" y="516"/>
                      </a:lnTo>
                      <a:lnTo>
                        <a:pt x="18" y="540"/>
                      </a:lnTo>
                      <a:lnTo>
                        <a:pt x="18" y="588"/>
                      </a:lnTo>
                      <a:lnTo>
                        <a:pt x="30" y="594"/>
                      </a:lnTo>
                      <a:lnTo>
                        <a:pt x="48" y="594"/>
                      </a:lnTo>
                      <a:lnTo>
                        <a:pt x="60" y="588"/>
                      </a:lnTo>
                      <a:lnTo>
                        <a:pt x="90" y="588"/>
                      </a:lnTo>
                      <a:lnTo>
                        <a:pt x="96" y="582"/>
                      </a:lnTo>
                      <a:lnTo>
                        <a:pt x="102" y="582"/>
                      </a:lnTo>
                      <a:lnTo>
                        <a:pt x="126" y="600"/>
                      </a:lnTo>
                      <a:lnTo>
                        <a:pt x="132" y="600"/>
                      </a:lnTo>
                      <a:lnTo>
                        <a:pt x="138" y="594"/>
                      </a:lnTo>
                      <a:lnTo>
                        <a:pt x="156" y="588"/>
                      </a:lnTo>
                      <a:lnTo>
                        <a:pt x="168" y="582"/>
                      </a:lnTo>
                      <a:lnTo>
                        <a:pt x="180" y="570"/>
                      </a:lnTo>
                      <a:lnTo>
                        <a:pt x="180" y="564"/>
                      </a:lnTo>
                      <a:lnTo>
                        <a:pt x="168" y="552"/>
                      </a:lnTo>
                      <a:lnTo>
                        <a:pt x="150" y="540"/>
                      </a:lnTo>
                      <a:lnTo>
                        <a:pt x="138" y="534"/>
                      </a:lnTo>
                      <a:lnTo>
                        <a:pt x="120" y="522"/>
                      </a:lnTo>
                      <a:lnTo>
                        <a:pt x="108" y="516"/>
                      </a:lnTo>
                      <a:lnTo>
                        <a:pt x="102" y="510"/>
                      </a:lnTo>
                      <a:lnTo>
                        <a:pt x="96" y="510"/>
                      </a:lnTo>
                      <a:lnTo>
                        <a:pt x="108" y="510"/>
                      </a:lnTo>
                      <a:lnTo>
                        <a:pt x="138" y="516"/>
                      </a:lnTo>
                      <a:lnTo>
                        <a:pt x="204" y="516"/>
                      </a:lnTo>
                      <a:lnTo>
                        <a:pt x="204" y="510"/>
                      </a:lnTo>
                      <a:lnTo>
                        <a:pt x="198" y="504"/>
                      </a:lnTo>
                      <a:lnTo>
                        <a:pt x="198" y="498"/>
                      </a:lnTo>
                      <a:lnTo>
                        <a:pt x="186" y="486"/>
                      </a:lnTo>
                      <a:lnTo>
                        <a:pt x="192" y="492"/>
                      </a:lnTo>
                      <a:lnTo>
                        <a:pt x="204" y="492"/>
                      </a:lnTo>
                      <a:lnTo>
                        <a:pt x="210" y="498"/>
                      </a:lnTo>
                      <a:lnTo>
                        <a:pt x="216" y="498"/>
                      </a:lnTo>
                      <a:lnTo>
                        <a:pt x="222" y="492"/>
                      </a:lnTo>
                      <a:lnTo>
                        <a:pt x="222" y="486"/>
                      </a:lnTo>
                      <a:lnTo>
                        <a:pt x="216" y="480"/>
                      </a:lnTo>
                      <a:lnTo>
                        <a:pt x="216" y="468"/>
                      </a:lnTo>
                      <a:lnTo>
                        <a:pt x="210" y="462"/>
                      </a:lnTo>
                      <a:lnTo>
                        <a:pt x="222" y="468"/>
                      </a:lnTo>
                      <a:lnTo>
                        <a:pt x="228" y="474"/>
                      </a:lnTo>
                      <a:lnTo>
                        <a:pt x="246" y="474"/>
                      </a:lnTo>
                      <a:lnTo>
                        <a:pt x="252" y="468"/>
                      </a:lnTo>
                      <a:lnTo>
                        <a:pt x="264" y="462"/>
                      </a:lnTo>
                      <a:lnTo>
                        <a:pt x="270" y="456"/>
                      </a:lnTo>
                      <a:lnTo>
                        <a:pt x="288" y="474"/>
                      </a:lnTo>
                      <a:lnTo>
                        <a:pt x="300" y="480"/>
                      </a:lnTo>
                      <a:lnTo>
                        <a:pt x="306" y="486"/>
                      </a:lnTo>
                      <a:lnTo>
                        <a:pt x="312" y="486"/>
                      </a:lnTo>
                      <a:lnTo>
                        <a:pt x="330" y="492"/>
                      </a:lnTo>
                      <a:lnTo>
                        <a:pt x="342" y="492"/>
                      </a:lnTo>
                      <a:lnTo>
                        <a:pt x="378" y="504"/>
                      </a:lnTo>
                      <a:lnTo>
                        <a:pt x="390" y="510"/>
                      </a:lnTo>
                      <a:lnTo>
                        <a:pt x="402" y="534"/>
                      </a:lnTo>
                      <a:lnTo>
                        <a:pt x="402" y="558"/>
                      </a:lnTo>
                      <a:lnTo>
                        <a:pt x="408" y="570"/>
                      </a:lnTo>
                      <a:lnTo>
                        <a:pt x="420" y="582"/>
                      </a:lnTo>
                      <a:lnTo>
                        <a:pt x="438" y="582"/>
                      </a:lnTo>
                      <a:lnTo>
                        <a:pt x="450" y="594"/>
                      </a:lnTo>
                      <a:lnTo>
                        <a:pt x="450" y="606"/>
                      </a:lnTo>
                      <a:lnTo>
                        <a:pt x="456" y="618"/>
                      </a:lnTo>
                      <a:lnTo>
                        <a:pt x="468" y="654"/>
                      </a:lnTo>
                      <a:lnTo>
                        <a:pt x="486" y="672"/>
                      </a:lnTo>
                      <a:lnTo>
                        <a:pt x="516" y="678"/>
                      </a:lnTo>
                      <a:lnTo>
                        <a:pt x="558" y="684"/>
                      </a:lnTo>
                      <a:lnTo>
                        <a:pt x="618" y="684"/>
                      </a:lnTo>
                      <a:lnTo>
                        <a:pt x="630" y="690"/>
                      </a:lnTo>
                      <a:lnTo>
                        <a:pt x="654" y="714"/>
                      </a:lnTo>
                      <a:lnTo>
                        <a:pt x="678" y="726"/>
                      </a:lnTo>
                      <a:lnTo>
                        <a:pt x="684" y="726"/>
                      </a:lnTo>
                      <a:lnTo>
                        <a:pt x="684" y="720"/>
                      </a:lnTo>
                      <a:lnTo>
                        <a:pt x="678" y="708"/>
                      </a:lnTo>
                      <a:lnTo>
                        <a:pt x="678" y="702"/>
                      </a:lnTo>
                      <a:lnTo>
                        <a:pt x="672" y="690"/>
                      </a:lnTo>
                      <a:lnTo>
                        <a:pt x="666" y="684"/>
                      </a:lnTo>
                      <a:lnTo>
                        <a:pt x="672" y="6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4" name="Sri Lanka">
                  <a:extLst>
                    <a:ext uri="{FF2B5EF4-FFF2-40B4-BE49-F238E27FC236}">
                      <a16:creationId xmlns:a16="http://schemas.microsoft.com/office/drawing/2014/main" id="{F18D50A9-0FE0-4008-8381-3B10491487AA}"/>
                    </a:ext>
                  </a:extLst>
                </p:cNvPr>
                <p:cNvSpPr>
                  <a:spLocks/>
                </p:cNvSpPr>
                <p:nvPr/>
              </p:nvSpPr>
              <p:spPr bwMode="gray">
                <a:xfrm>
                  <a:off x="6372292" y="3090945"/>
                  <a:ext cx="63964" cy="114531"/>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5" name="Myanmar">
                  <a:extLst>
                    <a:ext uri="{FF2B5EF4-FFF2-40B4-BE49-F238E27FC236}">
                      <a16:creationId xmlns:a16="http://schemas.microsoft.com/office/drawing/2014/main" id="{B5FBA473-6EF9-4C86-B71F-83FB6E5BDCD5}"/>
                    </a:ext>
                  </a:extLst>
                </p:cNvPr>
                <p:cNvSpPr>
                  <a:spLocks/>
                </p:cNvSpPr>
                <p:nvPr/>
              </p:nvSpPr>
              <p:spPr bwMode="gray">
                <a:xfrm>
                  <a:off x="6668310" y="2515314"/>
                  <a:ext cx="240980" cy="565219"/>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6" name="Turkey">
                  <a:extLst>
                    <a:ext uri="{FF2B5EF4-FFF2-40B4-BE49-F238E27FC236}">
                      <a16:creationId xmlns:a16="http://schemas.microsoft.com/office/drawing/2014/main" id="{81BFBA1A-45E2-456F-9E6C-81FFB255030B}"/>
                    </a:ext>
                  </a:extLst>
                </p:cNvPr>
                <p:cNvSpPr>
                  <a:spLocks noEditPoints="1"/>
                </p:cNvSpPr>
                <p:nvPr/>
              </p:nvSpPr>
              <p:spPr bwMode="gray">
                <a:xfrm>
                  <a:off x="4881788" y="2101810"/>
                  <a:ext cx="501297" cy="190390"/>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7" name="Iran">
                  <a:extLst>
                    <a:ext uri="{FF2B5EF4-FFF2-40B4-BE49-F238E27FC236}">
                      <a16:creationId xmlns:a16="http://schemas.microsoft.com/office/drawing/2014/main" id="{1B56FBF1-9E9D-4B93-9202-C0D9BCA44B28}"/>
                    </a:ext>
                  </a:extLst>
                </p:cNvPr>
                <p:cNvSpPr>
                  <a:spLocks/>
                </p:cNvSpPr>
                <p:nvPr/>
              </p:nvSpPr>
              <p:spPr bwMode="gray">
                <a:xfrm>
                  <a:off x="5351848" y="2173206"/>
                  <a:ext cx="542948" cy="444739"/>
                </a:xfrm>
                <a:custGeom>
                  <a:avLst/>
                  <a:gdLst>
                    <a:gd name="T0" fmla="*/ 2147483647 w 1440"/>
                    <a:gd name="T1" fmla="*/ 2147483647 h 1182"/>
                    <a:gd name="T2" fmla="*/ 2147483647 w 1440"/>
                    <a:gd name="T3" fmla="*/ 2147483647 h 1182"/>
                    <a:gd name="T4" fmla="*/ 2147483647 w 1440"/>
                    <a:gd name="T5" fmla="*/ 2147483647 h 1182"/>
                    <a:gd name="T6" fmla="*/ 2147483647 w 1440"/>
                    <a:gd name="T7" fmla="*/ 2147483647 h 1182"/>
                    <a:gd name="T8" fmla="*/ 2147483647 w 1440"/>
                    <a:gd name="T9" fmla="*/ 2147483647 h 1182"/>
                    <a:gd name="T10" fmla="*/ 2147483647 w 1440"/>
                    <a:gd name="T11" fmla="*/ 2147483647 h 1182"/>
                    <a:gd name="T12" fmla="*/ 2147483647 w 1440"/>
                    <a:gd name="T13" fmla="*/ 2147483647 h 1182"/>
                    <a:gd name="T14" fmla="*/ 2147483647 w 1440"/>
                    <a:gd name="T15" fmla="*/ 2147483647 h 1182"/>
                    <a:gd name="T16" fmla="*/ 2147483647 w 1440"/>
                    <a:gd name="T17" fmla="*/ 2147483647 h 1182"/>
                    <a:gd name="T18" fmla="*/ 2147483647 w 1440"/>
                    <a:gd name="T19" fmla="*/ 2147483647 h 1182"/>
                    <a:gd name="T20" fmla="*/ 2147483647 w 1440"/>
                    <a:gd name="T21" fmla="*/ 2147483647 h 1182"/>
                    <a:gd name="T22" fmla="*/ 2147483647 w 1440"/>
                    <a:gd name="T23" fmla="*/ 2147483647 h 1182"/>
                    <a:gd name="T24" fmla="*/ 2147483647 w 1440"/>
                    <a:gd name="T25" fmla="*/ 2147483647 h 1182"/>
                    <a:gd name="T26" fmla="*/ 2147483647 w 1440"/>
                    <a:gd name="T27" fmla="*/ 2147483647 h 1182"/>
                    <a:gd name="T28" fmla="*/ 2147483647 w 1440"/>
                    <a:gd name="T29" fmla="*/ 2147483647 h 1182"/>
                    <a:gd name="T30" fmla="*/ 2147483647 w 1440"/>
                    <a:gd name="T31" fmla="*/ 2147483647 h 1182"/>
                    <a:gd name="T32" fmla="*/ 2147483647 w 1440"/>
                    <a:gd name="T33" fmla="*/ 2147483647 h 1182"/>
                    <a:gd name="T34" fmla="*/ 2147483647 w 1440"/>
                    <a:gd name="T35" fmla="*/ 2147483647 h 1182"/>
                    <a:gd name="T36" fmla="*/ 2147483647 w 1440"/>
                    <a:gd name="T37" fmla="*/ 2147483647 h 1182"/>
                    <a:gd name="T38" fmla="*/ 2147483647 w 1440"/>
                    <a:gd name="T39" fmla="*/ 2147483647 h 1182"/>
                    <a:gd name="T40" fmla="*/ 2147483647 w 1440"/>
                    <a:gd name="T41" fmla="*/ 2147483647 h 1182"/>
                    <a:gd name="T42" fmla="*/ 2147483647 w 1440"/>
                    <a:gd name="T43" fmla="*/ 2147483647 h 1182"/>
                    <a:gd name="T44" fmla="*/ 2147483647 w 1440"/>
                    <a:gd name="T45" fmla="*/ 2147483647 h 1182"/>
                    <a:gd name="T46" fmla="*/ 2147483647 w 1440"/>
                    <a:gd name="T47" fmla="*/ 2147483647 h 1182"/>
                    <a:gd name="T48" fmla="*/ 2147483647 w 1440"/>
                    <a:gd name="T49" fmla="*/ 2147483647 h 1182"/>
                    <a:gd name="T50" fmla="*/ 2147483647 w 1440"/>
                    <a:gd name="T51" fmla="*/ 2147483647 h 1182"/>
                    <a:gd name="T52" fmla="*/ 2147483647 w 1440"/>
                    <a:gd name="T53" fmla="*/ 2147483647 h 1182"/>
                    <a:gd name="T54" fmla="*/ 2147483647 w 1440"/>
                    <a:gd name="T55" fmla="*/ 2147483647 h 1182"/>
                    <a:gd name="T56" fmla="*/ 2147483647 w 1440"/>
                    <a:gd name="T57" fmla="*/ 2147483647 h 1182"/>
                    <a:gd name="T58" fmla="*/ 2147483647 w 1440"/>
                    <a:gd name="T59" fmla="*/ 2147483647 h 1182"/>
                    <a:gd name="T60" fmla="*/ 2147483647 w 1440"/>
                    <a:gd name="T61" fmla="*/ 0 h 1182"/>
                    <a:gd name="T62" fmla="*/ 2147483647 w 1440"/>
                    <a:gd name="T63" fmla="*/ 2147483647 h 1182"/>
                    <a:gd name="T64" fmla="*/ 2147483647 w 1440"/>
                    <a:gd name="T65" fmla="*/ 2147483647 h 1182"/>
                    <a:gd name="T66" fmla="*/ 2147483647 w 1440"/>
                    <a:gd name="T67" fmla="*/ 2147483647 h 1182"/>
                    <a:gd name="T68" fmla="*/ 2147483647 w 1440"/>
                    <a:gd name="T69" fmla="*/ 2147483647 h 1182"/>
                    <a:gd name="T70" fmla="*/ 2147483647 w 1440"/>
                    <a:gd name="T71" fmla="*/ 2147483647 h 1182"/>
                    <a:gd name="T72" fmla="*/ 2147483647 w 1440"/>
                    <a:gd name="T73" fmla="*/ 2147483647 h 1182"/>
                    <a:gd name="T74" fmla="*/ 2147483647 w 1440"/>
                    <a:gd name="T75" fmla="*/ 2147483647 h 1182"/>
                    <a:gd name="T76" fmla="*/ 2147483647 w 1440"/>
                    <a:gd name="T77" fmla="*/ 2147483647 h 1182"/>
                    <a:gd name="T78" fmla="*/ 2147483647 w 1440"/>
                    <a:gd name="T79" fmla="*/ 2147483647 h 1182"/>
                    <a:gd name="T80" fmla="*/ 2147483647 w 1440"/>
                    <a:gd name="T81" fmla="*/ 2147483647 h 1182"/>
                    <a:gd name="T82" fmla="*/ 2147483647 w 1440"/>
                    <a:gd name="T83" fmla="*/ 2147483647 h 1182"/>
                    <a:gd name="T84" fmla="*/ 2147483647 w 1440"/>
                    <a:gd name="T85" fmla="*/ 2147483647 h 1182"/>
                    <a:gd name="T86" fmla="*/ 2147483647 w 1440"/>
                    <a:gd name="T87" fmla="*/ 2147483647 h 1182"/>
                    <a:gd name="T88" fmla="*/ 2147483647 w 1440"/>
                    <a:gd name="T89" fmla="*/ 2147483647 h 1182"/>
                    <a:gd name="T90" fmla="*/ 2147483647 w 1440"/>
                    <a:gd name="T91" fmla="*/ 2147483647 h 1182"/>
                    <a:gd name="T92" fmla="*/ 2147483647 w 1440"/>
                    <a:gd name="T93" fmla="*/ 2147483647 h 1182"/>
                    <a:gd name="T94" fmla="*/ 2147483647 w 1440"/>
                    <a:gd name="T95" fmla="*/ 2147483647 h 1182"/>
                    <a:gd name="T96" fmla="*/ 2147483647 w 1440"/>
                    <a:gd name="T97" fmla="*/ 2147483647 h 1182"/>
                    <a:gd name="T98" fmla="*/ 2147483647 w 1440"/>
                    <a:gd name="T99" fmla="*/ 2147483647 h 1182"/>
                    <a:gd name="T100" fmla="*/ 2147483647 w 1440"/>
                    <a:gd name="T101" fmla="*/ 2147483647 h 1182"/>
                    <a:gd name="T102" fmla="*/ 2147483647 w 1440"/>
                    <a:gd name="T103" fmla="*/ 2147483647 h 1182"/>
                    <a:gd name="T104" fmla="*/ 2147483647 w 1440"/>
                    <a:gd name="T105" fmla="*/ 2147483647 h 1182"/>
                    <a:gd name="T106" fmla="*/ 2147483647 w 1440"/>
                    <a:gd name="T107" fmla="*/ 2147483647 h 1182"/>
                    <a:gd name="T108" fmla="*/ 2147483647 w 1440"/>
                    <a:gd name="T109" fmla="*/ 2147483647 h 1182"/>
                    <a:gd name="T110" fmla="*/ 2147483647 w 1440"/>
                    <a:gd name="T111" fmla="*/ 2147483647 h 1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0"/>
                    <a:gd name="T169" fmla="*/ 0 h 1182"/>
                    <a:gd name="T170" fmla="*/ 1440 w 1440"/>
                    <a:gd name="T171" fmla="*/ 1182 h 1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0" h="1182">
                      <a:moveTo>
                        <a:pt x="1338" y="1176"/>
                      </a:moveTo>
                      <a:lnTo>
                        <a:pt x="1338" y="1170"/>
                      </a:lnTo>
                      <a:lnTo>
                        <a:pt x="1332" y="1158"/>
                      </a:lnTo>
                      <a:lnTo>
                        <a:pt x="1332" y="1128"/>
                      </a:lnTo>
                      <a:lnTo>
                        <a:pt x="1344" y="1116"/>
                      </a:lnTo>
                      <a:lnTo>
                        <a:pt x="1344" y="1110"/>
                      </a:lnTo>
                      <a:lnTo>
                        <a:pt x="1350" y="1104"/>
                      </a:lnTo>
                      <a:lnTo>
                        <a:pt x="1356" y="1086"/>
                      </a:lnTo>
                      <a:lnTo>
                        <a:pt x="1368" y="1086"/>
                      </a:lnTo>
                      <a:lnTo>
                        <a:pt x="1374" y="1080"/>
                      </a:lnTo>
                      <a:lnTo>
                        <a:pt x="1374" y="1074"/>
                      </a:lnTo>
                      <a:lnTo>
                        <a:pt x="1380" y="1074"/>
                      </a:lnTo>
                      <a:lnTo>
                        <a:pt x="1380" y="1068"/>
                      </a:lnTo>
                      <a:lnTo>
                        <a:pt x="1386" y="1062"/>
                      </a:lnTo>
                      <a:lnTo>
                        <a:pt x="1398" y="1056"/>
                      </a:lnTo>
                      <a:lnTo>
                        <a:pt x="1428" y="1056"/>
                      </a:lnTo>
                      <a:lnTo>
                        <a:pt x="1428" y="1062"/>
                      </a:lnTo>
                      <a:lnTo>
                        <a:pt x="1434" y="1062"/>
                      </a:lnTo>
                      <a:lnTo>
                        <a:pt x="1440" y="1056"/>
                      </a:lnTo>
                      <a:lnTo>
                        <a:pt x="1440" y="1044"/>
                      </a:lnTo>
                      <a:lnTo>
                        <a:pt x="1434" y="1026"/>
                      </a:lnTo>
                      <a:lnTo>
                        <a:pt x="1428" y="1014"/>
                      </a:lnTo>
                      <a:lnTo>
                        <a:pt x="1422" y="1008"/>
                      </a:lnTo>
                      <a:lnTo>
                        <a:pt x="1404" y="1008"/>
                      </a:lnTo>
                      <a:lnTo>
                        <a:pt x="1404" y="996"/>
                      </a:lnTo>
                      <a:lnTo>
                        <a:pt x="1398" y="984"/>
                      </a:lnTo>
                      <a:lnTo>
                        <a:pt x="1398" y="960"/>
                      </a:lnTo>
                      <a:lnTo>
                        <a:pt x="1392" y="960"/>
                      </a:lnTo>
                      <a:lnTo>
                        <a:pt x="1398" y="930"/>
                      </a:lnTo>
                      <a:lnTo>
                        <a:pt x="1374" y="930"/>
                      </a:lnTo>
                      <a:lnTo>
                        <a:pt x="1362" y="912"/>
                      </a:lnTo>
                      <a:lnTo>
                        <a:pt x="1350" y="918"/>
                      </a:lnTo>
                      <a:lnTo>
                        <a:pt x="1332" y="918"/>
                      </a:lnTo>
                      <a:lnTo>
                        <a:pt x="1326" y="912"/>
                      </a:lnTo>
                      <a:lnTo>
                        <a:pt x="1314" y="894"/>
                      </a:lnTo>
                      <a:lnTo>
                        <a:pt x="1308" y="876"/>
                      </a:lnTo>
                      <a:lnTo>
                        <a:pt x="1296" y="864"/>
                      </a:lnTo>
                      <a:lnTo>
                        <a:pt x="1284" y="846"/>
                      </a:lnTo>
                      <a:lnTo>
                        <a:pt x="1278" y="840"/>
                      </a:lnTo>
                      <a:lnTo>
                        <a:pt x="1272" y="828"/>
                      </a:lnTo>
                      <a:lnTo>
                        <a:pt x="1248" y="804"/>
                      </a:lnTo>
                      <a:lnTo>
                        <a:pt x="1242" y="804"/>
                      </a:lnTo>
                      <a:lnTo>
                        <a:pt x="1242" y="792"/>
                      </a:lnTo>
                      <a:lnTo>
                        <a:pt x="1260" y="774"/>
                      </a:lnTo>
                      <a:lnTo>
                        <a:pt x="1266" y="762"/>
                      </a:lnTo>
                      <a:lnTo>
                        <a:pt x="1272" y="756"/>
                      </a:lnTo>
                      <a:lnTo>
                        <a:pt x="1296" y="708"/>
                      </a:lnTo>
                      <a:lnTo>
                        <a:pt x="1284" y="684"/>
                      </a:lnTo>
                      <a:lnTo>
                        <a:pt x="1278" y="678"/>
                      </a:lnTo>
                      <a:lnTo>
                        <a:pt x="1242" y="678"/>
                      </a:lnTo>
                      <a:lnTo>
                        <a:pt x="1230" y="672"/>
                      </a:lnTo>
                      <a:lnTo>
                        <a:pt x="1224" y="672"/>
                      </a:lnTo>
                      <a:lnTo>
                        <a:pt x="1218" y="666"/>
                      </a:lnTo>
                      <a:lnTo>
                        <a:pt x="1218" y="612"/>
                      </a:lnTo>
                      <a:lnTo>
                        <a:pt x="1212" y="606"/>
                      </a:lnTo>
                      <a:lnTo>
                        <a:pt x="1200" y="582"/>
                      </a:lnTo>
                      <a:lnTo>
                        <a:pt x="1188" y="564"/>
                      </a:lnTo>
                      <a:lnTo>
                        <a:pt x="1176" y="540"/>
                      </a:lnTo>
                      <a:lnTo>
                        <a:pt x="1182" y="528"/>
                      </a:lnTo>
                      <a:lnTo>
                        <a:pt x="1200" y="510"/>
                      </a:lnTo>
                      <a:lnTo>
                        <a:pt x="1200" y="504"/>
                      </a:lnTo>
                      <a:lnTo>
                        <a:pt x="1194" y="498"/>
                      </a:lnTo>
                      <a:lnTo>
                        <a:pt x="1170" y="498"/>
                      </a:lnTo>
                      <a:lnTo>
                        <a:pt x="1170" y="468"/>
                      </a:lnTo>
                      <a:lnTo>
                        <a:pt x="1158" y="456"/>
                      </a:lnTo>
                      <a:lnTo>
                        <a:pt x="1158" y="450"/>
                      </a:lnTo>
                      <a:lnTo>
                        <a:pt x="1164" y="444"/>
                      </a:lnTo>
                      <a:lnTo>
                        <a:pt x="1176" y="438"/>
                      </a:lnTo>
                      <a:lnTo>
                        <a:pt x="1182" y="432"/>
                      </a:lnTo>
                      <a:lnTo>
                        <a:pt x="1188" y="432"/>
                      </a:lnTo>
                      <a:lnTo>
                        <a:pt x="1176" y="414"/>
                      </a:lnTo>
                      <a:lnTo>
                        <a:pt x="1200" y="408"/>
                      </a:lnTo>
                      <a:lnTo>
                        <a:pt x="1200" y="402"/>
                      </a:lnTo>
                      <a:lnTo>
                        <a:pt x="1194" y="396"/>
                      </a:lnTo>
                      <a:lnTo>
                        <a:pt x="1194" y="372"/>
                      </a:lnTo>
                      <a:lnTo>
                        <a:pt x="1188" y="360"/>
                      </a:lnTo>
                      <a:lnTo>
                        <a:pt x="1188" y="354"/>
                      </a:lnTo>
                      <a:lnTo>
                        <a:pt x="1194" y="342"/>
                      </a:lnTo>
                      <a:lnTo>
                        <a:pt x="1200" y="336"/>
                      </a:lnTo>
                      <a:lnTo>
                        <a:pt x="1188" y="306"/>
                      </a:lnTo>
                      <a:lnTo>
                        <a:pt x="1194" y="282"/>
                      </a:lnTo>
                      <a:lnTo>
                        <a:pt x="1182" y="282"/>
                      </a:lnTo>
                      <a:lnTo>
                        <a:pt x="1182" y="246"/>
                      </a:lnTo>
                      <a:lnTo>
                        <a:pt x="1116" y="252"/>
                      </a:lnTo>
                      <a:lnTo>
                        <a:pt x="1110" y="246"/>
                      </a:lnTo>
                      <a:lnTo>
                        <a:pt x="1104" y="234"/>
                      </a:lnTo>
                      <a:lnTo>
                        <a:pt x="1092" y="228"/>
                      </a:lnTo>
                      <a:lnTo>
                        <a:pt x="1080" y="216"/>
                      </a:lnTo>
                      <a:lnTo>
                        <a:pt x="1068" y="216"/>
                      </a:lnTo>
                      <a:lnTo>
                        <a:pt x="1062" y="210"/>
                      </a:lnTo>
                      <a:lnTo>
                        <a:pt x="1056" y="210"/>
                      </a:lnTo>
                      <a:lnTo>
                        <a:pt x="1050" y="204"/>
                      </a:lnTo>
                      <a:lnTo>
                        <a:pt x="1044" y="192"/>
                      </a:lnTo>
                      <a:lnTo>
                        <a:pt x="1044" y="186"/>
                      </a:lnTo>
                      <a:lnTo>
                        <a:pt x="1038" y="180"/>
                      </a:lnTo>
                      <a:lnTo>
                        <a:pt x="1032" y="180"/>
                      </a:lnTo>
                      <a:lnTo>
                        <a:pt x="1020" y="174"/>
                      </a:lnTo>
                      <a:lnTo>
                        <a:pt x="1002" y="174"/>
                      </a:lnTo>
                      <a:lnTo>
                        <a:pt x="990" y="168"/>
                      </a:lnTo>
                      <a:lnTo>
                        <a:pt x="972" y="168"/>
                      </a:lnTo>
                      <a:lnTo>
                        <a:pt x="972" y="174"/>
                      </a:lnTo>
                      <a:lnTo>
                        <a:pt x="960" y="168"/>
                      </a:lnTo>
                      <a:lnTo>
                        <a:pt x="954" y="162"/>
                      </a:lnTo>
                      <a:lnTo>
                        <a:pt x="942" y="156"/>
                      </a:lnTo>
                      <a:lnTo>
                        <a:pt x="936" y="150"/>
                      </a:lnTo>
                      <a:lnTo>
                        <a:pt x="906" y="150"/>
                      </a:lnTo>
                      <a:lnTo>
                        <a:pt x="906" y="138"/>
                      </a:lnTo>
                      <a:lnTo>
                        <a:pt x="894" y="126"/>
                      </a:lnTo>
                      <a:lnTo>
                        <a:pt x="834" y="126"/>
                      </a:lnTo>
                      <a:lnTo>
                        <a:pt x="834" y="132"/>
                      </a:lnTo>
                      <a:lnTo>
                        <a:pt x="828" y="138"/>
                      </a:lnTo>
                      <a:lnTo>
                        <a:pt x="816" y="132"/>
                      </a:lnTo>
                      <a:lnTo>
                        <a:pt x="780" y="132"/>
                      </a:lnTo>
                      <a:lnTo>
                        <a:pt x="768" y="138"/>
                      </a:lnTo>
                      <a:lnTo>
                        <a:pt x="750" y="156"/>
                      </a:lnTo>
                      <a:lnTo>
                        <a:pt x="738" y="162"/>
                      </a:lnTo>
                      <a:lnTo>
                        <a:pt x="732" y="168"/>
                      </a:lnTo>
                      <a:lnTo>
                        <a:pt x="732" y="180"/>
                      </a:lnTo>
                      <a:lnTo>
                        <a:pt x="720" y="186"/>
                      </a:lnTo>
                      <a:lnTo>
                        <a:pt x="708" y="198"/>
                      </a:lnTo>
                      <a:lnTo>
                        <a:pt x="678" y="198"/>
                      </a:lnTo>
                      <a:lnTo>
                        <a:pt x="690" y="210"/>
                      </a:lnTo>
                      <a:lnTo>
                        <a:pt x="690" y="222"/>
                      </a:lnTo>
                      <a:lnTo>
                        <a:pt x="696" y="228"/>
                      </a:lnTo>
                      <a:lnTo>
                        <a:pt x="696" y="234"/>
                      </a:lnTo>
                      <a:lnTo>
                        <a:pt x="690" y="240"/>
                      </a:lnTo>
                      <a:lnTo>
                        <a:pt x="678" y="240"/>
                      </a:lnTo>
                      <a:lnTo>
                        <a:pt x="666" y="234"/>
                      </a:lnTo>
                      <a:lnTo>
                        <a:pt x="660" y="228"/>
                      </a:lnTo>
                      <a:lnTo>
                        <a:pt x="654" y="228"/>
                      </a:lnTo>
                      <a:lnTo>
                        <a:pt x="648" y="234"/>
                      </a:lnTo>
                      <a:lnTo>
                        <a:pt x="624" y="234"/>
                      </a:lnTo>
                      <a:lnTo>
                        <a:pt x="612" y="240"/>
                      </a:lnTo>
                      <a:lnTo>
                        <a:pt x="600" y="240"/>
                      </a:lnTo>
                      <a:lnTo>
                        <a:pt x="582" y="246"/>
                      </a:lnTo>
                      <a:lnTo>
                        <a:pt x="558" y="258"/>
                      </a:lnTo>
                      <a:lnTo>
                        <a:pt x="546" y="252"/>
                      </a:lnTo>
                      <a:lnTo>
                        <a:pt x="534" y="252"/>
                      </a:lnTo>
                      <a:lnTo>
                        <a:pt x="522" y="246"/>
                      </a:lnTo>
                      <a:lnTo>
                        <a:pt x="498" y="246"/>
                      </a:lnTo>
                      <a:lnTo>
                        <a:pt x="480" y="240"/>
                      </a:lnTo>
                      <a:lnTo>
                        <a:pt x="468" y="228"/>
                      </a:lnTo>
                      <a:lnTo>
                        <a:pt x="456" y="222"/>
                      </a:lnTo>
                      <a:lnTo>
                        <a:pt x="444" y="210"/>
                      </a:lnTo>
                      <a:lnTo>
                        <a:pt x="438" y="198"/>
                      </a:lnTo>
                      <a:lnTo>
                        <a:pt x="432" y="192"/>
                      </a:lnTo>
                      <a:lnTo>
                        <a:pt x="432" y="186"/>
                      </a:lnTo>
                      <a:lnTo>
                        <a:pt x="378" y="186"/>
                      </a:lnTo>
                      <a:lnTo>
                        <a:pt x="354" y="162"/>
                      </a:lnTo>
                      <a:lnTo>
                        <a:pt x="336" y="126"/>
                      </a:lnTo>
                      <a:lnTo>
                        <a:pt x="330" y="120"/>
                      </a:lnTo>
                      <a:lnTo>
                        <a:pt x="330" y="114"/>
                      </a:lnTo>
                      <a:lnTo>
                        <a:pt x="312" y="114"/>
                      </a:lnTo>
                      <a:lnTo>
                        <a:pt x="312" y="108"/>
                      </a:lnTo>
                      <a:lnTo>
                        <a:pt x="306" y="102"/>
                      </a:lnTo>
                      <a:lnTo>
                        <a:pt x="300" y="102"/>
                      </a:lnTo>
                      <a:lnTo>
                        <a:pt x="294" y="96"/>
                      </a:lnTo>
                      <a:lnTo>
                        <a:pt x="282" y="90"/>
                      </a:lnTo>
                      <a:lnTo>
                        <a:pt x="270" y="78"/>
                      </a:lnTo>
                      <a:lnTo>
                        <a:pt x="270" y="72"/>
                      </a:lnTo>
                      <a:lnTo>
                        <a:pt x="282" y="72"/>
                      </a:lnTo>
                      <a:lnTo>
                        <a:pt x="288" y="66"/>
                      </a:lnTo>
                      <a:lnTo>
                        <a:pt x="288" y="60"/>
                      </a:lnTo>
                      <a:lnTo>
                        <a:pt x="282" y="54"/>
                      </a:lnTo>
                      <a:lnTo>
                        <a:pt x="276" y="54"/>
                      </a:lnTo>
                      <a:lnTo>
                        <a:pt x="276" y="42"/>
                      </a:lnTo>
                      <a:lnTo>
                        <a:pt x="282" y="36"/>
                      </a:lnTo>
                      <a:lnTo>
                        <a:pt x="282" y="18"/>
                      </a:lnTo>
                      <a:lnTo>
                        <a:pt x="276" y="12"/>
                      </a:lnTo>
                      <a:lnTo>
                        <a:pt x="270" y="0"/>
                      </a:lnTo>
                      <a:lnTo>
                        <a:pt x="258" y="0"/>
                      </a:lnTo>
                      <a:lnTo>
                        <a:pt x="246" y="6"/>
                      </a:lnTo>
                      <a:lnTo>
                        <a:pt x="234" y="18"/>
                      </a:lnTo>
                      <a:lnTo>
                        <a:pt x="222" y="24"/>
                      </a:lnTo>
                      <a:lnTo>
                        <a:pt x="204" y="36"/>
                      </a:lnTo>
                      <a:lnTo>
                        <a:pt x="192" y="48"/>
                      </a:lnTo>
                      <a:lnTo>
                        <a:pt x="192" y="54"/>
                      </a:lnTo>
                      <a:lnTo>
                        <a:pt x="186" y="60"/>
                      </a:lnTo>
                      <a:lnTo>
                        <a:pt x="180" y="72"/>
                      </a:lnTo>
                      <a:lnTo>
                        <a:pt x="132" y="72"/>
                      </a:lnTo>
                      <a:lnTo>
                        <a:pt x="96" y="60"/>
                      </a:lnTo>
                      <a:lnTo>
                        <a:pt x="84" y="54"/>
                      </a:lnTo>
                      <a:lnTo>
                        <a:pt x="66" y="36"/>
                      </a:lnTo>
                      <a:lnTo>
                        <a:pt x="54" y="12"/>
                      </a:lnTo>
                      <a:lnTo>
                        <a:pt x="54" y="6"/>
                      </a:lnTo>
                      <a:lnTo>
                        <a:pt x="48" y="0"/>
                      </a:lnTo>
                      <a:lnTo>
                        <a:pt x="42" y="0"/>
                      </a:lnTo>
                      <a:lnTo>
                        <a:pt x="24" y="18"/>
                      </a:lnTo>
                      <a:lnTo>
                        <a:pt x="24" y="30"/>
                      </a:lnTo>
                      <a:lnTo>
                        <a:pt x="0" y="30"/>
                      </a:lnTo>
                      <a:lnTo>
                        <a:pt x="18" y="54"/>
                      </a:lnTo>
                      <a:lnTo>
                        <a:pt x="18" y="84"/>
                      </a:lnTo>
                      <a:lnTo>
                        <a:pt x="30" y="96"/>
                      </a:lnTo>
                      <a:lnTo>
                        <a:pt x="30" y="108"/>
                      </a:lnTo>
                      <a:lnTo>
                        <a:pt x="36" y="114"/>
                      </a:lnTo>
                      <a:lnTo>
                        <a:pt x="42" y="114"/>
                      </a:lnTo>
                      <a:lnTo>
                        <a:pt x="36" y="120"/>
                      </a:lnTo>
                      <a:lnTo>
                        <a:pt x="36" y="126"/>
                      </a:lnTo>
                      <a:lnTo>
                        <a:pt x="30" y="138"/>
                      </a:lnTo>
                      <a:lnTo>
                        <a:pt x="24" y="144"/>
                      </a:lnTo>
                      <a:lnTo>
                        <a:pt x="60" y="162"/>
                      </a:lnTo>
                      <a:lnTo>
                        <a:pt x="60" y="192"/>
                      </a:lnTo>
                      <a:lnTo>
                        <a:pt x="84" y="198"/>
                      </a:lnTo>
                      <a:lnTo>
                        <a:pt x="84" y="210"/>
                      </a:lnTo>
                      <a:lnTo>
                        <a:pt x="96" y="246"/>
                      </a:lnTo>
                      <a:lnTo>
                        <a:pt x="108" y="270"/>
                      </a:lnTo>
                      <a:lnTo>
                        <a:pt x="120" y="282"/>
                      </a:lnTo>
                      <a:lnTo>
                        <a:pt x="120" y="300"/>
                      </a:lnTo>
                      <a:lnTo>
                        <a:pt x="144" y="306"/>
                      </a:lnTo>
                      <a:lnTo>
                        <a:pt x="156" y="324"/>
                      </a:lnTo>
                      <a:lnTo>
                        <a:pt x="162" y="318"/>
                      </a:lnTo>
                      <a:lnTo>
                        <a:pt x="174" y="312"/>
                      </a:lnTo>
                      <a:lnTo>
                        <a:pt x="186" y="312"/>
                      </a:lnTo>
                      <a:lnTo>
                        <a:pt x="186" y="318"/>
                      </a:lnTo>
                      <a:lnTo>
                        <a:pt x="168" y="336"/>
                      </a:lnTo>
                      <a:lnTo>
                        <a:pt x="168" y="342"/>
                      </a:lnTo>
                      <a:lnTo>
                        <a:pt x="180" y="354"/>
                      </a:lnTo>
                      <a:lnTo>
                        <a:pt x="186" y="366"/>
                      </a:lnTo>
                      <a:lnTo>
                        <a:pt x="186" y="372"/>
                      </a:lnTo>
                      <a:lnTo>
                        <a:pt x="174" y="384"/>
                      </a:lnTo>
                      <a:lnTo>
                        <a:pt x="168" y="384"/>
                      </a:lnTo>
                      <a:lnTo>
                        <a:pt x="168" y="414"/>
                      </a:lnTo>
                      <a:lnTo>
                        <a:pt x="156" y="414"/>
                      </a:lnTo>
                      <a:lnTo>
                        <a:pt x="144" y="426"/>
                      </a:lnTo>
                      <a:lnTo>
                        <a:pt x="144" y="432"/>
                      </a:lnTo>
                      <a:lnTo>
                        <a:pt x="156" y="444"/>
                      </a:lnTo>
                      <a:lnTo>
                        <a:pt x="150" y="450"/>
                      </a:lnTo>
                      <a:lnTo>
                        <a:pt x="144" y="462"/>
                      </a:lnTo>
                      <a:lnTo>
                        <a:pt x="144" y="468"/>
                      </a:lnTo>
                      <a:lnTo>
                        <a:pt x="150" y="474"/>
                      </a:lnTo>
                      <a:lnTo>
                        <a:pt x="162" y="480"/>
                      </a:lnTo>
                      <a:lnTo>
                        <a:pt x="174" y="492"/>
                      </a:lnTo>
                      <a:lnTo>
                        <a:pt x="198" y="504"/>
                      </a:lnTo>
                      <a:lnTo>
                        <a:pt x="204" y="510"/>
                      </a:lnTo>
                      <a:lnTo>
                        <a:pt x="210" y="510"/>
                      </a:lnTo>
                      <a:lnTo>
                        <a:pt x="210" y="552"/>
                      </a:lnTo>
                      <a:lnTo>
                        <a:pt x="234" y="552"/>
                      </a:lnTo>
                      <a:lnTo>
                        <a:pt x="240" y="558"/>
                      </a:lnTo>
                      <a:lnTo>
                        <a:pt x="252" y="564"/>
                      </a:lnTo>
                      <a:lnTo>
                        <a:pt x="270" y="582"/>
                      </a:lnTo>
                      <a:lnTo>
                        <a:pt x="288" y="582"/>
                      </a:lnTo>
                      <a:lnTo>
                        <a:pt x="294" y="588"/>
                      </a:lnTo>
                      <a:lnTo>
                        <a:pt x="300" y="600"/>
                      </a:lnTo>
                      <a:lnTo>
                        <a:pt x="330" y="636"/>
                      </a:lnTo>
                      <a:lnTo>
                        <a:pt x="330" y="648"/>
                      </a:lnTo>
                      <a:lnTo>
                        <a:pt x="324" y="660"/>
                      </a:lnTo>
                      <a:lnTo>
                        <a:pt x="324" y="696"/>
                      </a:lnTo>
                      <a:lnTo>
                        <a:pt x="330" y="702"/>
                      </a:lnTo>
                      <a:lnTo>
                        <a:pt x="342" y="708"/>
                      </a:lnTo>
                      <a:lnTo>
                        <a:pt x="348" y="714"/>
                      </a:lnTo>
                      <a:lnTo>
                        <a:pt x="354" y="714"/>
                      </a:lnTo>
                      <a:lnTo>
                        <a:pt x="360" y="744"/>
                      </a:lnTo>
                      <a:lnTo>
                        <a:pt x="372" y="750"/>
                      </a:lnTo>
                      <a:lnTo>
                        <a:pt x="384" y="762"/>
                      </a:lnTo>
                      <a:lnTo>
                        <a:pt x="384" y="768"/>
                      </a:lnTo>
                      <a:lnTo>
                        <a:pt x="390" y="774"/>
                      </a:lnTo>
                      <a:lnTo>
                        <a:pt x="402" y="780"/>
                      </a:lnTo>
                      <a:lnTo>
                        <a:pt x="408" y="786"/>
                      </a:lnTo>
                      <a:lnTo>
                        <a:pt x="420" y="792"/>
                      </a:lnTo>
                      <a:lnTo>
                        <a:pt x="426" y="786"/>
                      </a:lnTo>
                      <a:lnTo>
                        <a:pt x="426" y="774"/>
                      </a:lnTo>
                      <a:lnTo>
                        <a:pt x="420" y="768"/>
                      </a:lnTo>
                      <a:lnTo>
                        <a:pt x="420" y="762"/>
                      </a:lnTo>
                      <a:lnTo>
                        <a:pt x="426" y="756"/>
                      </a:lnTo>
                      <a:lnTo>
                        <a:pt x="438" y="750"/>
                      </a:lnTo>
                      <a:lnTo>
                        <a:pt x="444" y="756"/>
                      </a:lnTo>
                      <a:lnTo>
                        <a:pt x="450" y="756"/>
                      </a:lnTo>
                      <a:lnTo>
                        <a:pt x="450" y="768"/>
                      </a:lnTo>
                      <a:lnTo>
                        <a:pt x="456" y="780"/>
                      </a:lnTo>
                      <a:lnTo>
                        <a:pt x="474" y="780"/>
                      </a:lnTo>
                      <a:lnTo>
                        <a:pt x="474" y="786"/>
                      </a:lnTo>
                      <a:lnTo>
                        <a:pt x="474" y="780"/>
                      </a:lnTo>
                      <a:lnTo>
                        <a:pt x="480" y="780"/>
                      </a:lnTo>
                      <a:lnTo>
                        <a:pt x="480" y="768"/>
                      </a:lnTo>
                      <a:lnTo>
                        <a:pt x="504" y="768"/>
                      </a:lnTo>
                      <a:lnTo>
                        <a:pt x="504" y="804"/>
                      </a:lnTo>
                      <a:lnTo>
                        <a:pt x="510" y="810"/>
                      </a:lnTo>
                      <a:lnTo>
                        <a:pt x="516" y="810"/>
                      </a:lnTo>
                      <a:lnTo>
                        <a:pt x="528" y="816"/>
                      </a:lnTo>
                      <a:lnTo>
                        <a:pt x="540" y="828"/>
                      </a:lnTo>
                      <a:lnTo>
                        <a:pt x="540" y="846"/>
                      </a:lnTo>
                      <a:lnTo>
                        <a:pt x="552" y="858"/>
                      </a:lnTo>
                      <a:lnTo>
                        <a:pt x="558" y="870"/>
                      </a:lnTo>
                      <a:lnTo>
                        <a:pt x="564" y="876"/>
                      </a:lnTo>
                      <a:lnTo>
                        <a:pt x="570" y="876"/>
                      </a:lnTo>
                      <a:lnTo>
                        <a:pt x="582" y="894"/>
                      </a:lnTo>
                      <a:lnTo>
                        <a:pt x="582" y="906"/>
                      </a:lnTo>
                      <a:lnTo>
                        <a:pt x="594" y="930"/>
                      </a:lnTo>
                      <a:lnTo>
                        <a:pt x="600" y="936"/>
                      </a:lnTo>
                      <a:lnTo>
                        <a:pt x="606" y="936"/>
                      </a:lnTo>
                      <a:lnTo>
                        <a:pt x="612" y="942"/>
                      </a:lnTo>
                      <a:lnTo>
                        <a:pt x="618" y="954"/>
                      </a:lnTo>
                      <a:lnTo>
                        <a:pt x="618" y="960"/>
                      </a:lnTo>
                      <a:lnTo>
                        <a:pt x="648" y="960"/>
                      </a:lnTo>
                      <a:lnTo>
                        <a:pt x="666" y="984"/>
                      </a:lnTo>
                      <a:lnTo>
                        <a:pt x="684" y="978"/>
                      </a:lnTo>
                      <a:lnTo>
                        <a:pt x="702" y="978"/>
                      </a:lnTo>
                      <a:lnTo>
                        <a:pt x="720" y="996"/>
                      </a:lnTo>
                      <a:lnTo>
                        <a:pt x="738" y="1008"/>
                      </a:lnTo>
                      <a:lnTo>
                        <a:pt x="756" y="1026"/>
                      </a:lnTo>
                      <a:lnTo>
                        <a:pt x="792" y="1050"/>
                      </a:lnTo>
                      <a:lnTo>
                        <a:pt x="810" y="1050"/>
                      </a:lnTo>
                      <a:lnTo>
                        <a:pt x="822" y="1056"/>
                      </a:lnTo>
                      <a:lnTo>
                        <a:pt x="834" y="1068"/>
                      </a:lnTo>
                      <a:lnTo>
                        <a:pt x="852" y="1068"/>
                      </a:lnTo>
                      <a:lnTo>
                        <a:pt x="876" y="1056"/>
                      </a:lnTo>
                      <a:lnTo>
                        <a:pt x="876" y="1050"/>
                      </a:lnTo>
                      <a:lnTo>
                        <a:pt x="900" y="1056"/>
                      </a:lnTo>
                      <a:lnTo>
                        <a:pt x="912" y="1032"/>
                      </a:lnTo>
                      <a:lnTo>
                        <a:pt x="930" y="1032"/>
                      </a:lnTo>
                      <a:lnTo>
                        <a:pt x="954" y="1008"/>
                      </a:lnTo>
                      <a:lnTo>
                        <a:pt x="966" y="1020"/>
                      </a:lnTo>
                      <a:lnTo>
                        <a:pt x="972" y="1014"/>
                      </a:lnTo>
                      <a:lnTo>
                        <a:pt x="984" y="1014"/>
                      </a:lnTo>
                      <a:lnTo>
                        <a:pt x="1002" y="1032"/>
                      </a:lnTo>
                      <a:lnTo>
                        <a:pt x="1014" y="1050"/>
                      </a:lnTo>
                      <a:lnTo>
                        <a:pt x="1020" y="1068"/>
                      </a:lnTo>
                      <a:lnTo>
                        <a:pt x="1032" y="1080"/>
                      </a:lnTo>
                      <a:lnTo>
                        <a:pt x="1032" y="1098"/>
                      </a:lnTo>
                      <a:lnTo>
                        <a:pt x="1038" y="1110"/>
                      </a:lnTo>
                      <a:lnTo>
                        <a:pt x="1044" y="1116"/>
                      </a:lnTo>
                      <a:lnTo>
                        <a:pt x="1056" y="1122"/>
                      </a:lnTo>
                      <a:lnTo>
                        <a:pt x="1080" y="1122"/>
                      </a:lnTo>
                      <a:lnTo>
                        <a:pt x="1080" y="1128"/>
                      </a:lnTo>
                      <a:lnTo>
                        <a:pt x="1086" y="1134"/>
                      </a:lnTo>
                      <a:lnTo>
                        <a:pt x="1098" y="1140"/>
                      </a:lnTo>
                      <a:lnTo>
                        <a:pt x="1164" y="1140"/>
                      </a:lnTo>
                      <a:lnTo>
                        <a:pt x="1176" y="1146"/>
                      </a:lnTo>
                      <a:lnTo>
                        <a:pt x="1200" y="1170"/>
                      </a:lnTo>
                      <a:lnTo>
                        <a:pt x="1212" y="1170"/>
                      </a:lnTo>
                      <a:lnTo>
                        <a:pt x="1224" y="1164"/>
                      </a:lnTo>
                      <a:lnTo>
                        <a:pt x="1230" y="1164"/>
                      </a:lnTo>
                      <a:lnTo>
                        <a:pt x="1242" y="1158"/>
                      </a:lnTo>
                      <a:lnTo>
                        <a:pt x="1248" y="1158"/>
                      </a:lnTo>
                      <a:lnTo>
                        <a:pt x="1254" y="1164"/>
                      </a:lnTo>
                      <a:lnTo>
                        <a:pt x="1278" y="1176"/>
                      </a:lnTo>
                      <a:lnTo>
                        <a:pt x="1296" y="1182"/>
                      </a:lnTo>
                      <a:lnTo>
                        <a:pt x="1326" y="1182"/>
                      </a:lnTo>
                      <a:lnTo>
                        <a:pt x="1338" y="117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08" name="Western Sahara">
                  <a:extLst>
                    <a:ext uri="{FF2B5EF4-FFF2-40B4-BE49-F238E27FC236}">
                      <a16:creationId xmlns:a16="http://schemas.microsoft.com/office/drawing/2014/main" id="{26A94858-4B0D-484D-969F-D94ECE169825}"/>
                    </a:ext>
                  </a:extLst>
                </p:cNvPr>
                <p:cNvSpPr>
                  <a:spLocks/>
                </p:cNvSpPr>
                <p:nvPr/>
              </p:nvSpPr>
              <p:spPr bwMode="gray">
                <a:xfrm>
                  <a:off x="3797380" y="2542087"/>
                  <a:ext cx="226105" cy="193364"/>
                </a:xfrm>
                <a:custGeom>
                  <a:avLst/>
                  <a:gdLst>
                    <a:gd name="T0" fmla="*/ 2147483647 w 600"/>
                    <a:gd name="T1" fmla="*/ 0 h 510"/>
                    <a:gd name="T2" fmla="*/ 2147483647 w 600"/>
                    <a:gd name="T3" fmla="*/ 0 h 510"/>
                    <a:gd name="T4" fmla="*/ 2147483647 w 600"/>
                    <a:gd name="T5" fmla="*/ 2147483647 h 510"/>
                    <a:gd name="T6" fmla="*/ 2147483647 w 600"/>
                    <a:gd name="T7" fmla="*/ 2147483647 h 510"/>
                    <a:gd name="T8" fmla="*/ 2147483647 w 600"/>
                    <a:gd name="T9" fmla="*/ 2147483647 h 510"/>
                    <a:gd name="T10" fmla="*/ 2147483647 w 600"/>
                    <a:gd name="T11" fmla="*/ 2147483647 h 510"/>
                    <a:gd name="T12" fmla="*/ 2147483647 w 600"/>
                    <a:gd name="T13" fmla="*/ 2147483647 h 510"/>
                    <a:gd name="T14" fmla="*/ 2147483647 w 600"/>
                    <a:gd name="T15" fmla="*/ 2147483647 h 510"/>
                    <a:gd name="T16" fmla="*/ 2147483647 w 600"/>
                    <a:gd name="T17" fmla="*/ 2147483647 h 510"/>
                    <a:gd name="T18" fmla="*/ 2147483647 w 600"/>
                    <a:gd name="T19" fmla="*/ 2147483647 h 510"/>
                    <a:gd name="T20" fmla="*/ 2147483647 w 600"/>
                    <a:gd name="T21" fmla="*/ 2147483647 h 510"/>
                    <a:gd name="T22" fmla="*/ 2147483647 w 600"/>
                    <a:gd name="T23" fmla="*/ 2147483647 h 510"/>
                    <a:gd name="T24" fmla="*/ 2147483647 w 600"/>
                    <a:gd name="T25" fmla="*/ 2147483647 h 510"/>
                    <a:gd name="T26" fmla="*/ 2147483647 w 600"/>
                    <a:gd name="T27" fmla="*/ 2147483647 h 510"/>
                    <a:gd name="T28" fmla="*/ 2147483647 w 600"/>
                    <a:gd name="T29" fmla="*/ 2147483647 h 510"/>
                    <a:gd name="T30" fmla="*/ 2147483647 w 600"/>
                    <a:gd name="T31" fmla="*/ 2147483647 h 510"/>
                    <a:gd name="T32" fmla="*/ 2147483647 w 600"/>
                    <a:gd name="T33" fmla="*/ 2147483647 h 510"/>
                    <a:gd name="T34" fmla="*/ 2147483647 w 600"/>
                    <a:gd name="T35" fmla="*/ 2147483647 h 510"/>
                    <a:gd name="T36" fmla="*/ 2147483647 w 600"/>
                    <a:gd name="T37" fmla="*/ 2147483647 h 510"/>
                    <a:gd name="T38" fmla="*/ 2147483647 w 600"/>
                    <a:gd name="T39" fmla="*/ 2147483647 h 510"/>
                    <a:gd name="T40" fmla="*/ 2147483647 w 600"/>
                    <a:gd name="T41" fmla="*/ 2147483647 h 510"/>
                    <a:gd name="T42" fmla="*/ 2147483647 w 600"/>
                    <a:gd name="T43" fmla="*/ 2147483647 h 510"/>
                    <a:gd name="T44" fmla="*/ 2147483647 w 600"/>
                    <a:gd name="T45" fmla="*/ 2147483647 h 510"/>
                    <a:gd name="T46" fmla="*/ 2147483647 w 600"/>
                    <a:gd name="T47" fmla="*/ 2147483647 h 510"/>
                    <a:gd name="T48" fmla="*/ 2147483647 w 600"/>
                    <a:gd name="T49" fmla="*/ 2147483647 h 510"/>
                    <a:gd name="T50" fmla="*/ 2147483647 w 600"/>
                    <a:gd name="T51" fmla="*/ 2147483647 h 510"/>
                    <a:gd name="T52" fmla="*/ 2147483647 w 600"/>
                    <a:gd name="T53" fmla="*/ 2147483647 h 510"/>
                    <a:gd name="T54" fmla="*/ 2147483647 w 600"/>
                    <a:gd name="T55" fmla="*/ 2147483647 h 510"/>
                    <a:gd name="T56" fmla="*/ 2147483647 w 600"/>
                    <a:gd name="T57" fmla="*/ 2147483647 h 510"/>
                    <a:gd name="T58" fmla="*/ 2147483647 w 600"/>
                    <a:gd name="T59" fmla="*/ 2147483647 h 510"/>
                    <a:gd name="T60" fmla="*/ 2147483647 w 600"/>
                    <a:gd name="T61" fmla="*/ 2147483647 h 510"/>
                    <a:gd name="T62" fmla="*/ 2147483647 w 600"/>
                    <a:gd name="T63" fmla="*/ 2147483647 h 510"/>
                    <a:gd name="T64" fmla="*/ 2147483647 w 600"/>
                    <a:gd name="T65" fmla="*/ 2147483647 h 510"/>
                    <a:gd name="T66" fmla="*/ 2147483647 w 600"/>
                    <a:gd name="T67" fmla="*/ 2147483647 h 510"/>
                    <a:gd name="T68" fmla="*/ 2147483647 w 600"/>
                    <a:gd name="T69" fmla="*/ 2147483647 h 510"/>
                    <a:gd name="T70" fmla="*/ 2147483647 w 600"/>
                    <a:gd name="T71" fmla="*/ 2147483647 h 510"/>
                    <a:gd name="T72" fmla="*/ 2147483647 w 600"/>
                    <a:gd name="T73" fmla="*/ 2147483647 h 510"/>
                    <a:gd name="T74" fmla="*/ 2147483647 w 600"/>
                    <a:gd name="T75" fmla="*/ 2147483647 h 510"/>
                    <a:gd name="T76" fmla="*/ 2147483647 w 600"/>
                    <a:gd name="T77" fmla="*/ 2147483647 h 510"/>
                    <a:gd name="T78" fmla="*/ 0 w 600"/>
                    <a:gd name="T79" fmla="*/ 2147483647 h 510"/>
                    <a:gd name="T80" fmla="*/ 0 w 600"/>
                    <a:gd name="T81" fmla="*/ 2147483647 h 510"/>
                    <a:gd name="T82" fmla="*/ 2147483647 w 600"/>
                    <a:gd name="T83" fmla="*/ 2147483647 h 510"/>
                    <a:gd name="T84" fmla="*/ 2147483647 w 600"/>
                    <a:gd name="T85" fmla="*/ 2147483647 h 510"/>
                    <a:gd name="T86" fmla="*/ 2147483647 w 600"/>
                    <a:gd name="T87" fmla="*/ 2147483647 h 510"/>
                    <a:gd name="T88" fmla="*/ 2147483647 w 600"/>
                    <a:gd name="T89" fmla="*/ 2147483647 h 510"/>
                    <a:gd name="T90" fmla="*/ 2147483647 w 600"/>
                    <a:gd name="T91" fmla="*/ 2147483647 h 510"/>
                    <a:gd name="T92" fmla="*/ 2147483647 w 600"/>
                    <a:gd name="T93" fmla="*/ 2147483647 h 510"/>
                    <a:gd name="T94" fmla="*/ 2147483647 w 600"/>
                    <a:gd name="T95" fmla="*/ 2147483647 h 510"/>
                    <a:gd name="T96" fmla="*/ 2147483647 w 600"/>
                    <a:gd name="T97" fmla="*/ 2147483647 h 510"/>
                    <a:gd name="T98" fmla="*/ 2147483647 w 600"/>
                    <a:gd name="T99" fmla="*/ 2147483647 h 510"/>
                    <a:gd name="T100" fmla="*/ 2147483647 w 600"/>
                    <a:gd name="T101" fmla="*/ 2147483647 h 510"/>
                    <a:gd name="T102" fmla="*/ 2147483647 w 600"/>
                    <a:gd name="T103" fmla="*/ 2147483647 h 510"/>
                    <a:gd name="T104" fmla="*/ 2147483647 w 600"/>
                    <a:gd name="T105" fmla="*/ 2147483647 h 510"/>
                    <a:gd name="T106" fmla="*/ 2147483647 w 600"/>
                    <a:gd name="T107" fmla="*/ 2147483647 h 510"/>
                    <a:gd name="T108" fmla="*/ 2147483647 w 600"/>
                    <a:gd name="T109" fmla="*/ 2147483647 h 510"/>
                    <a:gd name="T110" fmla="*/ 2147483647 w 600"/>
                    <a:gd name="T111" fmla="*/ 2147483647 h 510"/>
                    <a:gd name="T112" fmla="*/ 2147483647 w 600"/>
                    <a:gd name="T113" fmla="*/ 0 h 510"/>
                    <a:gd name="T114" fmla="*/ 2147483647 w 600"/>
                    <a:gd name="T115" fmla="*/ 0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0"/>
                    <a:gd name="T175" fmla="*/ 0 h 510"/>
                    <a:gd name="T176" fmla="*/ 600 w 600"/>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0" h="510">
                      <a:moveTo>
                        <a:pt x="546" y="0"/>
                      </a:moveTo>
                      <a:lnTo>
                        <a:pt x="288" y="0"/>
                      </a:lnTo>
                      <a:lnTo>
                        <a:pt x="282" y="6"/>
                      </a:lnTo>
                      <a:lnTo>
                        <a:pt x="270" y="30"/>
                      </a:lnTo>
                      <a:lnTo>
                        <a:pt x="270" y="42"/>
                      </a:lnTo>
                      <a:lnTo>
                        <a:pt x="264" y="54"/>
                      </a:lnTo>
                      <a:lnTo>
                        <a:pt x="264" y="66"/>
                      </a:lnTo>
                      <a:lnTo>
                        <a:pt x="234" y="96"/>
                      </a:lnTo>
                      <a:lnTo>
                        <a:pt x="198" y="96"/>
                      </a:lnTo>
                      <a:lnTo>
                        <a:pt x="186" y="108"/>
                      </a:lnTo>
                      <a:lnTo>
                        <a:pt x="186" y="144"/>
                      </a:lnTo>
                      <a:lnTo>
                        <a:pt x="156" y="174"/>
                      </a:lnTo>
                      <a:lnTo>
                        <a:pt x="156" y="186"/>
                      </a:lnTo>
                      <a:lnTo>
                        <a:pt x="168" y="210"/>
                      </a:lnTo>
                      <a:lnTo>
                        <a:pt x="168" y="222"/>
                      </a:lnTo>
                      <a:lnTo>
                        <a:pt x="156" y="246"/>
                      </a:lnTo>
                      <a:lnTo>
                        <a:pt x="144" y="252"/>
                      </a:lnTo>
                      <a:lnTo>
                        <a:pt x="138" y="252"/>
                      </a:lnTo>
                      <a:lnTo>
                        <a:pt x="132" y="258"/>
                      </a:lnTo>
                      <a:lnTo>
                        <a:pt x="126" y="270"/>
                      </a:lnTo>
                      <a:lnTo>
                        <a:pt x="114" y="282"/>
                      </a:lnTo>
                      <a:lnTo>
                        <a:pt x="102" y="288"/>
                      </a:lnTo>
                      <a:lnTo>
                        <a:pt x="96" y="294"/>
                      </a:lnTo>
                      <a:lnTo>
                        <a:pt x="84" y="300"/>
                      </a:lnTo>
                      <a:lnTo>
                        <a:pt x="78" y="306"/>
                      </a:lnTo>
                      <a:lnTo>
                        <a:pt x="78" y="318"/>
                      </a:lnTo>
                      <a:lnTo>
                        <a:pt x="90" y="324"/>
                      </a:lnTo>
                      <a:lnTo>
                        <a:pt x="78" y="330"/>
                      </a:lnTo>
                      <a:lnTo>
                        <a:pt x="60" y="366"/>
                      </a:lnTo>
                      <a:lnTo>
                        <a:pt x="60" y="384"/>
                      </a:lnTo>
                      <a:lnTo>
                        <a:pt x="48" y="384"/>
                      </a:lnTo>
                      <a:lnTo>
                        <a:pt x="48" y="390"/>
                      </a:lnTo>
                      <a:lnTo>
                        <a:pt x="54" y="396"/>
                      </a:lnTo>
                      <a:lnTo>
                        <a:pt x="54" y="408"/>
                      </a:lnTo>
                      <a:lnTo>
                        <a:pt x="48" y="420"/>
                      </a:lnTo>
                      <a:lnTo>
                        <a:pt x="36" y="426"/>
                      </a:lnTo>
                      <a:lnTo>
                        <a:pt x="24" y="426"/>
                      </a:lnTo>
                      <a:lnTo>
                        <a:pt x="18" y="432"/>
                      </a:lnTo>
                      <a:lnTo>
                        <a:pt x="6" y="456"/>
                      </a:lnTo>
                      <a:lnTo>
                        <a:pt x="0" y="462"/>
                      </a:lnTo>
                      <a:lnTo>
                        <a:pt x="0" y="510"/>
                      </a:lnTo>
                      <a:lnTo>
                        <a:pt x="276" y="510"/>
                      </a:lnTo>
                      <a:lnTo>
                        <a:pt x="282" y="408"/>
                      </a:lnTo>
                      <a:lnTo>
                        <a:pt x="276" y="396"/>
                      </a:lnTo>
                      <a:lnTo>
                        <a:pt x="276" y="378"/>
                      </a:lnTo>
                      <a:lnTo>
                        <a:pt x="282" y="366"/>
                      </a:lnTo>
                      <a:lnTo>
                        <a:pt x="306" y="354"/>
                      </a:lnTo>
                      <a:lnTo>
                        <a:pt x="336" y="354"/>
                      </a:lnTo>
                      <a:lnTo>
                        <a:pt x="348" y="348"/>
                      </a:lnTo>
                      <a:lnTo>
                        <a:pt x="354" y="342"/>
                      </a:lnTo>
                      <a:lnTo>
                        <a:pt x="354" y="150"/>
                      </a:lnTo>
                      <a:lnTo>
                        <a:pt x="366" y="144"/>
                      </a:lnTo>
                      <a:lnTo>
                        <a:pt x="366" y="132"/>
                      </a:lnTo>
                      <a:lnTo>
                        <a:pt x="588" y="126"/>
                      </a:lnTo>
                      <a:lnTo>
                        <a:pt x="588" y="90"/>
                      </a:lnTo>
                      <a:lnTo>
                        <a:pt x="594" y="84"/>
                      </a:lnTo>
                      <a:lnTo>
                        <a:pt x="600" y="0"/>
                      </a:lnTo>
                      <a:lnTo>
                        <a:pt x="546"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9" name="Togo">
                  <a:extLst>
                    <a:ext uri="{FF2B5EF4-FFF2-40B4-BE49-F238E27FC236}">
                      <a16:creationId xmlns:a16="http://schemas.microsoft.com/office/drawing/2014/main" id="{D56827E4-65A4-45F2-A21C-37CA0EA0E62B}"/>
                    </a:ext>
                  </a:extLst>
                </p:cNvPr>
                <p:cNvSpPr>
                  <a:spLocks/>
                </p:cNvSpPr>
                <p:nvPr/>
              </p:nvSpPr>
              <p:spPr bwMode="gray">
                <a:xfrm>
                  <a:off x="4234714" y="3046322"/>
                  <a:ext cx="53551" cy="151716"/>
                </a:xfrm>
                <a:custGeom>
                  <a:avLst/>
                  <a:gdLst>
                    <a:gd name="T0" fmla="*/ 2147483647 w 138"/>
                    <a:gd name="T1" fmla="*/ 2147483647 h 402"/>
                    <a:gd name="T2" fmla="*/ 2147483647 w 138"/>
                    <a:gd name="T3" fmla="*/ 2147483647 h 402"/>
                    <a:gd name="T4" fmla="*/ 2147483647 w 138"/>
                    <a:gd name="T5" fmla="*/ 2147483647 h 402"/>
                    <a:gd name="T6" fmla="*/ 2147483647 w 138"/>
                    <a:gd name="T7" fmla="*/ 2147483647 h 402"/>
                    <a:gd name="T8" fmla="*/ 2147483647 w 138"/>
                    <a:gd name="T9" fmla="*/ 2147483647 h 402"/>
                    <a:gd name="T10" fmla="*/ 2147483647 w 138"/>
                    <a:gd name="T11" fmla="*/ 2147483647 h 402"/>
                    <a:gd name="T12" fmla="*/ 2147483647 w 138"/>
                    <a:gd name="T13" fmla="*/ 2147483647 h 402"/>
                    <a:gd name="T14" fmla="*/ 2147483647 w 138"/>
                    <a:gd name="T15" fmla="*/ 2147483647 h 402"/>
                    <a:gd name="T16" fmla="*/ 2147483647 w 138"/>
                    <a:gd name="T17" fmla="*/ 2147483647 h 402"/>
                    <a:gd name="T18" fmla="*/ 2147483647 w 138"/>
                    <a:gd name="T19" fmla="*/ 2147483647 h 402"/>
                    <a:gd name="T20" fmla="*/ 2147483647 w 138"/>
                    <a:gd name="T21" fmla="*/ 2147483647 h 402"/>
                    <a:gd name="T22" fmla="*/ 2147483647 w 138"/>
                    <a:gd name="T23" fmla="*/ 2147483647 h 402"/>
                    <a:gd name="T24" fmla="*/ 2147483647 w 138"/>
                    <a:gd name="T25" fmla="*/ 2147483647 h 402"/>
                    <a:gd name="T26" fmla="*/ 2147483647 w 138"/>
                    <a:gd name="T27" fmla="*/ 2147483647 h 402"/>
                    <a:gd name="T28" fmla="*/ 2147483647 w 138"/>
                    <a:gd name="T29" fmla="*/ 2147483647 h 402"/>
                    <a:gd name="T30" fmla="*/ 2147483647 w 138"/>
                    <a:gd name="T31" fmla="*/ 2147483647 h 402"/>
                    <a:gd name="T32" fmla="*/ 2147483647 w 138"/>
                    <a:gd name="T33" fmla="*/ 0 h 402"/>
                    <a:gd name="T34" fmla="*/ 2147483647 w 138"/>
                    <a:gd name="T35" fmla="*/ 0 h 402"/>
                    <a:gd name="T36" fmla="*/ 2147483647 w 138"/>
                    <a:gd name="T37" fmla="*/ 2147483647 h 402"/>
                    <a:gd name="T38" fmla="*/ 0 w 138"/>
                    <a:gd name="T39" fmla="*/ 2147483647 h 402"/>
                    <a:gd name="T40" fmla="*/ 2147483647 w 138"/>
                    <a:gd name="T41" fmla="*/ 2147483647 h 402"/>
                    <a:gd name="T42" fmla="*/ 2147483647 w 138"/>
                    <a:gd name="T43" fmla="*/ 2147483647 h 402"/>
                    <a:gd name="T44" fmla="*/ 2147483647 w 138"/>
                    <a:gd name="T45" fmla="*/ 2147483647 h 402"/>
                    <a:gd name="T46" fmla="*/ 2147483647 w 138"/>
                    <a:gd name="T47" fmla="*/ 2147483647 h 402"/>
                    <a:gd name="T48" fmla="*/ 2147483647 w 138"/>
                    <a:gd name="T49" fmla="*/ 2147483647 h 402"/>
                    <a:gd name="T50" fmla="*/ 2147483647 w 138"/>
                    <a:gd name="T51" fmla="*/ 2147483647 h 402"/>
                    <a:gd name="T52" fmla="*/ 2147483647 w 138"/>
                    <a:gd name="T53" fmla="*/ 2147483647 h 402"/>
                    <a:gd name="T54" fmla="*/ 2147483647 w 138"/>
                    <a:gd name="T55" fmla="*/ 2147483647 h 402"/>
                    <a:gd name="T56" fmla="*/ 2147483647 w 138"/>
                    <a:gd name="T57" fmla="*/ 2147483647 h 402"/>
                    <a:gd name="T58" fmla="*/ 2147483647 w 138"/>
                    <a:gd name="T59" fmla="*/ 2147483647 h 402"/>
                    <a:gd name="T60" fmla="*/ 2147483647 w 138"/>
                    <a:gd name="T61" fmla="*/ 2147483647 h 402"/>
                    <a:gd name="T62" fmla="*/ 2147483647 w 138"/>
                    <a:gd name="T63" fmla="*/ 2147483647 h 402"/>
                    <a:gd name="T64" fmla="*/ 2147483647 w 138"/>
                    <a:gd name="T65" fmla="*/ 2147483647 h 402"/>
                    <a:gd name="T66" fmla="*/ 2147483647 w 138"/>
                    <a:gd name="T67" fmla="*/ 2147483647 h 402"/>
                    <a:gd name="T68" fmla="*/ 2147483647 w 138"/>
                    <a:gd name="T69" fmla="*/ 2147483647 h 402"/>
                    <a:gd name="T70" fmla="*/ 2147483647 w 138"/>
                    <a:gd name="T71" fmla="*/ 2147483647 h 402"/>
                    <a:gd name="T72" fmla="*/ 2147483647 w 138"/>
                    <a:gd name="T73" fmla="*/ 2147483647 h 402"/>
                    <a:gd name="T74" fmla="*/ 2147483647 w 138"/>
                    <a:gd name="T75" fmla="*/ 2147483647 h 402"/>
                    <a:gd name="T76" fmla="*/ 2147483647 w 138"/>
                    <a:gd name="T77" fmla="*/ 2147483647 h 402"/>
                    <a:gd name="T78" fmla="*/ 2147483647 w 138"/>
                    <a:gd name="T79" fmla="*/ 2147483647 h 402"/>
                    <a:gd name="T80" fmla="*/ 2147483647 w 138"/>
                    <a:gd name="T81" fmla="*/ 2147483647 h 402"/>
                    <a:gd name="T82" fmla="*/ 2147483647 w 138"/>
                    <a:gd name="T83" fmla="*/ 2147483647 h 402"/>
                    <a:gd name="T84" fmla="*/ 2147483647 w 138"/>
                    <a:gd name="T85" fmla="*/ 2147483647 h 402"/>
                    <a:gd name="T86" fmla="*/ 2147483647 w 138"/>
                    <a:gd name="T87" fmla="*/ 2147483647 h 402"/>
                    <a:gd name="T88" fmla="*/ 2147483647 w 138"/>
                    <a:gd name="T89" fmla="*/ 2147483647 h 402"/>
                    <a:gd name="T90" fmla="*/ 2147483647 w 138"/>
                    <a:gd name="T91" fmla="*/ 2147483647 h 402"/>
                    <a:gd name="T92" fmla="*/ 2147483647 w 138"/>
                    <a:gd name="T93" fmla="*/ 2147483647 h 402"/>
                    <a:gd name="T94" fmla="*/ 2147483647 w 138"/>
                    <a:gd name="T95" fmla="*/ 2147483647 h 402"/>
                    <a:gd name="T96" fmla="*/ 2147483647 w 138"/>
                    <a:gd name="T97" fmla="*/ 2147483647 h 402"/>
                    <a:gd name="T98" fmla="*/ 2147483647 w 138"/>
                    <a:gd name="T99" fmla="*/ 2147483647 h 402"/>
                    <a:gd name="T100" fmla="*/ 2147483647 w 138"/>
                    <a:gd name="T101" fmla="*/ 2147483647 h 402"/>
                    <a:gd name="T102" fmla="*/ 2147483647 w 138"/>
                    <a:gd name="T103" fmla="*/ 2147483647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402"/>
                    <a:gd name="T158" fmla="*/ 138 w 13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402">
                      <a:moveTo>
                        <a:pt x="126" y="354"/>
                      </a:moveTo>
                      <a:lnTo>
                        <a:pt x="120" y="288"/>
                      </a:lnTo>
                      <a:lnTo>
                        <a:pt x="132" y="282"/>
                      </a:lnTo>
                      <a:lnTo>
                        <a:pt x="120" y="270"/>
                      </a:lnTo>
                      <a:lnTo>
                        <a:pt x="120" y="210"/>
                      </a:lnTo>
                      <a:lnTo>
                        <a:pt x="132" y="198"/>
                      </a:lnTo>
                      <a:lnTo>
                        <a:pt x="126" y="186"/>
                      </a:lnTo>
                      <a:lnTo>
                        <a:pt x="126" y="156"/>
                      </a:lnTo>
                      <a:lnTo>
                        <a:pt x="120" y="144"/>
                      </a:lnTo>
                      <a:lnTo>
                        <a:pt x="108" y="132"/>
                      </a:lnTo>
                      <a:lnTo>
                        <a:pt x="108" y="90"/>
                      </a:lnTo>
                      <a:lnTo>
                        <a:pt x="78" y="60"/>
                      </a:lnTo>
                      <a:lnTo>
                        <a:pt x="66" y="54"/>
                      </a:lnTo>
                      <a:lnTo>
                        <a:pt x="66" y="24"/>
                      </a:lnTo>
                      <a:lnTo>
                        <a:pt x="72" y="6"/>
                      </a:lnTo>
                      <a:lnTo>
                        <a:pt x="54" y="6"/>
                      </a:lnTo>
                      <a:lnTo>
                        <a:pt x="30" y="0"/>
                      </a:lnTo>
                      <a:lnTo>
                        <a:pt x="12" y="0"/>
                      </a:lnTo>
                      <a:lnTo>
                        <a:pt x="12" y="18"/>
                      </a:lnTo>
                      <a:lnTo>
                        <a:pt x="0" y="30"/>
                      </a:lnTo>
                      <a:lnTo>
                        <a:pt x="36" y="54"/>
                      </a:lnTo>
                      <a:lnTo>
                        <a:pt x="24" y="132"/>
                      </a:lnTo>
                      <a:lnTo>
                        <a:pt x="36" y="120"/>
                      </a:lnTo>
                      <a:lnTo>
                        <a:pt x="42" y="120"/>
                      </a:lnTo>
                      <a:lnTo>
                        <a:pt x="48" y="126"/>
                      </a:lnTo>
                      <a:lnTo>
                        <a:pt x="48" y="150"/>
                      </a:lnTo>
                      <a:lnTo>
                        <a:pt x="42" y="162"/>
                      </a:lnTo>
                      <a:lnTo>
                        <a:pt x="54" y="174"/>
                      </a:lnTo>
                      <a:lnTo>
                        <a:pt x="54" y="180"/>
                      </a:lnTo>
                      <a:lnTo>
                        <a:pt x="48" y="180"/>
                      </a:lnTo>
                      <a:lnTo>
                        <a:pt x="36" y="192"/>
                      </a:lnTo>
                      <a:lnTo>
                        <a:pt x="42" y="198"/>
                      </a:lnTo>
                      <a:lnTo>
                        <a:pt x="54" y="204"/>
                      </a:lnTo>
                      <a:lnTo>
                        <a:pt x="60" y="210"/>
                      </a:lnTo>
                      <a:lnTo>
                        <a:pt x="60" y="222"/>
                      </a:lnTo>
                      <a:lnTo>
                        <a:pt x="54" y="228"/>
                      </a:lnTo>
                      <a:lnTo>
                        <a:pt x="54" y="270"/>
                      </a:lnTo>
                      <a:lnTo>
                        <a:pt x="48" y="276"/>
                      </a:lnTo>
                      <a:lnTo>
                        <a:pt x="48" y="294"/>
                      </a:lnTo>
                      <a:lnTo>
                        <a:pt x="54" y="294"/>
                      </a:lnTo>
                      <a:lnTo>
                        <a:pt x="60" y="300"/>
                      </a:lnTo>
                      <a:lnTo>
                        <a:pt x="60" y="312"/>
                      </a:lnTo>
                      <a:lnTo>
                        <a:pt x="54" y="324"/>
                      </a:lnTo>
                      <a:lnTo>
                        <a:pt x="54" y="336"/>
                      </a:lnTo>
                      <a:lnTo>
                        <a:pt x="66" y="378"/>
                      </a:lnTo>
                      <a:lnTo>
                        <a:pt x="96" y="402"/>
                      </a:lnTo>
                      <a:lnTo>
                        <a:pt x="108" y="396"/>
                      </a:lnTo>
                      <a:lnTo>
                        <a:pt x="120" y="384"/>
                      </a:lnTo>
                      <a:lnTo>
                        <a:pt x="138" y="384"/>
                      </a:lnTo>
                      <a:lnTo>
                        <a:pt x="138" y="372"/>
                      </a:lnTo>
                      <a:lnTo>
                        <a:pt x="126" y="360"/>
                      </a:lnTo>
                      <a:lnTo>
                        <a:pt x="126" y="3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0" name="Sierra Leone">
                  <a:extLst>
                    <a:ext uri="{FF2B5EF4-FFF2-40B4-BE49-F238E27FC236}">
                      <a16:creationId xmlns:a16="http://schemas.microsoft.com/office/drawing/2014/main" id="{5C8CDC61-44D9-4583-B82F-E3EE263954DB}"/>
                    </a:ext>
                  </a:extLst>
                </p:cNvPr>
                <p:cNvSpPr>
                  <a:spLocks/>
                </p:cNvSpPr>
                <p:nvPr/>
              </p:nvSpPr>
              <p:spPr bwMode="gray">
                <a:xfrm>
                  <a:off x="3886632" y="3076070"/>
                  <a:ext cx="77352" cy="101145"/>
                </a:xfrm>
                <a:custGeom>
                  <a:avLst/>
                  <a:gdLst>
                    <a:gd name="T0" fmla="*/ 2147483647 w 210"/>
                    <a:gd name="T1" fmla="*/ 2147483647 h 270"/>
                    <a:gd name="T2" fmla="*/ 2147483647 w 210"/>
                    <a:gd name="T3" fmla="*/ 2147483647 h 270"/>
                    <a:gd name="T4" fmla="*/ 2147483647 w 210"/>
                    <a:gd name="T5" fmla="*/ 2147483647 h 270"/>
                    <a:gd name="T6" fmla="*/ 2147483647 w 210"/>
                    <a:gd name="T7" fmla="*/ 2147483647 h 270"/>
                    <a:gd name="T8" fmla="*/ 2147483647 w 210"/>
                    <a:gd name="T9" fmla="*/ 2147483647 h 270"/>
                    <a:gd name="T10" fmla="*/ 2147483647 w 210"/>
                    <a:gd name="T11" fmla="*/ 2147483647 h 270"/>
                    <a:gd name="T12" fmla="*/ 2147483647 w 210"/>
                    <a:gd name="T13" fmla="*/ 2147483647 h 270"/>
                    <a:gd name="T14" fmla="*/ 2147483647 w 210"/>
                    <a:gd name="T15" fmla="*/ 2147483647 h 270"/>
                    <a:gd name="T16" fmla="*/ 2147483647 w 210"/>
                    <a:gd name="T17" fmla="*/ 2147483647 h 270"/>
                    <a:gd name="T18" fmla="*/ 2147483647 w 210"/>
                    <a:gd name="T19" fmla="*/ 2147483647 h 270"/>
                    <a:gd name="T20" fmla="*/ 2147483647 w 210"/>
                    <a:gd name="T21" fmla="*/ 2147483647 h 270"/>
                    <a:gd name="T22" fmla="*/ 2147483647 w 210"/>
                    <a:gd name="T23" fmla="*/ 0 h 270"/>
                    <a:gd name="T24" fmla="*/ 2147483647 w 210"/>
                    <a:gd name="T25" fmla="*/ 0 h 270"/>
                    <a:gd name="T26" fmla="*/ 2147483647 w 210"/>
                    <a:gd name="T27" fmla="*/ 2147483647 h 270"/>
                    <a:gd name="T28" fmla="*/ 2147483647 w 210"/>
                    <a:gd name="T29" fmla="*/ 2147483647 h 270"/>
                    <a:gd name="T30" fmla="*/ 2147483647 w 210"/>
                    <a:gd name="T31" fmla="*/ 2147483647 h 270"/>
                    <a:gd name="T32" fmla="*/ 2147483647 w 210"/>
                    <a:gd name="T33" fmla="*/ 2147483647 h 270"/>
                    <a:gd name="T34" fmla="*/ 2147483647 w 210"/>
                    <a:gd name="T35" fmla="*/ 2147483647 h 270"/>
                    <a:gd name="T36" fmla="*/ 2147483647 w 210"/>
                    <a:gd name="T37" fmla="*/ 2147483647 h 270"/>
                    <a:gd name="T38" fmla="*/ 2147483647 w 210"/>
                    <a:gd name="T39" fmla="*/ 2147483647 h 270"/>
                    <a:gd name="T40" fmla="*/ 2147483647 w 210"/>
                    <a:gd name="T41" fmla="*/ 2147483647 h 270"/>
                    <a:gd name="T42" fmla="*/ 2147483647 w 210"/>
                    <a:gd name="T43" fmla="*/ 2147483647 h 270"/>
                    <a:gd name="T44" fmla="*/ 0 w 210"/>
                    <a:gd name="T45" fmla="*/ 2147483647 h 270"/>
                    <a:gd name="T46" fmla="*/ 2147483647 w 210"/>
                    <a:gd name="T47" fmla="*/ 2147483647 h 270"/>
                    <a:gd name="T48" fmla="*/ 2147483647 w 210"/>
                    <a:gd name="T49" fmla="*/ 2147483647 h 270"/>
                    <a:gd name="T50" fmla="*/ 0 w 210"/>
                    <a:gd name="T51" fmla="*/ 2147483647 h 270"/>
                    <a:gd name="T52" fmla="*/ 0 w 210"/>
                    <a:gd name="T53" fmla="*/ 2147483647 h 270"/>
                    <a:gd name="T54" fmla="*/ 2147483647 w 210"/>
                    <a:gd name="T55" fmla="*/ 2147483647 h 270"/>
                    <a:gd name="T56" fmla="*/ 2147483647 w 210"/>
                    <a:gd name="T57" fmla="*/ 2147483647 h 270"/>
                    <a:gd name="T58" fmla="*/ 2147483647 w 210"/>
                    <a:gd name="T59" fmla="*/ 2147483647 h 270"/>
                    <a:gd name="T60" fmla="*/ 2147483647 w 210"/>
                    <a:gd name="T61" fmla="*/ 2147483647 h 270"/>
                    <a:gd name="T62" fmla="*/ 2147483647 w 210"/>
                    <a:gd name="T63" fmla="*/ 2147483647 h 270"/>
                    <a:gd name="T64" fmla="*/ 2147483647 w 210"/>
                    <a:gd name="T65" fmla="*/ 2147483647 h 270"/>
                    <a:gd name="T66" fmla="*/ 2147483647 w 210"/>
                    <a:gd name="T67" fmla="*/ 2147483647 h 270"/>
                    <a:gd name="T68" fmla="*/ 2147483647 w 210"/>
                    <a:gd name="T69" fmla="*/ 2147483647 h 270"/>
                    <a:gd name="T70" fmla="*/ 2147483647 w 210"/>
                    <a:gd name="T71" fmla="*/ 2147483647 h 270"/>
                    <a:gd name="T72" fmla="*/ 2147483647 w 210"/>
                    <a:gd name="T73" fmla="*/ 2147483647 h 270"/>
                    <a:gd name="T74" fmla="*/ 2147483647 w 210"/>
                    <a:gd name="T75" fmla="*/ 2147483647 h 270"/>
                    <a:gd name="T76" fmla="*/ 2147483647 w 210"/>
                    <a:gd name="T77" fmla="*/ 2147483647 h 270"/>
                    <a:gd name="T78" fmla="*/ 2147483647 w 210"/>
                    <a:gd name="T79" fmla="*/ 2147483647 h 270"/>
                    <a:gd name="T80" fmla="*/ 2147483647 w 210"/>
                    <a:gd name="T81" fmla="*/ 2147483647 h 270"/>
                    <a:gd name="T82" fmla="*/ 2147483647 w 210"/>
                    <a:gd name="T83" fmla="*/ 2147483647 h 270"/>
                    <a:gd name="T84" fmla="*/ 2147483647 w 210"/>
                    <a:gd name="T85" fmla="*/ 2147483647 h 270"/>
                    <a:gd name="T86" fmla="*/ 2147483647 w 210"/>
                    <a:gd name="T87" fmla="*/ 2147483647 h 2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270"/>
                    <a:gd name="T134" fmla="*/ 210 w 210"/>
                    <a:gd name="T135" fmla="*/ 270 h 2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270">
                      <a:moveTo>
                        <a:pt x="186" y="180"/>
                      </a:moveTo>
                      <a:lnTo>
                        <a:pt x="186" y="162"/>
                      </a:lnTo>
                      <a:lnTo>
                        <a:pt x="210" y="156"/>
                      </a:lnTo>
                      <a:lnTo>
                        <a:pt x="204" y="132"/>
                      </a:lnTo>
                      <a:lnTo>
                        <a:pt x="174" y="144"/>
                      </a:lnTo>
                      <a:lnTo>
                        <a:pt x="180" y="126"/>
                      </a:lnTo>
                      <a:lnTo>
                        <a:pt x="186" y="120"/>
                      </a:lnTo>
                      <a:lnTo>
                        <a:pt x="192" y="108"/>
                      </a:lnTo>
                      <a:lnTo>
                        <a:pt x="192" y="90"/>
                      </a:lnTo>
                      <a:lnTo>
                        <a:pt x="180" y="78"/>
                      </a:lnTo>
                      <a:lnTo>
                        <a:pt x="180" y="60"/>
                      </a:lnTo>
                      <a:lnTo>
                        <a:pt x="138" y="0"/>
                      </a:lnTo>
                      <a:lnTo>
                        <a:pt x="102" y="0"/>
                      </a:lnTo>
                      <a:lnTo>
                        <a:pt x="96" y="18"/>
                      </a:lnTo>
                      <a:lnTo>
                        <a:pt x="60" y="18"/>
                      </a:lnTo>
                      <a:lnTo>
                        <a:pt x="60" y="24"/>
                      </a:lnTo>
                      <a:lnTo>
                        <a:pt x="54" y="30"/>
                      </a:lnTo>
                      <a:lnTo>
                        <a:pt x="48" y="42"/>
                      </a:lnTo>
                      <a:lnTo>
                        <a:pt x="36" y="54"/>
                      </a:lnTo>
                      <a:lnTo>
                        <a:pt x="30" y="66"/>
                      </a:lnTo>
                      <a:lnTo>
                        <a:pt x="18" y="72"/>
                      </a:lnTo>
                      <a:lnTo>
                        <a:pt x="12" y="78"/>
                      </a:lnTo>
                      <a:lnTo>
                        <a:pt x="0" y="84"/>
                      </a:lnTo>
                      <a:lnTo>
                        <a:pt x="12" y="96"/>
                      </a:lnTo>
                      <a:lnTo>
                        <a:pt x="6" y="102"/>
                      </a:lnTo>
                      <a:lnTo>
                        <a:pt x="0" y="114"/>
                      </a:lnTo>
                      <a:lnTo>
                        <a:pt x="0" y="132"/>
                      </a:lnTo>
                      <a:lnTo>
                        <a:pt x="6" y="138"/>
                      </a:lnTo>
                      <a:lnTo>
                        <a:pt x="18" y="144"/>
                      </a:lnTo>
                      <a:lnTo>
                        <a:pt x="24" y="150"/>
                      </a:lnTo>
                      <a:lnTo>
                        <a:pt x="18" y="180"/>
                      </a:lnTo>
                      <a:lnTo>
                        <a:pt x="42" y="198"/>
                      </a:lnTo>
                      <a:lnTo>
                        <a:pt x="42" y="204"/>
                      </a:lnTo>
                      <a:lnTo>
                        <a:pt x="48" y="210"/>
                      </a:lnTo>
                      <a:lnTo>
                        <a:pt x="54" y="222"/>
                      </a:lnTo>
                      <a:lnTo>
                        <a:pt x="78" y="234"/>
                      </a:lnTo>
                      <a:lnTo>
                        <a:pt x="96" y="234"/>
                      </a:lnTo>
                      <a:lnTo>
                        <a:pt x="126" y="270"/>
                      </a:lnTo>
                      <a:lnTo>
                        <a:pt x="126" y="234"/>
                      </a:lnTo>
                      <a:lnTo>
                        <a:pt x="144" y="216"/>
                      </a:lnTo>
                      <a:lnTo>
                        <a:pt x="156" y="210"/>
                      </a:lnTo>
                      <a:lnTo>
                        <a:pt x="168" y="198"/>
                      </a:lnTo>
                      <a:lnTo>
                        <a:pt x="180" y="192"/>
                      </a:lnTo>
                      <a:lnTo>
                        <a:pt x="186" y="18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1" name="Senegal">
                  <a:extLst>
                    <a:ext uri="{FF2B5EF4-FFF2-40B4-BE49-F238E27FC236}">
                      <a16:creationId xmlns:a16="http://schemas.microsoft.com/office/drawing/2014/main" id="{2A199231-86DF-4C78-8520-7FB8F809EE06}"/>
                    </a:ext>
                  </a:extLst>
                </p:cNvPr>
                <p:cNvSpPr>
                  <a:spLocks/>
                </p:cNvSpPr>
                <p:nvPr/>
              </p:nvSpPr>
              <p:spPr bwMode="gray">
                <a:xfrm>
                  <a:off x="3807793" y="2870805"/>
                  <a:ext cx="156191" cy="138331"/>
                </a:xfrm>
                <a:custGeom>
                  <a:avLst/>
                  <a:gdLst>
                    <a:gd name="T0" fmla="*/ 2147483647 w 414"/>
                    <a:gd name="T1" fmla="*/ 2147483647 h 366"/>
                    <a:gd name="T2" fmla="*/ 2147483647 w 414"/>
                    <a:gd name="T3" fmla="*/ 2147483647 h 366"/>
                    <a:gd name="T4" fmla="*/ 2147483647 w 414"/>
                    <a:gd name="T5" fmla="*/ 2147483647 h 366"/>
                    <a:gd name="T6" fmla="*/ 2147483647 w 414"/>
                    <a:gd name="T7" fmla="*/ 2147483647 h 366"/>
                    <a:gd name="T8" fmla="*/ 2147483647 w 414"/>
                    <a:gd name="T9" fmla="*/ 2147483647 h 366"/>
                    <a:gd name="T10" fmla="*/ 2147483647 w 414"/>
                    <a:gd name="T11" fmla="*/ 2147483647 h 366"/>
                    <a:gd name="T12" fmla="*/ 2147483647 w 414"/>
                    <a:gd name="T13" fmla="*/ 2147483647 h 366"/>
                    <a:gd name="T14" fmla="*/ 2147483647 w 414"/>
                    <a:gd name="T15" fmla="*/ 2147483647 h 366"/>
                    <a:gd name="T16" fmla="*/ 2147483647 w 414"/>
                    <a:gd name="T17" fmla="*/ 2147483647 h 366"/>
                    <a:gd name="T18" fmla="*/ 2147483647 w 414"/>
                    <a:gd name="T19" fmla="*/ 2147483647 h 366"/>
                    <a:gd name="T20" fmla="*/ 2147483647 w 414"/>
                    <a:gd name="T21" fmla="*/ 2147483647 h 366"/>
                    <a:gd name="T22" fmla="*/ 2147483647 w 414"/>
                    <a:gd name="T23" fmla="*/ 2147483647 h 366"/>
                    <a:gd name="T24" fmla="*/ 2147483647 w 414"/>
                    <a:gd name="T25" fmla="*/ 2147483647 h 366"/>
                    <a:gd name="T26" fmla="*/ 2147483647 w 414"/>
                    <a:gd name="T27" fmla="*/ 2147483647 h 366"/>
                    <a:gd name="T28" fmla="*/ 2147483647 w 414"/>
                    <a:gd name="T29" fmla="*/ 0 h 366"/>
                    <a:gd name="T30" fmla="*/ 2147483647 w 414"/>
                    <a:gd name="T31" fmla="*/ 2147483647 h 366"/>
                    <a:gd name="T32" fmla="*/ 2147483647 w 414"/>
                    <a:gd name="T33" fmla="*/ 2147483647 h 366"/>
                    <a:gd name="T34" fmla="*/ 2147483647 w 414"/>
                    <a:gd name="T35" fmla="*/ 2147483647 h 366"/>
                    <a:gd name="T36" fmla="*/ 2147483647 w 414"/>
                    <a:gd name="T37" fmla="*/ 2147483647 h 366"/>
                    <a:gd name="T38" fmla="*/ 2147483647 w 414"/>
                    <a:gd name="T39" fmla="*/ 2147483647 h 366"/>
                    <a:gd name="T40" fmla="*/ 2147483647 w 414"/>
                    <a:gd name="T41" fmla="*/ 2147483647 h 366"/>
                    <a:gd name="T42" fmla="*/ 0 w 414"/>
                    <a:gd name="T43" fmla="*/ 2147483647 h 366"/>
                    <a:gd name="T44" fmla="*/ 2147483647 w 414"/>
                    <a:gd name="T45" fmla="*/ 2147483647 h 366"/>
                    <a:gd name="T46" fmla="*/ 2147483647 w 414"/>
                    <a:gd name="T47" fmla="*/ 2147483647 h 366"/>
                    <a:gd name="T48" fmla="*/ 2147483647 w 414"/>
                    <a:gd name="T49" fmla="*/ 2147483647 h 366"/>
                    <a:gd name="T50" fmla="*/ 2147483647 w 414"/>
                    <a:gd name="T51" fmla="*/ 2147483647 h 366"/>
                    <a:gd name="T52" fmla="*/ 2147483647 w 414"/>
                    <a:gd name="T53" fmla="*/ 2147483647 h 366"/>
                    <a:gd name="T54" fmla="*/ 2147483647 w 414"/>
                    <a:gd name="T55" fmla="*/ 2147483647 h 366"/>
                    <a:gd name="T56" fmla="*/ 2147483647 w 414"/>
                    <a:gd name="T57" fmla="*/ 2147483647 h 366"/>
                    <a:gd name="T58" fmla="*/ 2147483647 w 414"/>
                    <a:gd name="T59" fmla="*/ 2147483647 h 366"/>
                    <a:gd name="T60" fmla="*/ 2147483647 w 414"/>
                    <a:gd name="T61" fmla="*/ 2147483647 h 366"/>
                    <a:gd name="T62" fmla="*/ 2147483647 w 414"/>
                    <a:gd name="T63" fmla="*/ 2147483647 h 366"/>
                    <a:gd name="T64" fmla="*/ 2147483647 w 414"/>
                    <a:gd name="T65" fmla="*/ 2147483647 h 366"/>
                    <a:gd name="T66" fmla="*/ 2147483647 w 414"/>
                    <a:gd name="T67" fmla="*/ 2147483647 h 366"/>
                    <a:gd name="T68" fmla="*/ 2147483647 w 414"/>
                    <a:gd name="T69" fmla="*/ 2147483647 h 366"/>
                    <a:gd name="T70" fmla="*/ 2147483647 w 414"/>
                    <a:gd name="T71" fmla="*/ 2147483647 h 366"/>
                    <a:gd name="T72" fmla="*/ 2147483647 w 414"/>
                    <a:gd name="T73" fmla="*/ 2147483647 h 366"/>
                    <a:gd name="T74" fmla="*/ 2147483647 w 414"/>
                    <a:gd name="T75" fmla="*/ 2147483647 h 366"/>
                    <a:gd name="T76" fmla="*/ 2147483647 w 414"/>
                    <a:gd name="T77" fmla="*/ 2147483647 h 366"/>
                    <a:gd name="T78" fmla="*/ 2147483647 w 414"/>
                    <a:gd name="T79" fmla="*/ 2147483647 h 366"/>
                    <a:gd name="T80" fmla="*/ 2147483647 w 414"/>
                    <a:gd name="T81" fmla="*/ 2147483647 h 366"/>
                    <a:gd name="T82" fmla="*/ 2147483647 w 414"/>
                    <a:gd name="T83" fmla="*/ 2147483647 h 366"/>
                    <a:gd name="T84" fmla="*/ 2147483647 w 414"/>
                    <a:gd name="T85" fmla="*/ 2147483647 h 366"/>
                    <a:gd name="T86" fmla="*/ 2147483647 w 414"/>
                    <a:gd name="T87" fmla="*/ 2147483647 h 366"/>
                    <a:gd name="T88" fmla="*/ 2147483647 w 414"/>
                    <a:gd name="T89" fmla="*/ 2147483647 h 366"/>
                    <a:gd name="T90" fmla="*/ 2147483647 w 414"/>
                    <a:gd name="T91" fmla="*/ 2147483647 h 366"/>
                    <a:gd name="T92" fmla="*/ 2147483647 w 414"/>
                    <a:gd name="T93" fmla="*/ 2147483647 h 366"/>
                    <a:gd name="T94" fmla="*/ 2147483647 w 414"/>
                    <a:gd name="T95" fmla="*/ 2147483647 h 366"/>
                    <a:gd name="T96" fmla="*/ 2147483647 w 414"/>
                    <a:gd name="T97" fmla="*/ 2147483647 h 366"/>
                    <a:gd name="T98" fmla="*/ 2147483647 w 414"/>
                    <a:gd name="T99" fmla="*/ 2147483647 h 366"/>
                    <a:gd name="T100" fmla="*/ 2147483647 w 414"/>
                    <a:gd name="T101" fmla="*/ 2147483647 h 366"/>
                    <a:gd name="T102" fmla="*/ 2147483647 w 414"/>
                    <a:gd name="T103" fmla="*/ 2147483647 h 366"/>
                    <a:gd name="T104" fmla="*/ 2147483647 w 414"/>
                    <a:gd name="T105" fmla="*/ 2147483647 h 3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4"/>
                    <a:gd name="T160" fmla="*/ 0 h 366"/>
                    <a:gd name="T161" fmla="*/ 414 w 414"/>
                    <a:gd name="T162" fmla="*/ 366 h 3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4" h="366">
                      <a:moveTo>
                        <a:pt x="402" y="270"/>
                      </a:moveTo>
                      <a:lnTo>
                        <a:pt x="396" y="270"/>
                      </a:lnTo>
                      <a:lnTo>
                        <a:pt x="396" y="276"/>
                      </a:lnTo>
                      <a:lnTo>
                        <a:pt x="384" y="276"/>
                      </a:lnTo>
                      <a:lnTo>
                        <a:pt x="378" y="270"/>
                      </a:lnTo>
                      <a:lnTo>
                        <a:pt x="378" y="246"/>
                      </a:lnTo>
                      <a:lnTo>
                        <a:pt x="384" y="240"/>
                      </a:lnTo>
                      <a:lnTo>
                        <a:pt x="384" y="222"/>
                      </a:lnTo>
                      <a:lnTo>
                        <a:pt x="372" y="210"/>
                      </a:lnTo>
                      <a:lnTo>
                        <a:pt x="372" y="204"/>
                      </a:lnTo>
                      <a:lnTo>
                        <a:pt x="360" y="186"/>
                      </a:lnTo>
                      <a:lnTo>
                        <a:pt x="360" y="162"/>
                      </a:lnTo>
                      <a:lnTo>
                        <a:pt x="348" y="138"/>
                      </a:lnTo>
                      <a:lnTo>
                        <a:pt x="318" y="132"/>
                      </a:lnTo>
                      <a:lnTo>
                        <a:pt x="318" y="108"/>
                      </a:lnTo>
                      <a:lnTo>
                        <a:pt x="312" y="102"/>
                      </a:lnTo>
                      <a:lnTo>
                        <a:pt x="294" y="102"/>
                      </a:lnTo>
                      <a:lnTo>
                        <a:pt x="294" y="72"/>
                      </a:lnTo>
                      <a:lnTo>
                        <a:pt x="288" y="60"/>
                      </a:lnTo>
                      <a:lnTo>
                        <a:pt x="288" y="54"/>
                      </a:lnTo>
                      <a:lnTo>
                        <a:pt x="282" y="48"/>
                      </a:lnTo>
                      <a:lnTo>
                        <a:pt x="264" y="48"/>
                      </a:lnTo>
                      <a:lnTo>
                        <a:pt x="252" y="54"/>
                      </a:lnTo>
                      <a:lnTo>
                        <a:pt x="246" y="42"/>
                      </a:lnTo>
                      <a:lnTo>
                        <a:pt x="234" y="30"/>
                      </a:lnTo>
                      <a:lnTo>
                        <a:pt x="228" y="18"/>
                      </a:lnTo>
                      <a:lnTo>
                        <a:pt x="222" y="18"/>
                      </a:lnTo>
                      <a:lnTo>
                        <a:pt x="210" y="12"/>
                      </a:lnTo>
                      <a:lnTo>
                        <a:pt x="186" y="12"/>
                      </a:lnTo>
                      <a:lnTo>
                        <a:pt x="162" y="0"/>
                      </a:lnTo>
                      <a:lnTo>
                        <a:pt x="162" y="18"/>
                      </a:lnTo>
                      <a:lnTo>
                        <a:pt x="132" y="12"/>
                      </a:lnTo>
                      <a:lnTo>
                        <a:pt x="120" y="18"/>
                      </a:lnTo>
                      <a:lnTo>
                        <a:pt x="114" y="18"/>
                      </a:lnTo>
                      <a:lnTo>
                        <a:pt x="108" y="12"/>
                      </a:lnTo>
                      <a:lnTo>
                        <a:pt x="102" y="12"/>
                      </a:lnTo>
                      <a:lnTo>
                        <a:pt x="90" y="18"/>
                      </a:lnTo>
                      <a:lnTo>
                        <a:pt x="84" y="24"/>
                      </a:lnTo>
                      <a:lnTo>
                        <a:pt x="66" y="60"/>
                      </a:lnTo>
                      <a:lnTo>
                        <a:pt x="60" y="66"/>
                      </a:lnTo>
                      <a:lnTo>
                        <a:pt x="60" y="90"/>
                      </a:lnTo>
                      <a:lnTo>
                        <a:pt x="48" y="96"/>
                      </a:lnTo>
                      <a:lnTo>
                        <a:pt x="30" y="132"/>
                      </a:lnTo>
                      <a:lnTo>
                        <a:pt x="0" y="162"/>
                      </a:lnTo>
                      <a:lnTo>
                        <a:pt x="6" y="168"/>
                      </a:lnTo>
                      <a:lnTo>
                        <a:pt x="12" y="168"/>
                      </a:lnTo>
                      <a:lnTo>
                        <a:pt x="18" y="174"/>
                      </a:lnTo>
                      <a:lnTo>
                        <a:pt x="24" y="186"/>
                      </a:lnTo>
                      <a:lnTo>
                        <a:pt x="24" y="204"/>
                      </a:lnTo>
                      <a:lnTo>
                        <a:pt x="42" y="222"/>
                      </a:lnTo>
                      <a:lnTo>
                        <a:pt x="42" y="246"/>
                      </a:lnTo>
                      <a:lnTo>
                        <a:pt x="48" y="252"/>
                      </a:lnTo>
                      <a:lnTo>
                        <a:pt x="126" y="252"/>
                      </a:lnTo>
                      <a:lnTo>
                        <a:pt x="126" y="240"/>
                      </a:lnTo>
                      <a:lnTo>
                        <a:pt x="180" y="240"/>
                      </a:lnTo>
                      <a:lnTo>
                        <a:pt x="180" y="252"/>
                      </a:lnTo>
                      <a:lnTo>
                        <a:pt x="192" y="246"/>
                      </a:lnTo>
                      <a:lnTo>
                        <a:pt x="198" y="252"/>
                      </a:lnTo>
                      <a:lnTo>
                        <a:pt x="204" y="264"/>
                      </a:lnTo>
                      <a:lnTo>
                        <a:pt x="216" y="264"/>
                      </a:lnTo>
                      <a:lnTo>
                        <a:pt x="222" y="258"/>
                      </a:lnTo>
                      <a:lnTo>
                        <a:pt x="246" y="258"/>
                      </a:lnTo>
                      <a:lnTo>
                        <a:pt x="252" y="264"/>
                      </a:lnTo>
                      <a:lnTo>
                        <a:pt x="252" y="270"/>
                      </a:lnTo>
                      <a:lnTo>
                        <a:pt x="246" y="276"/>
                      </a:lnTo>
                      <a:lnTo>
                        <a:pt x="234" y="282"/>
                      </a:lnTo>
                      <a:lnTo>
                        <a:pt x="228" y="288"/>
                      </a:lnTo>
                      <a:lnTo>
                        <a:pt x="204" y="288"/>
                      </a:lnTo>
                      <a:lnTo>
                        <a:pt x="186" y="282"/>
                      </a:lnTo>
                      <a:lnTo>
                        <a:pt x="180" y="270"/>
                      </a:lnTo>
                      <a:lnTo>
                        <a:pt x="168" y="264"/>
                      </a:lnTo>
                      <a:lnTo>
                        <a:pt x="162" y="258"/>
                      </a:lnTo>
                      <a:lnTo>
                        <a:pt x="156" y="264"/>
                      </a:lnTo>
                      <a:lnTo>
                        <a:pt x="150" y="276"/>
                      </a:lnTo>
                      <a:lnTo>
                        <a:pt x="126" y="276"/>
                      </a:lnTo>
                      <a:lnTo>
                        <a:pt x="120" y="282"/>
                      </a:lnTo>
                      <a:lnTo>
                        <a:pt x="108" y="282"/>
                      </a:lnTo>
                      <a:lnTo>
                        <a:pt x="108" y="294"/>
                      </a:lnTo>
                      <a:lnTo>
                        <a:pt x="36" y="294"/>
                      </a:lnTo>
                      <a:lnTo>
                        <a:pt x="36" y="318"/>
                      </a:lnTo>
                      <a:lnTo>
                        <a:pt x="30" y="324"/>
                      </a:lnTo>
                      <a:lnTo>
                        <a:pt x="30" y="336"/>
                      </a:lnTo>
                      <a:lnTo>
                        <a:pt x="36" y="342"/>
                      </a:lnTo>
                      <a:lnTo>
                        <a:pt x="42" y="354"/>
                      </a:lnTo>
                      <a:lnTo>
                        <a:pt x="48" y="360"/>
                      </a:lnTo>
                      <a:lnTo>
                        <a:pt x="60" y="366"/>
                      </a:lnTo>
                      <a:lnTo>
                        <a:pt x="66" y="366"/>
                      </a:lnTo>
                      <a:lnTo>
                        <a:pt x="72" y="360"/>
                      </a:lnTo>
                      <a:lnTo>
                        <a:pt x="78" y="360"/>
                      </a:lnTo>
                      <a:lnTo>
                        <a:pt x="90" y="348"/>
                      </a:lnTo>
                      <a:lnTo>
                        <a:pt x="126" y="348"/>
                      </a:lnTo>
                      <a:lnTo>
                        <a:pt x="156" y="324"/>
                      </a:lnTo>
                      <a:lnTo>
                        <a:pt x="294" y="330"/>
                      </a:lnTo>
                      <a:lnTo>
                        <a:pt x="294" y="336"/>
                      </a:lnTo>
                      <a:lnTo>
                        <a:pt x="300" y="348"/>
                      </a:lnTo>
                      <a:lnTo>
                        <a:pt x="318" y="348"/>
                      </a:lnTo>
                      <a:lnTo>
                        <a:pt x="324" y="342"/>
                      </a:lnTo>
                      <a:lnTo>
                        <a:pt x="330" y="348"/>
                      </a:lnTo>
                      <a:lnTo>
                        <a:pt x="336" y="360"/>
                      </a:lnTo>
                      <a:lnTo>
                        <a:pt x="342" y="366"/>
                      </a:lnTo>
                      <a:lnTo>
                        <a:pt x="354" y="366"/>
                      </a:lnTo>
                      <a:lnTo>
                        <a:pt x="366" y="360"/>
                      </a:lnTo>
                      <a:lnTo>
                        <a:pt x="372" y="354"/>
                      </a:lnTo>
                      <a:lnTo>
                        <a:pt x="414" y="354"/>
                      </a:lnTo>
                      <a:lnTo>
                        <a:pt x="414" y="288"/>
                      </a:lnTo>
                      <a:lnTo>
                        <a:pt x="408" y="276"/>
                      </a:lnTo>
                      <a:lnTo>
                        <a:pt x="402" y="27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2" name="Mauritania">
                  <a:extLst>
                    <a:ext uri="{FF2B5EF4-FFF2-40B4-BE49-F238E27FC236}">
                      <a16:creationId xmlns:a16="http://schemas.microsoft.com/office/drawing/2014/main" id="{BD113253-FC01-4EAA-9B80-C9DC17708BC7}"/>
                    </a:ext>
                  </a:extLst>
                </p:cNvPr>
                <p:cNvSpPr>
                  <a:spLocks/>
                </p:cNvSpPr>
                <p:nvPr/>
              </p:nvSpPr>
              <p:spPr bwMode="gray">
                <a:xfrm>
                  <a:off x="3797380" y="2555473"/>
                  <a:ext cx="322794" cy="379292"/>
                </a:xfrm>
                <a:custGeom>
                  <a:avLst/>
                  <a:gdLst>
                    <a:gd name="T0" fmla="*/ 2147483647 w 858"/>
                    <a:gd name="T1" fmla="*/ 2147483647 h 1002"/>
                    <a:gd name="T2" fmla="*/ 2147483647 w 858"/>
                    <a:gd name="T3" fmla="*/ 2147483647 h 1002"/>
                    <a:gd name="T4" fmla="*/ 2147483647 w 858"/>
                    <a:gd name="T5" fmla="*/ 2147483647 h 1002"/>
                    <a:gd name="T6" fmla="*/ 2147483647 w 858"/>
                    <a:gd name="T7" fmla="*/ 2147483647 h 1002"/>
                    <a:gd name="T8" fmla="*/ 2147483647 w 858"/>
                    <a:gd name="T9" fmla="*/ 2147483647 h 1002"/>
                    <a:gd name="T10" fmla="*/ 2147483647 w 858"/>
                    <a:gd name="T11" fmla="*/ 2147483647 h 1002"/>
                    <a:gd name="T12" fmla="*/ 2147483647 w 858"/>
                    <a:gd name="T13" fmla="*/ 2147483647 h 1002"/>
                    <a:gd name="T14" fmla="*/ 2147483647 w 858"/>
                    <a:gd name="T15" fmla="*/ 2147483647 h 1002"/>
                    <a:gd name="T16" fmla="*/ 2147483647 w 858"/>
                    <a:gd name="T17" fmla="*/ 2147483647 h 1002"/>
                    <a:gd name="T18" fmla="*/ 2147483647 w 858"/>
                    <a:gd name="T19" fmla="*/ 2147483647 h 1002"/>
                    <a:gd name="T20" fmla="*/ 2147483647 w 858"/>
                    <a:gd name="T21" fmla="*/ 2147483647 h 1002"/>
                    <a:gd name="T22" fmla="*/ 2147483647 w 858"/>
                    <a:gd name="T23" fmla="*/ 2147483647 h 1002"/>
                    <a:gd name="T24" fmla="*/ 2147483647 w 858"/>
                    <a:gd name="T25" fmla="*/ 2147483647 h 1002"/>
                    <a:gd name="T26" fmla="*/ 2147483647 w 858"/>
                    <a:gd name="T27" fmla="*/ 2147483647 h 1002"/>
                    <a:gd name="T28" fmla="*/ 2147483647 w 858"/>
                    <a:gd name="T29" fmla="*/ 2147483647 h 1002"/>
                    <a:gd name="T30" fmla="*/ 2147483647 w 858"/>
                    <a:gd name="T31" fmla="*/ 2147483647 h 1002"/>
                    <a:gd name="T32" fmla="*/ 2147483647 w 858"/>
                    <a:gd name="T33" fmla="*/ 2147483647 h 1002"/>
                    <a:gd name="T34" fmla="*/ 2147483647 w 858"/>
                    <a:gd name="T35" fmla="*/ 2147483647 h 1002"/>
                    <a:gd name="T36" fmla="*/ 2147483647 w 858"/>
                    <a:gd name="T37" fmla="*/ 2147483647 h 1002"/>
                    <a:gd name="T38" fmla="*/ 2147483647 w 858"/>
                    <a:gd name="T39" fmla="*/ 2147483647 h 1002"/>
                    <a:gd name="T40" fmla="*/ 2147483647 w 858"/>
                    <a:gd name="T41" fmla="*/ 2147483647 h 1002"/>
                    <a:gd name="T42" fmla="*/ 2147483647 w 858"/>
                    <a:gd name="T43" fmla="*/ 2147483647 h 1002"/>
                    <a:gd name="T44" fmla="*/ 2147483647 w 858"/>
                    <a:gd name="T45" fmla="*/ 2147483647 h 1002"/>
                    <a:gd name="T46" fmla="*/ 2147483647 w 858"/>
                    <a:gd name="T47" fmla="*/ 2147483647 h 1002"/>
                    <a:gd name="T48" fmla="*/ 2147483647 w 858"/>
                    <a:gd name="T49" fmla="*/ 2147483647 h 1002"/>
                    <a:gd name="T50" fmla="*/ 2147483647 w 858"/>
                    <a:gd name="T51" fmla="*/ 2147483647 h 1002"/>
                    <a:gd name="T52" fmla="*/ 2147483647 w 858"/>
                    <a:gd name="T53" fmla="*/ 2147483647 h 1002"/>
                    <a:gd name="T54" fmla="*/ 2147483647 w 858"/>
                    <a:gd name="T55" fmla="*/ 2147483647 h 1002"/>
                    <a:gd name="T56" fmla="*/ 2147483647 w 858"/>
                    <a:gd name="T57" fmla="*/ 2147483647 h 1002"/>
                    <a:gd name="T58" fmla="*/ 2147483647 w 858"/>
                    <a:gd name="T59" fmla="*/ 2147483647 h 1002"/>
                    <a:gd name="T60" fmla="*/ 2147483647 w 858"/>
                    <a:gd name="T61" fmla="*/ 2147483647 h 1002"/>
                    <a:gd name="T62" fmla="*/ 2147483647 w 858"/>
                    <a:gd name="T63" fmla="*/ 2147483647 h 1002"/>
                    <a:gd name="T64" fmla="*/ 2147483647 w 858"/>
                    <a:gd name="T65" fmla="*/ 2147483647 h 1002"/>
                    <a:gd name="T66" fmla="*/ 2147483647 w 858"/>
                    <a:gd name="T67" fmla="*/ 2147483647 h 1002"/>
                    <a:gd name="T68" fmla="*/ 2147483647 w 858"/>
                    <a:gd name="T69" fmla="*/ 2147483647 h 1002"/>
                    <a:gd name="T70" fmla="*/ 2147483647 w 858"/>
                    <a:gd name="T71" fmla="*/ 2147483647 h 1002"/>
                    <a:gd name="T72" fmla="*/ 2147483647 w 858"/>
                    <a:gd name="T73" fmla="*/ 2147483647 h 1002"/>
                    <a:gd name="T74" fmla="*/ 2147483647 w 858"/>
                    <a:gd name="T75" fmla="*/ 2147483647 h 1002"/>
                    <a:gd name="T76" fmla="*/ 2147483647 w 858"/>
                    <a:gd name="T77" fmla="*/ 2147483647 h 1002"/>
                    <a:gd name="T78" fmla="*/ 2147483647 w 858"/>
                    <a:gd name="T79" fmla="*/ 2147483647 h 1002"/>
                    <a:gd name="T80" fmla="*/ 2147483647 w 858"/>
                    <a:gd name="T81" fmla="*/ 2147483647 h 1002"/>
                    <a:gd name="T82" fmla="*/ 2147483647 w 858"/>
                    <a:gd name="T83" fmla="*/ 2147483647 h 1002"/>
                    <a:gd name="T84" fmla="*/ 2147483647 w 858"/>
                    <a:gd name="T85" fmla="*/ 2147483647 h 1002"/>
                    <a:gd name="T86" fmla="*/ 2147483647 w 858"/>
                    <a:gd name="T87" fmla="*/ 2147483647 h 1002"/>
                    <a:gd name="T88" fmla="*/ 2147483647 w 858"/>
                    <a:gd name="T89" fmla="*/ 2147483647 h 1002"/>
                    <a:gd name="T90" fmla="*/ 2147483647 w 858"/>
                    <a:gd name="T91" fmla="*/ 2147483647 h 1002"/>
                    <a:gd name="T92" fmla="*/ 2147483647 w 858"/>
                    <a:gd name="T93" fmla="*/ 2147483647 h 1002"/>
                    <a:gd name="T94" fmla="*/ 2147483647 w 858"/>
                    <a:gd name="T95" fmla="*/ 2147483647 h 1002"/>
                    <a:gd name="T96" fmla="*/ 2147483647 w 858"/>
                    <a:gd name="T97" fmla="*/ 2147483647 h 1002"/>
                    <a:gd name="T98" fmla="*/ 0 w 858"/>
                    <a:gd name="T99" fmla="*/ 2147483647 h 10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8"/>
                    <a:gd name="T151" fmla="*/ 0 h 1002"/>
                    <a:gd name="T152" fmla="*/ 858 w 858"/>
                    <a:gd name="T153" fmla="*/ 1002 h 10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8" h="1002">
                      <a:moveTo>
                        <a:pt x="0" y="498"/>
                      </a:moveTo>
                      <a:lnTo>
                        <a:pt x="18" y="498"/>
                      </a:lnTo>
                      <a:lnTo>
                        <a:pt x="18" y="528"/>
                      </a:lnTo>
                      <a:lnTo>
                        <a:pt x="24" y="534"/>
                      </a:lnTo>
                      <a:lnTo>
                        <a:pt x="30" y="534"/>
                      </a:lnTo>
                      <a:lnTo>
                        <a:pt x="30" y="528"/>
                      </a:lnTo>
                      <a:lnTo>
                        <a:pt x="36" y="522"/>
                      </a:lnTo>
                      <a:lnTo>
                        <a:pt x="48" y="558"/>
                      </a:lnTo>
                      <a:lnTo>
                        <a:pt x="42" y="600"/>
                      </a:lnTo>
                      <a:lnTo>
                        <a:pt x="30" y="600"/>
                      </a:lnTo>
                      <a:lnTo>
                        <a:pt x="36" y="624"/>
                      </a:lnTo>
                      <a:lnTo>
                        <a:pt x="24" y="630"/>
                      </a:lnTo>
                      <a:lnTo>
                        <a:pt x="30" y="642"/>
                      </a:lnTo>
                      <a:lnTo>
                        <a:pt x="36" y="648"/>
                      </a:lnTo>
                      <a:lnTo>
                        <a:pt x="48" y="666"/>
                      </a:lnTo>
                      <a:lnTo>
                        <a:pt x="60" y="690"/>
                      </a:lnTo>
                      <a:lnTo>
                        <a:pt x="60" y="720"/>
                      </a:lnTo>
                      <a:lnTo>
                        <a:pt x="54" y="738"/>
                      </a:lnTo>
                      <a:lnTo>
                        <a:pt x="54" y="750"/>
                      </a:lnTo>
                      <a:lnTo>
                        <a:pt x="48" y="756"/>
                      </a:lnTo>
                      <a:lnTo>
                        <a:pt x="48" y="804"/>
                      </a:lnTo>
                      <a:lnTo>
                        <a:pt x="42" y="816"/>
                      </a:lnTo>
                      <a:lnTo>
                        <a:pt x="30" y="822"/>
                      </a:lnTo>
                      <a:lnTo>
                        <a:pt x="24" y="840"/>
                      </a:lnTo>
                      <a:lnTo>
                        <a:pt x="18" y="852"/>
                      </a:lnTo>
                      <a:lnTo>
                        <a:pt x="18" y="864"/>
                      </a:lnTo>
                      <a:lnTo>
                        <a:pt x="12" y="876"/>
                      </a:lnTo>
                      <a:lnTo>
                        <a:pt x="12" y="906"/>
                      </a:lnTo>
                      <a:lnTo>
                        <a:pt x="18" y="900"/>
                      </a:lnTo>
                      <a:lnTo>
                        <a:pt x="36" y="864"/>
                      </a:lnTo>
                      <a:lnTo>
                        <a:pt x="42" y="858"/>
                      </a:lnTo>
                      <a:lnTo>
                        <a:pt x="54" y="852"/>
                      </a:lnTo>
                      <a:lnTo>
                        <a:pt x="60" y="852"/>
                      </a:lnTo>
                      <a:lnTo>
                        <a:pt x="66" y="858"/>
                      </a:lnTo>
                      <a:lnTo>
                        <a:pt x="72" y="858"/>
                      </a:lnTo>
                      <a:lnTo>
                        <a:pt x="84" y="852"/>
                      </a:lnTo>
                      <a:lnTo>
                        <a:pt x="114" y="858"/>
                      </a:lnTo>
                      <a:lnTo>
                        <a:pt x="114" y="840"/>
                      </a:lnTo>
                      <a:lnTo>
                        <a:pt x="138" y="852"/>
                      </a:lnTo>
                      <a:lnTo>
                        <a:pt x="162" y="852"/>
                      </a:lnTo>
                      <a:lnTo>
                        <a:pt x="174" y="858"/>
                      </a:lnTo>
                      <a:lnTo>
                        <a:pt x="180" y="858"/>
                      </a:lnTo>
                      <a:lnTo>
                        <a:pt x="186" y="870"/>
                      </a:lnTo>
                      <a:lnTo>
                        <a:pt x="198" y="882"/>
                      </a:lnTo>
                      <a:lnTo>
                        <a:pt x="204" y="894"/>
                      </a:lnTo>
                      <a:lnTo>
                        <a:pt x="216" y="888"/>
                      </a:lnTo>
                      <a:lnTo>
                        <a:pt x="234" y="888"/>
                      </a:lnTo>
                      <a:lnTo>
                        <a:pt x="240" y="894"/>
                      </a:lnTo>
                      <a:lnTo>
                        <a:pt x="240" y="900"/>
                      </a:lnTo>
                      <a:lnTo>
                        <a:pt x="246" y="912"/>
                      </a:lnTo>
                      <a:lnTo>
                        <a:pt x="246" y="942"/>
                      </a:lnTo>
                      <a:lnTo>
                        <a:pt x="264" y="942"/>
                      </a:lnTo>
                      <a:lnTo>
                        <a:pt x="270" y="948"/>
                      </a:lnTo>
                      <a:lnTo>
                        <a:pt x="270" y="972"/>
                      </a:lnTo>
                      <a:lnTo>
                        <a:pt x="300" y="978"/>
                      </a:lnTo>
                      <a:lnTo>
                        <a:pt x="312" y="1002"/>
                      </a:lnTo>
                      <a:lnTo>
                        <a:pt x="330" y="1002"/>
                      </a:lnTo>
                      <a:lnTo>
                        <a:pt x="342" y="996"/>
                      </a:lnTo>
                      <a:lnTo>
                        <a:pt x="348" y="996"/>
                      </a:lnTo>
                      <a:lnTo>
                        <a:pt x="348" y="948"/>
                      </a:lnTo>
                      <a:lnTo>
                        <a:pt x="360" y="936"/>
                      </a:lnTo>
                      <a:lnTo>
                        <a:pt x="378" y="936"/>
                      </a:lnTo>
                      <a:lnTo>
                        <a:pt x="402" y="960"/>
                      </a:lnTo>
                      <a:lnTo>
                        <a:pt x="408" y="972"/>
                      </a:lnTo>
                      <a:lnTo>
                        <a:pt x="420" y="948"/>
                      </a:lnTo>
                      <a:lnTo>
                        <a:pt x="456" y="948"/>
                      </a:lnTo>
                      <a:lnTo>
                        <a:pt x="462" y="954"/>
                      </a:lnTo>
                      <a:lnTo>
                        <a:pt x="492" y="954"/>
                      </a:lnTo>
                      <a:lnTo>
                        <a:pt x="504" y="948"/>
                      </a:lnTo>
                      <a:lnTo>
                        <a:pt x="510" y="948"/>
                      </a:lnTo>
                      <a:lnTo>
                        <a:pt x="510" y="936"/>
                      </a:lnTo>
                      <a:lnTo>
                        <a:pt x="516" y="930"/>
                      </a:lnTo>
                      <a:lnTo>
                        <a:pt x="522" y="930"/>
                      </a:lnTo>
                      <a:lnTo>
                        <a:pt x="522" y="942"/>
                      </a:lnTo>
                      <a:lnTo>
                        <a:pt x="786" y="942"/>
                      </a:lnTo>
                      <a:lnTo>
                        <a:pt x="798" y="900"/>
                      </a:lnTo>
                      <a:lnTo>
                        <a:pt x="804" y="894"/>
                      </a:lnTo>
                      <a:lnTo>
                        <a:pt x="804" y="882"/>
                      </a:lnTo>
                      <a:lnTo>
                        <a:pt x="786" y="864"/>
                      </a:lnTo>
                      <a:lnTo>
                        <a:pt x="780" y="864"/>
                      </a:lnTo>
                      <a:lnTo>
                        <a:pt x="738" y="174"/>
                      </a:lnTo>
                      <a:lnTo>
                        <a:pt x="858" y="180"/>
                      </a:lnTo>
                      <a:lnTo>
                        <a:pt x="600" y="0"/>
                      </a:lnTo>
                      <a:lnTo>
                        <a:pt x="594" y="48"/>
                      </a:lnTo>
                      <a:lnTo>
                        <a:pt x="588" y="54"/>
                      </a:lnTo>
                      <a:lnTo>
                        <a:pt x="588" y="90"/>
                      </a:lnTo>
                      <a:lnTo>
                        <a:pt x="366" y="96"/>
                      </a:lnTo>
                      <a:lnTo>
                        <a:pt x="366" y="108"/>
                      </a:lnTo>
                      <a:lnTo>
                        <a:pt x="354" y="114"/>
                      </a:lnTo>
                      <a:lnTo>
                        <a:pt x="354" y="306"/>
                      </a:lnTo>
                      <a:lnTo>
                        <a:pt x="348" y="312"/>
                      </a:lnTo>
                      <a:lnTo>
                        <a:pt x="336" y="318"/>
                      </a:lnTo>
                      <a:lnTo>
                        <a:pt x="306" y="318"/>
                      </a:lnTo>
                      <a:lnTo>
                        <a:pt x="282" y="330"/>
                      </a:lnTo>
                      <a:lnTo>
                        <a:pt x="276" y="342"/>
                      </a:lnTo>
                      <a:lnTo>
                        <a:pt x="276" y="360"/>
                      </a:lnTo>
                      <a:lnTo>
                        <a:pt x="282" y="372"/>
                      </a:lnTo>
                      <a:lnTo>
                        <a:pt x="276" y="474"/>
                      </a:lnTo>
                      <a:lnTo>
                        <a:pt x="0" y="474"/>
                      </a:lnTo>
                      <a:lnTo>
                        <a:pt x="0" y="49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3" name="Mali">
                  <a:extLst>
                    <a:ext uri="{FF2B5EF4-FFF2-40B4-BE49-F238E27FC236}">
                      <a16:creationId xmlns:a16="http://schemas.microsoft.com/office/drawing/2014/main" id="{9FCA3E9F-9EBA-423A-A7EA-8E0E9BE9E445}"/>
                    </a:ext>
                  </a:extLst>
                </p:cNvPr>
                <p:cNvSpPr>
                  <a:spLocks/>
                </p:cNvSpPr>
                <p:nvPr/>
              </p:nvSpPr>
              <p:spPr bwMode="gray">
                <a:xfrm>
                  <a:off x="3914896" y="2620919"/>
                  <a:ext cx="438821" cy="453662"/>
                </a:xfrm>
                <a:custGeom>
                  <a:avLst/>
                  <a:gdLst>
                    <a:gd name="T0" fmla="*/ 2147483647 w 1164"/>
                    <a:gd name="T1" fmla="*/ 2147483647 h 1200"/>
                    <a:gd name="T2" fmla="*/ 2147483647 w 1164"/>
                    <a:gd name="T3" fmla="*/ 2147483647 h 1200"/>
                    <a:gd name="T4" fmla="*/ 2147483647 w 1164"/>
                    <a:gd name="T5" fmla="*/ 2147483647 h 1200"/>
                    <a:gd name="T6" fmla="*/ 2147483647 w 1164"/>
                    <a:gd name="T7" fmla="*/ 2147483647 h 1200"/>
                    <a:gd name="T8" fmla="*/ 2147483647 w 1164"/>
                    <a:gd name="T9" fmla="*/ 2147483647 h 1200"/>
                    <a:gd name="T10" fmla="*/ 2147483647 w 1164"/>
                    <a:gd name="T11" fmla="*/ 2147483647 h 1200"/>
                    <a:gd name="T12" fmla="*/ 2147483647 w 1164"/>
                    <a:gd name="T13" fmla="*/ 2147483647 h 1200"/>
                    <a:gd name="T14" fmla="*/ 2147483647 w 1164"/>
                    <a:gd name="T15" fmla="*/ 2147483647 h 1200"/>
                    <a:gd name="T16" fmla="*/ 2147483647 w 1164"/>
                    <a:gd name="T17" fmla="*/ 2147483647 h 1200"/>
                    <a:gd name="T18" fmla="*/ 2147483647 w 1164"/>
                    <a:gd name="T19" fmla="*/ 2147483647 h 1200"/>
                    <a:gd name="T20" fmla="*/ 2147483647 w 1164"/>
                    <a:gd name="T21" fmla="*/ 2147483647 h 1200"/>
                    <a:gd name="T22" fmla="*/ 2147483647 w 1164"/>
                    <a:gd name="T23" fmla="*/ 2147483647 h 1200"/>
                    <a:gd name="T24" fmla="*/ 2147483647 w 1164"/>
                    <a:gd name="T25" fmla="*/ 2147483647 h 1200"/>
                    <a:gd name="T26" fmla="*/ 2147483647 w 1164"/>
                    <a:gd name="T27" fmla="*/ 2147483647 h 1200"/>
                    <a:gd name="T28" fmla="*/ 2147483647 w 1164"/>
                    <a:gd name="T29" fmla="*/ 2147483647 h 1200"/>
                    <a:gd name="T30" fmla="*/ 2147483647 w 1164"/>
                    <a:gd name="T31" fmla="*/ 2147483647 h 1200"/>
                    <a:gd name="T32" fmla="*/ 2147483647 w 1164"/>
                    <a:gd name="T33" fmla="*/ 2147483647 h 1200"/>
                    <a:gd name="T34" fmla="*/ 2147483647 w 1164"/>
                    <a:gd name="T35" fmla="*/ 2147483647 h 1200"/>
                    <a:gd name="T36" fmla="*/ 2147483647 w 1164"/>
                    <a:gd name="T37" fmla="*/ 2147483647 h 1200"/>
                    <a:gd name="T38" fmla="*/ 2147483647 w 1164"/>
                    <a:gd name="T39" fmla="*/ 2147483647 h 1200"/>
                    <a:gd name="T40" fmla="*/ 2147483647 w 1164"/>
                    <a:gd name="T41" fmla="*/ 2147483647 h 1200"/>
                    <a:gd name="T42" fmla="*/ 2147483647 w 1164"/>
                    <a:gd name="T43" fmla="*/ 2147483647 h 1200"/>
                    <a:gd name="T44" fmla="*/ 2147483647 w 1164"/>
                    <a:gd name="T45" fmla="*/ 2147483647 h 1200"/>
                    <a:gd name="T46" fmla="*/ 2147483647 w 1164"/>
                    <a:gd name="T47" fmla="*/ 2147483647 h 1200"/>
                    <a:gd name="T48" fmla="*/ 2147483647 w 1164"/>
                    <a:gd name="T49" fmla="*/ 2147483647 h 1200"/>
                    <a:gd name="T50" fmla="*/ 2147483647 w 1164"/>
                    <a:gd name="T51" fmla="*/ 2147483647 h 1200"/>
                    <a:gd name="T52" fmla="*/ 2147483647 w 1164"/>
                    <a:gd name="T53" fmla="*/ 2147483647 h 1200"/>
                    <a:gd name="T54" fmla="*/ 0 w 1164"/>
                    <a:gd name="T55" fmla="*/ 2147483647 h 1200"/>
                    <a:gd name="T56" fmla="*/ 2147483647 w 1164"/>
                    <a:gd name="T57" fmla="*/ 2147483647 h 1200"/>
                    <a:gd name="T58" fmla="*/ 2147483647 w 1164"/>
                    <a:gd name="T59" fmla="*/ 2147483647 h 1200"/>
                    <a:gd name="T60" fmla="*/ 2147483647 w 1164"/>
                    <a:gd name="T61" fmla="*/ 2147483647 h 1200"/>
                    <a:gd name="T62" fmla="*/ 2147483647 w 1164"/>
                    <a:gd name="T63" fmla="*/ 2147483647 h 1200"/>
                    <a:gd name="T64" fmla="*/ 2147483647 w 1164"/>
                    <a:gd name="T65" fmla="*/ 2147483647 h 1200"/>
                    <a:gd name="T66" fmla="*/ 2147483647 w 1164"/>
                    <a:gd name="T67" fmla="*/ 2147483647 h 1200"/>
                    <a:gd name="T68" fmla="*/ 2147483647 w 1164"/>
                    <a:gd name="T69" fmla="*/ 2147483647 h 1200"/>
                    <a:gd name="T70" fmla="*/ 2147483647 w 1164"/>
                    <a:gd name="T71" fmla="*/ 2147483647 h 1200"/>
                    <a:gd name="T72" fmla="*/ 2147483647 w 1164"/>
                    <a:gd name="T73" fmla="*/ 2147483647 h 1200"/>
                    <a:gd name="T74" fmla="*/ 2147483647 w 1164"/>
                    <a:gd name="T75" fmla="*/ 2147483647 h 1200"/>
                    <a:gd name="T76" fmla="*/ 2147483647 w 1164"/>
                    <a:gd name="T77" fmla="*/ 2147483647 h 1200"/>
                    <a:gd name="T78" fmla="*/ 2147483647 w 1164"/>
                    <a:gd name="T79" fmla="*/ 2147483647 h 1200"/>
                    <a:gd name="T80" fmla="*/ 2147483647 w 1164"/>
                    <a:gd name="T81" fmla="*/ 2147483647 h 1200"/>
                    <a:gd name="T82" fmla="*/ 2147483647 w 1164"/>
                    <a:gd name="T83" fmla="*/ 2147483647 h 1200"/>
                    <a:gd name="T84" fmla="*/ 2147483647 w 1164"/>
                    <a:gd name="T85" fmla="*/ 2147483647 h 1200"/>
                    <a:gd name="T86" fmla="*/ 2147483647 w 1164"/>
                    <a:gd name="T87" fmla="*/ 2147483647 h 1200"/>
                    <a:gd name="T88" fmla="*/ 2147483647 w 1164"/>
                    <a:gd name="T89" fmla="*/ 2147483647 h 1200"/>
                    <a:gd name="T90" fmla="*/ 2147483647 w 1164"/>
                    <a:gd name="T91" fmla="*/ 2147483647 h 1200"/>
                    <a:gd name="T92" fmla="*/ 2147483647 w 1164"/>
                    <a:gd name="T93" fmla="*/ 2147483647 h 1200"/>
                    <a:gd name="T94" fmla="*/ 2147483647 w 1164"/>
                    <a:gd name="T95" fmla="*/ 2147483647 h 1200"/>
                    <a:gd name="T96" fmla="*/ 2147483647 w 1164"/>
                    <a:gd name="T97" fmla="*/ 2147483647 h 1200"/>
                    <a:gd name="T98" fmla="*/ 2147483647 w 1164"/>
                    <a:gd name="T99" fmla="*/ 2147483647 h 1200"/>
                    <a:gd name="T100" fmla="*/ 2147483647 w 1164"/>
                    <a:gd name="T101" fmla="*/ 2147483647 h 1200"/>
                    <a:gd name="T102" fmla="*/ 2147483647 w 1164"/>
                    <a:gd name="T103" fmla="*/ 2147483647 h 1200"/>
                    <a:gd name="T104" fmla="*/ 2147483647 w 1164"/>
                    <a:gd name="T105" fmla="*/ 2147483647 h 1200"/>
                    <a:gd name="T106" fmla="*/ 2147483647 w 1164"/>
                    <a:gd name="T107" fmla="*/ 2147483647 h 1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64"/>
                    <a:gd name="T163" fmla="*/ 0 h 1200"/>
                    <a:gd name="T164" fmla="*/ 1164 w 1164"/>
                    <a:gd name="T165" fmla="*/ 1200 h 1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64" h="1200">
                      <a:moveTo>
                        <a:pt x="612" y="954"/>
                      </a:moveTo>
                      <a:lnTo>
                        <a:pt x="636" y="948"/>
                      </a:lnTo>
                      <a:lnTo>
                        <a:pt x="636" y="912"/>
                      </a:lnTo>
                      <a:lnTo>
                        <a:pt x="654" y="912"/>
                      </a:lnTo>
                      <a:lnTo>
                        <a:pt x="654" y="906"/>
                      </a:lnTo>
                      <a:lnTo>
                        <a:pt x="660" y="900"/>
                      </a:lnTo>
                      <a:lnTo>
                        <a:pt x="666" y="888"/>
                      </a:lnTo>
                      <a:lnTo>
                        <a:pt x="678" y="882"/>
                      </a:lnTo>
                      <a:lnTo>
                        <a:pt x="684" y="870"/>
                      </a:lnTo>
                      <a:lnTo>
                        <a:pt x="690" y="864"/>
                      </a:lnTo>
                      <a:lnTo>
                        <a:pt x="696" y="864"/>
                      </a:lnTo>
                      <a:lnTo>
                        <a:pt x="708" y="876"/>
                      </a:lnTo>
                      <a:lnTo>
                        <a:pt x="720" y="876"/>
                      </a:lnTo>
                      <a:lnTo>
                        <a:pt x="720" y="870"/>
                      </a:lnTo>
                      <a:lnTo>
                        <a:pt x="726" y="864"/>
                      </a:lnTo>
                      <a:lnTo>
                        <a:pt x="726" y="846"/>
                      </a:lnTo>
                      <a:lnTo>
                        <a:pt x="750" y="846"/>
                      </a:lnTo>
                      <a:lnTo>
                        <a:pt x="768" y="822"/>
                      </a:lnTo>
                      <a:lnTo>
                        <a:pt x="792" y="822"/>
                      </a:lnTo>
                      <a:lnTo>
                        <a:pt x="810" y="804"/>
                      </a:lnTo>
                      <a:lnTo>
                        <a:pt x="858" y="804"/>
                      </a:lnTo>
                      <a:lnTo>
                        <a:pt x="882" y="816"/>
                      </a:lnTo>
                      <a:lnTo>
                        <a:pt x="930" y="804"/>
                      </a:lnTo>
                      <a:lnTo>
                        <a:pt x="954" y="786"/>
                      </a:lnTo>
                      <a:lnTo>
                        <a:pt x="1020" y="792"/>
                      </a:lnTo>
                      <a:lnTo>
                        <a:pt x="1020" y="774"/>
                      </a:lnTo>
                      <a:lnTo>
                        <a:pt x="1068" y="780"/>
                      </a:lnTo>
                      <a:lnTo>
                        <a:pt x="1080" y="774"/>
                      </a:lnTo>
                      <a:lnTo>
                        <a:pt x="1104" y="774"/>
                      </a:lnTo>
                      <a:lnTo>
                        <a:pt x="1122" y="768"/>
                      </a:lnTo>
                      <a:lnTo>
                        <a:pt x="1134" y="762"/>
                      </a:lnTo>
                      <a:lnTo>
                        <a:pt x="1140" y="750"/>
                      </a:lnTo>
                      <a:lnTo>
                        <a:pt x="1140" y="732"/>
                      </a:lnTo>
                      <a:lnTo>
                        <a:pt x="1146" y="720"/>
                      </a:lnTo>
                      <a:lnTo>
                        <a:pt x="1146" y="708"/>
                      </a:lnTo>
                      <a:lnTo>
                        <a:pt x="1164" y="684"/>
                      </a:lnTo>
                      <a:lnTo>
                        <a:pt x="1164" y="480"/>
                      </a:lnTo>
                      <a:lnTo>
                        <a:pt x="1140" y="480"/>
                      </a:lnTo>
                      <a:lnTo>
                        <a:pt x="1134" y="486"/>
                      </a:lnTo>
                      <a:lnTo>
                        <a:pt x="1104" y="486"/>
                      </a:lnTo>
                      <a:lnTo>
                        <a:pt x="1092" y="480"/>
                      </a:lnTo>
                      <a:lnTo>
                        <a:pt x="1086" y="474"/>
                      </a:lnTo>
                      <a:lnTo>
                        <a:pt x="1086" y="468"/>
                      </a:lnTo>
                      <a:lnTo>
                        <a:pt x="1104" y="450"/>
                      </a:lnTo>
                      <a:lnTo>
                        <a:pt x="1104" y="432"/>
                      </a:lnTo>
                      <a:lnTo>
                        <a:pt x="1092" y="408"/>
                      </a:lnTo>
                      <a:lnTo>
                        <a:pt x="1080" y="402"/>
                      </a:lnTo>
                      <a:lnTo>
                        <a:pt x="1050" y="402"/>
                      </a:lnTo>
                      <a:lnTo>
                        <a:pt x="1044" y="408"/>
                      </a:lnTo>
                      <a:lnTo>
                        <a:pt x="1038" y="408"/>
                      </a:lnTo>
                      <a:lnTo>
                        <a:pt x="1032" y="378"/>
                      </a:lnTo>
                      <a:lnTo>
                        <a:pt x="996" y="378"/>
                      </a:lnTo>
                      <a:lnTo>
                        <a:pt x="984" y="366"/>
                      </a:lnTo>
                      <a:lnTo>
                        <a:pt x="984" y="348"/>
                      </a:lnTo>
                      <a:lnTo>
                        <a:pt x="978" y="342"/>
                      </a:lnTo>
                      <a:lnTo>
                        <a:pt x="954" y="342"/>
                      </a:lnTo>
                      <a:lnTo>
                        <a:pt x="954" y="318"/>
                      </a:lnTo>
                      <a:lnTo>
                        <a:pt x="546" y="6"/>
                      </a:lnTo>
                      <a:lnTo>
                        <a:pt x="426" y="0"/>
                      </a:lnTo>
                      <a:lnTo>
                        <a:pt x="468" y="690"/>
                      </a:lnTo>
                      <a:lnTo>
                        <a:pt x="474" y="690"/>
                      </a:lnTo>
                      <a:lnTo>
                        <a:pt x="492" y="708"/>
                      </a:lnTo>
                      <a:lnTo>
                        <a:pt x="492" y="720"/>
                      </a:lnTo>
                      <a:lnTo>
                        <a:pt x="486" y="726"/>
                      </a:lnTo>
                      <a:lnTo>
                        <a:pt x="474" y="768"/>
                      </a:lnTo>
                      <a:lnTo>
                        <a:pt x="210" y="768"/>
                      </a:lnTo>
                      <a:lnTo>
                        <a:pt x="210" y="756"/>
                      </a:lnTo>
                      <a:lnTo>
                        <a:pt x="204" y="756"/>
                      </a:lnTo>
                      <a:lnTo>
                        <a:pt x="198" y="762"/>
                      </a:lnTo>
                      <a:lnTo>
                        <a:pt x="198" y="774"/>
                      </a:lnTo>
                      <a:lnTo>
                        <a:pt x="192" y="774"/>
                      </a:lnTo>
                      <a:lnTo>
                        <a:pt x="180" y="780"/>
                      </a:lnTo>
                      <a:lnTo>
                        <a:pt x="150" y="780"/>
                      </a:lnTo>
                      <a:lnTo>
                        <a:pt x="144" y="774"/>
                      </a:lnTo>
                      <a:lnTo>
                        <a:pt x="108" y="774"/>
                      </a:lnTo>
                      <a:lnTo>
                        <a:pt x="96" y="798"/>
                      </a:lnTo>
                      <a:lnTo>
                        <a:pt x="90" y="786"/>
                      </a:lnTo>
                      <a:lnTo>
                        <a:pt x="66" y="762"/>
                      </a:lnTo>
                      <a:lnTo>
                        <a:pt x="48" y="762"/>
                      </a:lnTo>
                      <a:lnTo>
                        <a:pt x="36" y="774"/>
                      </a:lnTo>
                      <a:lnTo>
                        <a:pt x="36" y="822"/>
                      </a:lnTo>
                      <a:lnTo>
                        <a:pt x="30" y="822"/>
                      </a:lnTo>
                      <a:lnTo>
                        <a:pt x="18" y="828"/>
                      </a:lnTo>
                      <a:lnTo>
                        <a:pt x="0" y="828"/>
                      </a:lnTo>
                      <a:lnTo>
                        <a:pt x="0" y="852"/>
                      </a:lnTo>
                      <a:lnTo>
                        <a:pt x="12" y="870"/>
                      </a:lnTo>
                      <a:lnTo>
                        <a:pt x="12" y="876"/>
                      </a:lnTo>
                      <a:lnTo>
                        <a:pt x="24" y="888"/>
                      </a:lnTo>
                      <a:lnTo>
                        <a:pt x="24" y="906"/>
                      </a:lnTo>
                      <a:lnTo>
                        <a:pt x="18" y="912"/>
                      </a:lnTo>
                      <a:lnTo>
                        <a:pt x="18" y="936"/>
                      </a:lnTo>
                      <a:lnTo>
                        <a:pt x="24" y="942"/>
                      </a:lnTo>
                      <a:lnTo>
                        <a:pt x="36" y="942"/>
                      </a:lnTo>
                      <a:lnTo>
                        <a:pt x="36" y="936"/>
                      </a:lnTo>
                      <a:lnTo>
                        <a:pt x="42" y="936"/>
                      </a:lnTo>
                      <a:lnTo>
                        <a:pt x="48" y="942"/>
                      </a:lnTo>
                      <a:lnTo>
                        <a:pt x="54" y="954"/>
                      </a:lnTo>
                      <a:lnTo>
                        <a:pt x="54" y="1032"/>
                      </a:lnTo>
                      <a:lnTo>
                        <a:pt x="60" y="1044"/>
                      </a:lnTo>
                      <a:lnTo>
                        <a:pt x="60" y="1050"/>
                      </a:lnTo>
                      <a:lnTo>
                        <a:pt x="66" y="1056"/>
                      </a:lnTo>
                      <a:lnTo>
                        <a:pt x="72" y="1050"/>
                      </a:lnTo>
                      <a:lnTo>
                        <a:pt x="78" y="1038"/>
                      </a:lnTo>
                      <a:lnTo>
                        <a:pt x="90" y="1026"/>
                      </a:lnTo>
                      <a:lnTo>
                        <a:pt x="102" y="1038"/>
                      </a:lnTo>
                      <a:lnTo>
                        <a:pt x="108" y="1050"/>
                      </a:lnTo>
                      <a:lnTo>
                        <a:pt x="108" y="1062"/>
                      </a:lnTo>
                      <a:lnTo>
                        <a:pt x="114" y="1050"/>
                      </a:lnTo>
                      <a:lnTo>
                        <a:pt x="126" y="1038"/>
                      </a:lnTo>
                      <a:lnTo>
                        <a:pt x="132" y="1026"/>
                      </a:lnTo>
                      <a:lnTo>
                        <a:pt x="138" y="1026"/>
                      </a:lnTo>
                      <a:lnTo>
                        <a:pt x="144" y="1032"/>
                      </a:lnTo>
                      <a:lnTo>
                        <a:pt x="150" y="1032"/>
                      </a:lnTo>
                      <a:lnTo>
                        <a:pt x="162" y="1038"/>
                      </a:lnTo>
                      <a:lnTo>
                        <a:pt x="168" y="1044"/>
                      </a:lnTo>
                      <a:lnTo>
                        <a:pt x="180" y="1050"/>
                      </a:lnTo>
                      <a:lnTo>
                        <a:pt x="198" y="1032"/>
                      </a:lnTo>
                      <a:lnTo>
                        <a:pt x="198" y="1014"/>
                      </a:lnTo>
                      <a:lnTo>
                        <a:pt x="204" y="1008"/>
                      </a:lnTo>
                      <a:lnTo>
                        <a:pt x="216" y="1008"/>
                      </a:lnTo>
                      <a:lnTo>
                        <a:pt x="228" y="1014"/>
                      </a:lnTo>
                      <a:lnTo>
                        <a:pt x="228" y="1032"/>
                      </a:lnTo>
                      <a:lnTo>
                        <a:pt x="246" y="1044"/>
                      </a:lnTo>
                      <a:lnTo>
                        <a:pt x="234" y="1074"/>
                      </a:lnTo>
                      <a:lnTo>
                        <a:pt x="270" y="1092"/>
                      </a:lnTo>
                      <a:lnTo>
                        <a:pt x="246" y="1128"/>
                      </a:lnTo>
                      <a:lnTo>
                        <a:pt x="270" y="1128"/>
                      </a:lnTo>
                      <a:lnTo>
                        <a:pt x="270" y="1164"/>
                      </a:lnTo>
                      <a:lnTo>
                        <a:pt x="300" y="1194"/>
                      </a:lnTo>
                      <a:lnTo>
                        <a:pt x="312" y="1200"/>
                      </a:lnTo>
                      <a:lnTo>
                        <a:pt x="312" y="1182"/>
                      </a:lnTo>
                      <a:lnTo>
                        <a:pt x="318" y="1176"/>
                      </a:lnTo>
                      <a:lnTo>
                        <a:pt x="330" y="1176"/>
                      </a:lnTo>
                      <a:lnTo>
                        <a:pt x="348" y="1182"/>
                      </a:lnTo>
                      <a:lnTo>
                        <a:pt x="366" y="1200"/>
                      </a:lnTo>
                      <a:lnTo>
                        <a:pt x="372" y="1182"/>
                      </a:lnTo>
                      <a:lnTo>
                        <a:pt x="390" y="1182"/>
                      </a:lnTo>
                      <a:lnTo>
                        <a:pt x="396" y="1158"/>
                      </a:lnTo>
                      <a:lnTo>
                        <a:pt x="408" y="1176"/>
                      </a:lnTo>
                      <a:lnTo>
                        <a:pt x="420" y="1152"/>
                      </a:lnTo>
                      <a:lnTo>
                        <a:pt x="420" y="1188"/>
                      </a:lnTo>
                      <a:lnTo>
                        <a:pt x="444" y="1194"/>
                      </a:lnTo>
                      <a:lnTo>
                        <a:pt x="450" y="1188"/>
                      </a:lnTo>
                      <a:lnTo>
                        <a:pt x="456" y="1176"/>
                      </a:lnTo>
                      <a:lnTo>
                        <a:pt x="462" y="1170"/>
                      </a:lnTo>
                      <a:lnTo>
                        <a:pt x="474" y="1170"/>
                      </a:lnTo>
                      <a:lnTo>
                        <a:pt x="468" y="1116"/>
                      </a:lnTo>
                      <a:lnTo>
                        <a:pt x="492" y="1116"/>
                      </a:lnTo>
                      <a:lnTo>
                        <a:pt x="504" y="1092"/>
                      </a:lnTo>
                      <a:lnTo>
                        <a:pt x="480" y="1062"/>
                      </a:lnTo>
                      <a:lnTo>
                        <a:pt x="498" y="1050"/>
                      </a:lnTo>
                      <a:lnTo>
                        <a:pt x="504" y="1050"/>
                      </a:lnTo>
                      <a:lnTo>
                        <a:pt x="510" y="1044"/>
                      </a:lnTo>
                      <a:lnTo>
                        <a:pt x="546" y="1044"/>
                      </a:lnTo>
                      <a:lnTo>
                        <a:pt x="546" y="1032"/>
                      </a:lnTo>
                      <a:lnTo>
                        <a:pt x="540" y="1026"/>
                      </a:lnTo>
                      <a:lnTo>
                        <a:pt x="546" y="1026"/>
                      </a:lnTo>
                      <a:lnTo>
                        <a:pt x="552" y="1020"/>
                      </a:lnTo>
                      <a:lnTo>
                        <a:pt x="552" y="990"/>
                      </a:lnTo>
                      <a:lnTo>
                        <a:pt x="570" y="990"/>
                      </a:lnTo>
                      <a:lnTo>
                        <a:pt x="570" y="960"/>
                      </a:lnTo>
                      <a:lnTo>
                        <a:pt x="564" y="954"/>
                      </a:lnTo>
                      <a:lnTo>
                        <a:pt x="582" y="924"/>
                      </a:lnTo>
                      <a:lnTo>
                        <a:pt x="612" y="9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4" name="Liberia">
                  <a:extLst>
                    <a:ext uri="{FF2B5EF4-FFF2-40B4-BE49-F238E27FC236}">
                      <a16:creationId xmlns:a16="http://schemas.microsoft.com/office/drawing/2014/main" id="{DF6B52E5-48B2-40D1-B7C7-67365D4E305C}"/>
                    </a:ext>
                  </a:extLst>
                </p:cNvPr>
                <p:cNvSpPr>
                  <a:spLocks/>
                </p:cNvSpPr>
                <p:nvPr/>
              </p:nvSpPr>
              <p:spPr bwMode="gray">
                <a:xfrm>
                  <a:off x="3923821" y="3120692"/>
                  <a:ext cx="117515" cy="130893"/>
                </a:xfrm>
                <a:custGeom>
                  <a:avLst/>
                  <a:gdLst>
                    <a:gd name="T0" fmla="*/ 2147483647 w 312"/>
                    <a:gd name="T1" fmla="*/ 2147483647 h 342"/>
                    <a:gd name="T2" fmla="*/ 2147483647 w 312"/>
                    <a:gd name="T3" fmla="*/ 2147483647 h 342"/>
                    <a:gd name="T4" fmla="*/ 2147483647 w 312"/>
                    <a:gd name="T5" fmla="*/ 2147483647 h 342"/>
                    <a:gd name="T6" fmla="*/ 2147483647 w 312"/>
                    <a:gd name="T7" fmla="*/ 2147483647 h 342"/>
                    <a:gd name="T8" fmla="*/ 2147483647 w 312"/>
                    <a:gd name="T9" fmla="*/ 2147483647 h 342"/>
                    <a:gd name="T10" fmla="*/ 2147483647 w 312"/>
                    <a:gd name="T11" fmla="*/ 2147483647 h 342"/>
                    <a:gd name="T12" fmla="*/ 2147483647 w 312"/>
                    <a:gd name="T13" fmla="*/ 2147483647 h 342"/>
                    <a:gd name="T14" fmla="*/ 2147483647 w 312"/>
                    <a:gd name="T15" fmla="*/ 2147483647 h 342"/>
                    <a:gd name="T16" fmla="*/ 2147483647 w 312"/>
                    <a:gd name="T17" fmla="*/ 2147483647 h 342"/>
                    <a:gd name="T18" fmla="*/ 2147483647 w 312"/>
                    <a:gd name="T19" fmla="*/ 2147483647 h 342"/>
                    <a:gd name="T20" fmla="*/ 2147483647 w 312"/>
                    <a:gd name="T21" fmla="*/ 2147483647 h 342"/>
                    <a:gd name="T22" fmla="*/ 2147483647 w 312"/>
                    <a:gd name="T23" fmla="*/ 2147483647 h 342"/>
                    <a:gd name="T24" fmla="*/ 2147483647 w 312"/>
                    <a:gd name="T25" fmla="*/ 2147483647 h 342"/>
                    <a:gd name="T26" fmla="*/ 2147483647 w 312"/>
                    <a:gd name="T27" fmla="*/ 2147483647 h 342"/>
                    <a:gd name="T28" fmla="*/ 2147483647 w 312"/>
                    <a:gd name="T29" fmla="*/ 2147483647 h 342"/>
                    <a:gd name="T30" fmla="*/ 2147483647 w 312"/>
                    <a:gd name="T31" fmla="*/ 2147483647 h 342"/>
                    <a:gd name="T32" fmla="*/ 2147483647 w 312"/>
                    <a:gd name="T33" fmla="*/ 2147483647 h 342"/>
                    <a:gd name="T34" fmla="*/ 2147483647 w 312"/>
                    <a:gd name="T35" fmla="*/ 2147483647 h 342"/>
                    <a:gd name="T36" fmla="*/ 2147483647 w 312"/>
                    <a:gd name="T37" fmla="*/ 2147483647 h 342"/>
                    <a:gd name="T38" fmla="*/ 2147483647 w 312"/>
                    <a:gd name="T39" fmla="*/ 2147483647 h 342"/>
                    <a:gd name="T40" fmla="*/ 2147483647 w 312"/>
                    <a:gd name="T41" fmla="*/ 2147483647 h 342"/>
                    <a:gd name="T42" fmla="*/ 2147483647 w 312"/>
                    <a:gd name="T43" fmla="*/ 2147483647 h 342"/>
                    <a:gd name="T44" fmla="*/ 2147483647 w 312"/>
                    <a:gd name="T45" fmla="*/ 2147483647 h 342"/>
                    <a:gd name="T46" fmla="*/ 2147483647 w 312"/>
                    <a:gd name="T47" fmla="*/ 2147483647 h 342"/>
                    <a:gd name="T48" fmla="*/ 2147483647 w 312"/>
                    <a:gd name="T49" fmla="*/ 2147483647 h 342"/>
                    <a:gd name="T50" fmla="*/ 2147483647 w 312"/>
                    <a:gd name="T51" fmla="*/ 0 h 342"/>
                    <a:gd name="T52" fmla="*/ 2147483647 w 312"/>
                    <a:gd name="T53" fmla="*/ 0 h 342"/>
                    <a:gd name="T54" fmla="*/ 2147483647 w 312"/>
                    <a:gd name="T55" fmla="*/ 2147483647 h 342"/>
                    <a:gd name="T56" fmla="*/ 2147483647 w 312"/>
                    <a:gd name="T57" fmla="*/ 2147483647 h 342"/>
                    <a:gd name="T58" fmla="*/ 2147483647 w 312"/>
                    <a:gd name="T59" fmla="*/ 2147483647 h 342"/>
                    <a:gd name="T60" fmla="*/ 2147483647 w 312"/>
                    <a:gd name="T61" fmla="*/ 2147483647 h 342"/>
                    <a:gd name="T62" fmla="*/ 2147483647 w 312"/>
                    <a:gd name="T63" fmla="*/ 2147483647 h 342"/>
                    <a:gd name="T64" fmla="*/ 2147483647 w 312"/>
                    <a:gd name="T65" fmla="*/ 2147483647 h 342"/>
                    <a:gd name="T66" fmla="*/ 2147483647 w 312"/>
                    <a:gd name="T67" fmla="*/ 2147483647 h 342"/>
                    <a:gd name="T68" fmla="*/ 2147483647 w 312"/>
                    <a:gd name="T69" fmla="*/ 2147483647 h 342"/>
                    <a:gd name="T70" fmla="*/ 2147483647 w 312"/>
                    <a:gd name="T71" fmla="*/ 2147483647 h 342"/>
                    <a:gd name="T72" fmla="*/ 2147483647 w 312"/>
                    <a:gd name="T73" fmla="*/ 2147483647 h 342"/>
                    <a:gd name="T74" fmla="*/ 2147483647 w 312"/>
                    <a:gd name="T75" fmla="*/ 2147483647 h 342"/>
                    <a:gd name="T76" fmla="*/ 2147483647 w 312"/>
                    <a:gd name="T77" fmla="*/ 2147483647 h 342"/>
                    <a:gd name="T78" fmla="*/ 0 w 312"/>
                    <a:gd name="T79" fmla="*/ 2147483647 h 342"/>
                    <a:gd name="T80" fmla="*/ 2147483647 w 312"/>
                    <a:gd name="T81" fmla="*/ 2147483647 h 342"/>
                    <a:gd name="T82" fmla="*/ 2147483647 w 312"/>
                    <a:gd name="T83" fmla="*/ 2147483647 h 342"/>
                    <a:gd name="T84" fmla="*/ 2147483647 w 312"/>
                    <a:gd name="T85" fmla="*/ 2147483647 h 342"/>
                    <a:gd name="T86" fmla="*/ 2147483647 w 312"/>
                    <a:gd name="T87" fmla="*/ 2147483647 h 342"/>
                    <a:gd name="T88" fmla="*/ 2147483647 w 312"/>
                    <a:gd name="T89" fmla="*/ 2147483647 h 342"/>
                    <a:gd name="T90" fmla="*/ 2147483647 w 312"/>
                    <a:gd name="T91" fmla="*/ 2147483647 h 342"/>
                    <a:gd name="T92" fmla="*/ 2147483647 w 312"/>
                    <a:gd name="T93" fmla="*/ 2147483647 h 342"/>
                    <a:gd name="T94" fmla="*/ 2147483647 w 312"/>
                    <a:gd name="T95" fmla="*/ 2147483647 h 342"/>
                    <a:gd name="T96" fmla="*/ 2147483647 w 312"/>
                    <a:gd name="T97" fmla="*/ 2147483647 h 342"/>
                    <a:gd name="T98" fmla="*/ 2147483647 w 312"/>
                    <a:gd name="T99" fmla="*/ 2147483647 h 342"/>
                    <a:gd name="T100" fmla="*/ 2147483647 w 312"/>
                    <a:gd name="T101" fmla="*/ 2147483647 h 342"/>
                    <a:gd name="T102" fmla="*/ 2147483647 w 312"/>
                    <a:gd name="T103" fmla="*/ 2147483647 h 342"/>
                    <a:gd name="T104" fmla="*/ 2147483647 w 312"/>
                    <a:gd name="T105" fmla="*/ 2147483647 h 342"/>
                    <a:gd name="T106" fmla="*/ 2147483647 w 312"/>
                    <a:gd name="T107" fmla="*/ 2147483647 h 342"/>
                    <a:gd name="T108" fmla="*/ 2147483647 w 312"/>
                    <a:gd name="T109" fmla="*/ 2147483647 h 342"/>
                    <a:gd name="T110" fmla="*/ 2147483647 w 312"/>
                    <a:gd name="T111" fmla="*/ 2147483647 h 342"/>
                    <a:gd name="T112" fmla="*/ 2147483647 w 312"/>
                    <a:gd name="T113" fmla="*/ 2147483647 h 342"/>
                    <a:gd name="T114" fmla="*/ 2147483647 w 312"/>
                    <a:gd name="T115" fmla="*/ 2147483647 h 342"/>
                    <a:gd name="T116" fmla="*/ 2147483647 w 312"/>
                    <a:gd name="T117" fmla="*/ 2147483647 h 342"/>
                    <a:gd name="T118" fmla="*/ 2147483647 w 312"/>
                    <a:gd name="T119" fmla="*/ 2147483647 h 342"/>
                    <a:gd name="T120" fmla="*/ 2147483647 w 312"/>
                    <a:gd name="T121" fmla="*/ 2147483647 h 3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2"/>
                    <a:gd name="T184" fmla="*/ 0 h 342"/>
                    <a:gd name="T185" fmla="*/ 312 w 312"/>
                    <a:gd name="T186" fmla="*/ 342 h 3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2" h="342">
                      <a:moveTo>
                        <a:pt x="312" y="252"/>
                      </a:moveTo>
                      <a:lnTo>
                        <a:pt x="312" y="240"/>
                      </a:lnTo>
                      <a:lnTo>
                        <a:pt x="282" y="210"/>
                      </a:lnTo>
                      <a:lnTo>
                        <a:pt x="282" y="180"/>
                      </a:lnTo>
                      <a:lnTo>
                        <a:pt x="246" y="186"/>
                      </a:lnTo>
                      <a:lnTo>
                        <a:pt x="246" y="174"/>
                      </a:lnTo>
                      <a:lnTo>
                        <a:pt x="228" y="174"/>
                      </a:lnTo>
                      <a:lnTo>
                        <a:pt x="222" y="168"/>
                      </a:lnTo>
                      <a:lnTo>
                        <a:pt x="228" y="156"/>
                      </a:lnTo>
                      <a:lnTo>
                        <a:pt x="240" y="150"/>
                      </a:lnTo>
                      <a:lnTo>
                        <a:pt x="246" y="132"/>
                      </a:lnTo>
                      <a:lnTo>
                        <a:pt x="246" y="108"/>
                      </a:lnTo>
                      <a:lnTo>
                        <a:pt x="228" y="72"/>
                      </a:lnTo>
                      <a:lnTo>
                        <a:pt x="222" y="72"/>
                      </a:lnTo>
                      <a:lnTo>
                        <a:pt x="216" y="78"/>
                      </a:lnTo>
                      <a:lnTo>
                        <a:pt x="210" y="90"/>
                      </a:lnTo>
                      <a:lnTo>
                        <a:pt x="210" y="102"/>
                      </a:lnTo>
                      <a:lnTo>
                        <a:pt x="198" y="114"/>
                      </a:lnTo>
                      <a:lnTo>
                        <a:pt x="192" y="114"/>
                      </a:lnTo>
                      <a:lnTo>
                        <a:pt x="180" y="102"/>
                      </a:lnTo>
                      <a:lnTo>
                        <a:pt x="180" y="96"/>
                      </a:lnTo>
                      <a:lnTo>
                        <a:pt x="168" y="96"/>
                      </a:lnTo>
                      <a:lnTo>
                        <a:pt x="168" y="36"/>
                      </a:lnTo>
                      <a:lnTo>
                        <a:pt x="162" y="18"/>
                      </a:lnTo>
                      <a:lnTo>
                        <a:pt x="150" y="6"/>
                      </a:lnTo>
                      <a:lnTo>
                        <a:pt x="138" y="0"/>
                      </a:lnTo>
                      <a:lnTo>
                        <a:pt x="132" y="0"/>
                      </a:lnTo>
                      <a:lnTo>
                        <a:pt x="126" y="6"/>
                      </a:lnTo>
                      <a:lnTo>
                        <a:pt x="126" y="18"/>
                      </a:lnTo>
                      <a:lnTo>
                        <a:pt x="102" y="12"/>
                      </a:lnTo>
                      <a:lnTo>
                        <a:pt x="108" y="36"/>
                      </a:lnTo>
                      <a:lnTo>
                        <a:pt x="84" y="42"/>
                      </a:lnTo>
                      <a:lnTo>
                        <a:pt x="84" y="60"/>
                      </a:lnTo>
                      <a:lnTo>
                        <a:pt x="78" y="72"/>
                      </a:lnTo>
                      <a:lnTo>
                        <a:pt x="66" y="78"/>
                      </a:lnTo>
                      <a:lnTo>
                        <a:pt x="54" y="90"/>
                      </a:lnTo>
                      <a:lnTo>
                        <a:pt x="42" y="96"/>
                      </a:lnTo>
                      <a:lnTo>
                        <a:pt x="24" y="114"/>
                      </a:lnTo>
                      <a:lnTo>
                        <a:pt x="24" y="150"/>
                      </a:lnTo>
                      <a:lnTo>
                        <a:pt x="0" y="126"/>
                      </a:lnTo>
                      <a:lnTo>
                        <a:pt x="36" y="162"/>
                      </a:lnTo>
                      <a:lnTo>
                        <a:pt x="60" y="162"/>
                      </a:lnTo>
                      <a:lnTo>
                        <a:pt x="72" y="192"/>
                      </a:lnTo>
                      <a:lnTo>
                        <a:pt x="102" y="192"/>
                      </a:lnTo>
                      <a:lnTo>
                        <a:pt x="108" y="198"/>
                      </a:lnTo>
                      <a:lnTo>
                        <a:pt x="120" y="222"/>
                      </a:lnTo>
                      <a:lnTo>
                        <a:pt x="132" y="240"/>
                      </a:lnTo>
                      <a:lnTo>
                        <a:pt x="150" y="252"/>
                      </a:lnTo>
                      <a:lnTo>
                        <a:pt x="162" y="270"/>
                      </a:lnTo>
                      <a:lnTo>
                        <a:pt x="180" y="282"/>
                      </a:lnTo>
                      <a:lnTo>
                        <a:pt x="198" y="288"/>
                      </a:lnTo>
                      <a:lnTo>
                        <a:pt x="210" y="294"/>
                      </a:lnTo>
                      <a:lnTo>
                        <a:pt x="228" y="300"/>
                      </a:lnTo>
                      <a:lnTo>
                        <a:pt x="258" y="330"/>
                      </a:lnTo>
                      <a:lnTo>
                        <a:pt x="294" y="342"/>
                      </a:lnTo>
                      <a:lnTo>
                        <a:pt x="300" y="342"/>
                      </a:lnTo>
                      <a:lnTo>
                        <a:pt x="300" y="294"/>
                      </a:lnTo>
                      <a:lnTo>
                        <a:pt x="306" y="288"/>
                      </a:lnTo>
                      <a:lnTo>
                        <a:pt x="306" y="276"/>
                      </a:lnTo>
                      <a:lnTo>
                        <a:pt x="312" y="264"/>
                      </a:lnTo>
                      <a:lnTo>
                        <a:pt x="312" y="25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5" name="Guinea-Bissau">
                  <a:extLst>
                    <a:ext uri="{FF2B5EF4-FFF2-40B4-BE49-F238E27FC236}">
                      <a16:creationId xmlns:a16="http://schemas.microsoft.com/office/drawing/2014/main" id="{A98BA693-47EA-4E72-B680-14A484258779}"/>
                    </a:ext>
                  </a:extLst>
                </p:cNvPr>
                <p:cNvSpPr>
                  <a:spLocks/>
                </p:cNvSpPr>
                <p:nvPr/>
              </p:nvSpPr>
              <p:spPr bwMode="gray">
                <a:xfrm>
                  <a:off x="3806305" y="2994261"/>
                  <a:ext cx="69914" cy="59497"/>
                </a:xfrm>
                <a:custGeom>
                  <a:avLst/>
                  <a:gdLst>
                    <a:gd name="T0" fmla="*/ 2147483647 w 186"/>
                    <a:gd name="T1" fmla="*/ 2147483647 h 156"/>
                    <a:gd name="T2" fmla="*/ 2147483647 w 186"/>
                    <a:gd name="T3" fmla="*/ 2147483647 h 156"/>
                    <a:gd name="T4" fmla="*/ 2147483647 w 186"/>
                    <a:gd name="T5" fmla="*/ 2147483647 h 156"/>
                    <a:gd name="T6" fmla="*/ 2147483647 w 186"/>
                    <a:gd name="T7" fmla="*/ 2147483647 h 156"/>
                    <a:gd name="T8" fmla="*/ 2147483647 w 186"/>
                    <a:gd name="T9" fmla="*/ 2147483647 h 156"/>
                    <a:gd name="T10" fmla="*/ 2147483647 w 186"/>
                    <a:gd name="T11" fmla="*/ 2147483647 h 156"/>
                    <a:gd name="T12" fmla="*/ 2147483647 w 186"/>
                    <a:gd name="T13" fmla="*/ 2147483647 h 156"/>
                    <a:gd name="T14" fmla="*/ 2147483647 w 186"/>
                    <a:gd name="T15" fmla="*/ 2147483647 h 156"/>
                    <a:gd name="T16" fmla="*/ 2147483647 w 186"/>
                    <a:gd name="T17" fmla="*/ 2147483647 h 156"/>
                    <a:gd name="T18" fmla="*/ 2147483647 w 186"/>
                    <a:gd name="T19" fmla="*/ 2147483647 h 156"/>
                    <a:gd name="T20" fmla="*/ 2147483647 w 186"/>
                    <a:gd name="T21" fmla="*/ 2147483647 h 156"/>
                    <a:gd name="T22" fmla="*/ 2147483647 w 186"/>
                    <a:gd name="T23" fmla="*/ 2147483647 h 156"/>
                    <a:gd name="T24" fmla="*/ 2147483647 w 186"/>
                    <a:gd name="T25" fmla="*/ 2147483647 h 156"/>
                    <a:gd name="T26" fmla="*/ 2147483647 w 186"/>
                    <a:gd name="T27" fmla="*/ 2147483647 h 156"/>
                    <a:gd name="T28" fmla="*/ 2147483647 w 186"/>
                    <a:gd name="T29" fmla="*/ 0 h 156"/>
                    <a:gd name="T30" fmla="*/ 2147483647 w 186"/>
                    <a:gd name="T31" fmla="*/ 2147483647 h 156"/>
                    <a:gd name="T32" fmla="*/ 2147483647 w 186"/>
                    <a:gd name="T33" fmla="*/ 2147483647 h 156"/>
                    <a:gd name="T34" fmla="*/ 2147483647 w 186"/>
                    <a:gd name="T35" fmla="*/ 2147483647 h 156"/>
                    <a:gd name="T36" fmla="*/ 0 w 186"/>
                    <a:gd name="T37" fmla="*/ 2147483647 h 156"/>
                    <a:gd name="T38" fmla="*/ 2147483647 w 186"/>
                    <a:gd name="T39" fmla="*/ 2147483647 h 156"/>
                    <a:gd name="T40" fmla="*/ 2147483647 w 186"/>
                    <a:gd name="T41" fmla="*/ 2147483647 h 156"/>
                    <a:gd name="T42" fmla="*/ 2147483647 w 186"/>
                    <a:gd name="T43" fmla="*/ 2147483647 h 156"/>
                    <a:gd name="T44" fmla="*/ 2147483647 w 186"/>
                    <a:gd name="T45" fmla="*/ 2147483647 h 156"/>
                    <a:gd name="T46" fmla="*/ 2147483647 w 186"/>
                    <a:gd name="T47" fmla="*/ 2147483647 h 156"/>
                    <a:gd name="T48" fmla="*/ 2147483647 w 186"/>
                    <a:gd name="T49" fmla="*/ 2147483647 h 156"/>
                    <a:gd name="T50" fmla="*/ 2147483647 w 186"/>
                    <a:gd name="T51" fmla="*/ 2147483647 h 156"/>
                    <a:gd name="T52" fmla="*/ 2147483647 w 186"/>
                    <a:gd name="T53" fmla="*/ 2147483647 h 156"/>
                    <a:gd name="T54" fmla="*/ 2147483647 w 186"/>
                    <a:gd name="T55" fmla="*/ 2147483647 h 156"/>
                    <a:gd name="T56" fmla="*/ 2147483647 w 186"/>
                    <a:gd name="T57" fmla="*/ 2147483647 h 156"/>
                    <a:gd name="T58" fmla="*/ 2147483647 w 186"/>
                    <a:gd name="T59" fmla="*/ 2147483647 h 156"/>
                    <a:gd name="T60" fmla="*/ 2147483647 w 186"/>
                    <a:gd name="T61" fmla="*/ 2147483647 h 156"/>
                    <a:gd name="T62" fmla="*/ 2147483647 w 186"/>
                    <a:gd name="T63" fmla="*/ 2147483647 h 156"/>
                    <a:gd name="T64" fmla="*/ 2147483647 w 186"/>
                    <a:gd name="T65" fmla="*/ 2147483647 h 156"/>
                    <a:gd name="T66" fmla="*/ 2147483647 w 186"/>
                    <a:gd name="T67" fmla="*/ 2147483647 h 156"/>
                    <a:gd name="T68" fmla="*/ 2147483647 w 186"/>
                    <a:gd name="T69" fmla="*/ 2147483647 h 156"/>
                    <a:gd name="T70" fmla="*/ 2147483647 w 186"/>
                    <a:gd name="T71" fmla="*/ 2147483647 h 156"/>
                    <a:gd name="T72" fmla="*/ 2147483647 w 186"/>
                    <a:gd name="T73" fmla="*/ 2147483647 h 1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56"/>
                    <a:gd name="T113" fmla="*/ 186 w 186"/>
                    <a:gd name="T114" fmla="*/ 156 h 1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56">
                      <a:moveTo>
                        <a:pt x="126" y="102"/>
                      </a:moveTo>
                      <a:lnTo>
                        <a:pt x="132" y="96"/>
                      </a:lnTo>
                      <a:lnTo>
                        <a:pt x="144" y="90"/>
                      </a:lnTo>
                      <a:lnTo>
                        <a:pt x="174" y="90"/>
                      </a:lnTo>
                      <a:lnTo>
                        <a:pt x="180" y="84"/>
                      </a:lnTo>
                      <a:lnTo>
                        <a:pt x="186" y="72"/>
                      </a:lnTo>
                      <a:lnTo>
                        <a:pt x="186" y="66"/>
                      </a:lnTo>
                      <a:lnTo>
                        <a:pt x="180" y="60"/>
                      </a:lnTo>
                      <a:lnTo>
                        <a:pt x="168" y="54"/>
                      </a:lnTo>
                      <a:lnTo>
                        <a:pt x="162" y="48"/>
                      </a:lnTo>
                      <a:lnTo>
                        <a:pt x="162" y="36"/>
                      </a:lnTo>
                      <a:lnTo>
                        <a:pt x="168" y="30"/>
                      </a:lnTo>
                      <a:lnTo>
                        <a:pt x="186" y="30"/>
                      </a:lnTo>
                      <a:lnTo>
                        <a:pt x="186" y="6"/>
                      </a:lnTo>
                      <a:lnTo>
                        <a:pt x="84" y="0"/>
                      </a:lnTo>
                      <a:lnTo>
                        <a:pt x="54" y="24"/>
                      </a:lnTo>
                      <a:lnTo>
                        <a:pt x="18" y="24"/>
                      </a:lnTo>
                      <a:lnTo>
                        <a:pt x="6" y="36"/>
                      </a:lnTo>
                      <a:lnTo>
                        <a:pt x="0" y="72"/>
                      </a:lnTo>
                      <a:lnTo>
                        <a:pt x="6" y="78"/>
                      </a:lnTo>
                      <a:lnTo>
                        <a:pt x="18" y="78"/>
                      </a:lnTo>
                      <a:lnTo>
                        <a:pt x="42" y="66"/>
                      </a:lnTo>
                      <a:lnTo>
                        <a:pt x="66" y="66"/>
                      </a:lnTo>
                      <a:lnTo>
                        <a:pt x="90" y="60"/>
                      </a:lnTo>
                      <a:lnTo>
                        <a:pt x="90" y="84"/>
                      </a:lnTo>
                      <a:lnTo>
                        <a:pt x="78" y="78"/>
                      </a:lnTo>
                      <a:lnTo>
                        <a:pt x="72" y="78"/>
                      </a:lnTo>
                      <a:lnTo>
                        <a:pt x="66" y="72"/>
                      </a:lnTo>
                      <a:lnTo>
                        <a:pt x="54" y="72"/>
                      </a:lnTo>
                      <a:lnTo>
                        <a:pt x="54" y="96"/>
                      </a:lnTo>
                      <a:lnTo>
                        <a:pt x="60" y="102"/>
                      </a:lnTo>
                      <a:lnTo>
                        <a:pt x="90" y="96"/>
                      </a:lnTo>
                      <a:lnTo>
                        <a:pt x="54" y="114"/>
                      </a:lnTo>
                      <a:lnTo>
                        <a:pt x="84" y="156"/>
                      </a:lnTo>
                      <a:lnTo>
                        <a:pt x="90" y="132"/>
                      </a:lnTo>
                      <a:lnTo>
                        <a:pt x="108" y="102"/>
                      </a:lnTo>
                      <a:lnTo>
                        <a:pt x="126" y="10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6" name="Guinea">
                  <a:extLst>
                    <a:ext uri="{FF2B5EF4-FFF2-40B4-BE49-F238E27FC236}">
                      <a16:creationId xmlns:a16="http://schemas.microsoft.com/office/drawing/2014/main" id="{11D64C25-5FE8-4A3C-9707-AA866795F9AC}"/>
                    </a:ext>
                  </a:extLst>
                </p:cNvPr>
                <p:cNvSpPr>
                  <a:spLocks/>
                </p:cNvSpPr>
                <p:nvPr/>
              </p:nvSpPr>
              <p:spPr bwMode="gray">
                <a:xfrm>
                  <a:off x="3840519" y="2997236"/>
                  <a:ext cx="196354" cy="166591"/>
                </a:xfrm>
                <a:custGeom>
                  <a:avLst/>
                  <a:gdLst>
                    <a:gd name="T0" fmla="*/ 2147483647 w 522"/>
                    <a:gd name="T1" fmla="*/ 2147483647 h 444"/>
                    <a:gd name="T2" fmla="*/ 2147483647 w 522"/>
                    <a:gd name="T3" fmla="*/ 2147483647 h 444"/>
                    <a:gd name="T4" fmla="*/ 2147483647 w 522"/>
                    <a:gd name="T5" fmla="*/ 2147483647 h 444"/>
                    <a:gd name="T6" fmla="*/ 2147483647 w 522"/>
                    <a:gd name="T7" fmla="*/ 2147483647 h 444"/>
                    <a:gd name="T8" fmla="*/ 2147483647 w 522"/>
                    <a:gd name="T9" fmla="*/ 2147483647 h 444"/>
                    <a:gd name="T10" fmla="*/ 2147483647 w 522"/>
                    <a:gd name="T11" fmla="*/ 2147483647 h 444"/>
                    <a:gd name="T12" fmla="*/ 2147483647 w 522"/>
                    <a:gd name="T13" fmla="*/ 2147483647 h 444"/>
                    <a:gd name="T14" fmla="*/ 2147483647 w 522"/>
                    <a:gd name="T15" fmla="*/ 2147483647 h 444"/>
                    <a:gd name="T16" fmla="*/ 2147483647 w 522"/>
                    <a:gd name="T17" fmla="*/ 2147483647 h 444"/>
                    <a:gd name="T18" fmla="*/ 2147483647 w 522"/>
                    <a:gd name="T19" fmla="*/ 2147483647 h 444"/>
                    <a:gd name="T20" fmla="*/ 2147483647 w 522"/>
                    <a:gd name="T21" fmla="*/ 2147483647 h 444"/>
                    <a:gd name="T22" fmla="*/ 2147483647 w 522"/>
                    <a:gd name="T23" fmla="*/ 2147483647 h 444"/>
                    <a:gd name="T24" fmla="*/ 2147483647 w 522"/>
                    <a:gd name="T25" fmla="*/ 2147483647 h 444"/>
                    <a:gd name="T26" fmla="*/ 2147483647 w 522"/>
                    <a:gd name="T27" fmla="*/ 2147483647 h 444"/>
                    <a:gd name="T28" fmla="*/ 2147483647 w 522"/>
                    <a:gd name="T29" fmla="*/ 2147483647 h 444"/>
                    <a:gd name="T30" fmla="*/ 2147483647 w 522"/>
                    <a:gd name="T31" fmla="*/ 2147483647 h 444"/>
                    <a:gd name="T32" fmla="*/ 2147483647 w 522"/>
                    <a:gd name="T33" fmla="*/ 2147483647 h 444"/>
                    <a:gd name="T34" fmla="*/ 2147483647 w 522"/>
                    <a:gd name="T35" fmla="*/ 2147483647 h 444"/>
                    <a:gd name="T36" fmla="*/ 2147483647 w 522"/>
                    <a:gd name="T37" fmla="*/ 2147483647 h 444"/>
                    <a:gd name="T38" fmla="*/ 2147483647 w 522"/>
                    <a:gd name="T39" fmla="*/ 2147483647 h 444"/>
                    <a:gd name="T40" fmla="*/ 2147483647 w 522"/>
                    <a:gd name="T41" fmla="*/ 2147483647 h 444"/>
                    <a:gd name="T42" fmla="*/ 2147483647 w 522"/>
                    <a:gd name="T43" fmla="*/ 2147483647 h 444"/>
                    <a:gd name="T44" fmla="*/ 2147483647 w 522"/>
                    <a:gd name="T45" fmla="*/ 2147483647 h 444"/>
                    <a:gd name="T46" fmla="*/ 2147483647 w 522"/>
                    <a:gd name="T47" fmla="*/ 2147483647 h 444"/>
                    <a:gd name="T48" fmla="*/ 2147483647 w 522"/>
                    <a:gd name="T49" fmla="*/ 2147483647 h 444"/>
                    <a:gd name="T50" fmla="*/ 2147483647 w 522"/>
                    <a:gd name="T51" fmla="*/ 2147483647 h 444"/>
                    <a:gd name="T52" fmla="*/ 2147483647 w 522"/>
                    <a:gd name="T53" fmla="*/ 2147483647 h 444"/>
                    <a:gd name="T54" fmla="*/ 2147483647 w 522"/>
                    <a:gd name="T55" fmla="*/ 2147483647 h 444"/>
                    <a:gd name="T56" fmla="*/ 2147483647 w 522"/>
                    <a:gd name="T57" fmla="*/ 2147483647 h 444"/>
                    <a:gd name="T58" fmla="*/ 2147483647 w 522"/>
                    <a:gd name="T59" fmla="*/ 2147483647 h 444"/>
                    <a:gd name="T60" fmla="*/ 2147483647 w 522"/>
                    <a:gd name="T61" fmla="*/ 2147483647 h 444"/>
                    <a:gd name="T62" fmla="*/ 2147483647 w 522"/>
                    <a:gd name="T63" fmla="*/ 2147483647 h 444"/>
                    <a:gd name="T64" fmla="*/ 2147483647 w 522"/>
                    <a:gd name="T65" fmla="*/ 2147483647 h 444"/>
                    <a:gd name="T66" fmla="*/ 2147483647 w 522"/>
                    <a:gd name="T67" fmla="*/ 2147483647 h 444"/>
                    <a:gd name="T68" fmla="*/ 2147483647 w 522"/>
                    <a:gd name="T69" fmla="*/ 2147483647 h 444"/>
                    <a:gd name="T70" fmla="*/ 2147483647 w 522"/>
                    <a:gd name="T71" fmla="*/ 2147483647 h 444"/>
                    <a:gd name="T72" fmla="*/ 2147483647 w 522"/>
                    <a:gd name="T73" fmla="*/ 2147483647 h 444"/>
                    <a:gd name="T74" fmla="*/ 2147483647 w 522"/>
                    <a:gd name="T75" fmla="*/ 2147483647 h 444"/>
                    <a:gd name="T76" fmla="*/ 2147483647 w 522"/>
                    <a:gd name="T77" fmla="*/ 2147483647 h 444"/>
                    <a:gd name="T78" fmla="*/ 2147483647 w 522"/>
                    <a:gd name="T79" fmla="*/ 2147483647 h 444"/>
                    <a:gd name="T80" fmla="*/ 2147483647 w 522"/>
                    <a:gd name="T81" fmla="*/ 2147483647 h 444"/>
                    <a:gd name="T82" fmla="*/ 2147483647 w 522"/>
                    <a:gd name="T83" fmla="*/ 2147483647 h 444"/>
                    <a:gd name="T84" fmla="*/ 2147483647 w 522"/>
                    <a:gd name="T85" fmla="*/ 2147483647 h 444"/>
                    <a:gd name="T86" fmla="*/ 2147483647 w 522"/>
                    <a:gd name="T87" fmla="*/ 2147483647 h 444"/>
                    <a:gd name="T88" fmla="*/ 2147483647 w 522"/>
                    <a:gd name="T89" fmla="*/ 2147483647 h 444"/>
                    <a:gd name="T90" fmla="*/ 2147483647 w 522"/>
                    <a:gd name="T91" fmla="*/ 2147483647 h 444"/>
                    <a:gd name="T92" fmla="*/ 2147483647 w 522"/>
                    <a:gd name="T93" fmla="*/ 2147483647 h 4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444"/>
                    <a:gd name="T143" fmla="*/ 522 w 522"/>
                    <a:gd name="T144" fmla="*/ 444 h 4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444">
                      <a:moveTo>
                        <a:pt x="96" y="0"/>
                      </a:moveTo>
                      <a:lnTo>
                        <a:pt x="96" y="24"/>
                      </a:lnTo>
                      <a:lnTo>
                        <a:pt x="78" y="24"/>
                      </a:lnTo>
                      <a:lnTo>
                        <a:pt x="72" y="30"/>
                      </a:lnTo>
                      <a:lnTo>
                        <a:pt x="72" y="42"/>
                      </a:lnTo>
                      <a:lnTo>
                        <a:pt x="78" y="48"/>
                      </a:lnTo>
                      <a:lnTo>
                        <a:pt x="90" y="54"/>
                      </a:lnTo>
                      <a:lnTo>
                        <a:pt x="96" y="60"/>
                      </a:lnTo>
                      <a:lnTo>
                        <a:pt x="96" y="66"/>
                      </a:lnTo>
                      <a:lnTo>
                        <a:pt x="90" y="78"/>
                      </a:lnTo>
                      <a:lnTo>
                        <a:pt x="84" y="84"/>
                      </a:lnTo>
                      <a:lnTo>
                        <a:pt x="54" y="84"/>
                      </a:lnTo>
                      <a:lnTo>
                        <a:pt x="42" y="90"/>
                      </a:lnTo>
                      <a:lnTo>
                        <a:pt x="36" y="96"/>
                      </a:lnTo>
                      <a:lnTo>
                        <a:pt x="18" y="96"/>
                      </a:lnTo>
                      <a:lnTo>
                        <a:pt x="0" y="126"/>
                      </a:lnTo>
                      <a:lnTo>
                        <a:pt x="0" y="132"/>
                      </a:lnTo>
                      <a:lnTo>
                        <a:pt x="18" y="150"/>
                      </a:lnTo>
                      <a:lnTo>
                        <a:pt x="30" y="150"/>
                      </a:lnTo>
                      <a:lnTo>
                        <a:pt x="30" y="162"/>
                      </a:lnTo>
                      <a:lnTo>
                        <a:pt x="24" y="168"/>
                      </a:lnTo>
                      <a:lnTo>
                        <a:pt x="30" y="180"/>
                      </a:lnTo>
                      <a:lnTo>
                        <a:pt x="30" y="192"/>
                      </a:lnTo>
                      <a:lnTo>
                        <a:pt x="54" y="204"/>
                      </a:lnTo>
                      <a:lnTo>
                        <a:pt x="72" y="204"/>
                      </a:lnTo>
                      <a:lnTo>
                        <a:pt x="72" y="228"/>
                      </a:lnTo>
                      <a:lnTo>
                        <a:pt x="84" y="228"/>
                      </a:lnTo>
                      <a:lnTo>
                        <a:pt x="90" y="222"/>
                      </a:lnTo>
                      <a:lnTo>
                        <a:pt x="90" y="234"/>
                      </a:lnTo>
                      <a:lnTo>
                        <a:pt x="96" y="246"/>
                      </a:lnTo>
                      <a:lnTo>
                        <a:pt x="96" y="258"/>
                      </a:lnTo>
                      <a:lnTo>
                        <a:pt x="114" y="276"/>
                      </a:lnTo>
                      <a:lnTo>
                        <a:pt x="126" y="282"/>
                      </a:lnTo>
                      <a:lnTo>
                        <a:pt x="132" y="288"/>
                      </a:lnTo>
                      <a:lnTo>
                        <a:pt x="138" y="282"/>
                      </a:lnTo>
                      <a:lnTo>
                        <a:pt x="150" y="276"/>
                      </a:lnTo>
                      <a:lnTo>
                        <a:pt x="156" y="264"/>
                      </a:lnTo>
                      <a:lnTo>
                        <a:pt x="168" y="252"/>
                      </a:lnTo>
                      <a:lnTo>
                        <a:pt x="174" y="240"/>
                      </a:lnTo>
                      <a:lnTo>
                        <a:pt x="180" y="234"/>
                      </a:lnTo>
                      <a:lnTo>
                        <a:pt x="180" y="228"/>
                      </a:lnTo>
                      <a:lnTo>
                        <a:pt x="216" y="228"/>
                      </a:lnTo>
                      <a:lnTo>
                        <a:pt x="222" y="210"/>
                      </a:lnTo>
                      <a:lnTo>
                        <a:pt x="258" y="210"/>
                      </a:lnTo>
                      <a:lnTo>
                        <a:pt x="300" y="270"/>
                      </a:lnTo>
                      <a:lnTo>
                        <a:pt x="300" y="288"/>
                      </a:lnTo>
                      <a:lnTo>
                        <a:pt x="312" y="300"/>
                      </a:lnTo>
                      <a:lnTo>
                        <a:pt x="312" y="318"/>
                      </a:lnTo>
                      <a:lnTo>
                        <a:pt x="306" y="330"/>
                      </a:lnTo>
                      <a:lnTo>
                        <a:pt x="300" y="336"/>
                      </a:lnTo>
                      <a:lnTo>
                        <a:pt x="294" y="354"/>
                      </a:lnTo>
                      <a:lnTo>
                        <a:pt x="324" y="342"/>
                      </a:lnTo>
                      <a:lnTo>
                        <a:pt x="348" y="348"/>
                      </a:lnTo>
                      <a:lnTo>
                        <a:pt x="348" y="336"/>
                      </a:lnTo>
                      <a:lnTo>
                        <a:pt x="354" y="330"/>
                      </a:lnTo>
                      <a:lnTo>
                        <a:pt x="360" y="330"/>
                      </a:lnTo>
                      <a:lnTo>
                        <a:pt x="372" y="336"/>
                      </a:lnTo>
                      <a:lnTo>
                        <a:pt x="384" y="348"/>
                      </a:lnTo>
                      <a:lnTo>
                        <a:pt x="390" y="366"/>
                      </a:lnTo>
                      <a:lnTo>
                        <a:pt x="390" y="426"/>
                      </a:lnTo>
                      <a:lnTo>
                        <a:pt x="402" y="426"/>
                      </a:lnTo>
                      <a:lnTo>
                        <a:pt x="402" y="432"/>
                      </a:lnTo>
                      <a:lnTo>
                        <a:pt x="414" y="444"/>
                      </a:lnTo>
                      <a:lnTo>
                        <a:pt x="420" y="444"/>
                      </a:lnTo>
                      <a:lnTo>
                        <a:pt x="432" y="432"/>
                      </a:lnTo>
                      <a:lnTo>
                        <a:pt x="432" y="420"/>
                      </a:lnTo>
                      <a:lnTo>
                        <a:pt x="438" y="408"/>
                      </a:lnTo>
                      <a:lnTo>
                        <a:pt x="444" y="402"/>
                      </a:lnTo>
                      <a:lnTo>
                        <a:pt x="456" y="402"/>
                      </a:lnTo>
                      <a:lnTo>
                        <a:pt x="468" y="408"/>
                      </a:lnTo>
                      <a:lnTo>
                        <a:pt x="474" y="414"/>
                      </a:lnTo>
                      <a:lnTo>
                        <a:pt x="480" y="414"/>
                      </a:lnTo>
                      <a:lnTo>
                        <a:pt x="486" y="408"/>
                      </a:lnTo>
                      <a:lnTo>
                        <a:pt x="486" y="390"/>
                      </a:lnTo>
                      <a:lnTo>
                        <a:pt x="480" y="384"/>
                      </a:lnTo>
                      <a:lnTo>
                        <a:pt x="480" y="378"/>
                      </a:lnTo>
                      <a:lnTo>
                        <a:pt x="498" y="378"/>
                      </a:lnTo>
                      <a:lnTo>
                        <a:pt x="492" y="366"/>
                      </a:lnTo>
                      <a:lnTo>
                        <a:pt x="480" y="360"/>
                      </a:lnTo>
                      <a:lnTo>
                        <a:pt x="474" y="348"/>
                      </a:lnTo>
                      <a:lnTo>
                        <a:pt x="474" y="336"/>
                      </a:lnTo>
                      <a:lnTo>
                        <a:pt x="492" y="336"/>
                      </a:lnTo>
                      <a:lnTo>
                        <a:pt x="498" y="342"/>
                      </a:lnTo>
                      <a:lnTo>
                        <a:pt x="510" y="342"/>
                      </a:lnTo>
                      <a:lnTo>
                        <a:pt x="516" y="348"/>
                      </a:lnTo>
                      <a:lnTo>
                        <a:pt x="516" y="342"/>
                      </a:lnTo>
                      <a:lnTo>
                        <a:pt x="522" y="336"/>
                      </a:lnTo>
                      <a:lnTo>
                        <a:pt x="522" y="324"/>
                      </a:lnTo>
                      <a:lnTo>
                        <a:pt x="516" y="324"/>
                      </a:lnTo>
                      <a:lnTo>
                        <a:pt x="504" y="318"/>
                      </a:lnTo>
                      <a:lnTo>
                        <a:pt x="498" y="318"/>
                      </a:lnTo>
                      <a:lnTo>
                        <a:pt x="498" y="306"/>
                      </a:lnTo>
                      <a:lnTo>
                        <a:pt x="504" y="294"/>
                      </a:lnTo>
                      <a:lnTo>
                        <a:pt x="510" y="288"/>
                      </a:lnTo>
                      <a:lnTo>
                        <a:pt x="492" y="282"/>
                      </a:lnTo>
                      <a:lnTo>
                        <a:pt x="504" y="264"/>
                      </a:lnTo>
                      <a:lnTo>
                        <a:pt x="486" y="258"/>
                      </a:lnTo>
                      <a:lnTo>
                        <a:pt x="480" y="222"/>
                      </a:lnTo>
                      <a:lnTo>
                        <a:pt x="498" y="198"/>
                      </a:lnTo>
                      <a:lnTo>
                        <a:pt x="468" y="168"/>
                      </a:lnTo>
                      <a:lnTo>
                        <a:pt x="468" y="132"/>
                      </a:lnTo>
                      <a:lnTo>
                        <a:pt x="444" y="132"/>
                      </a:lnTo>
                      <a:lnTo>
                        <a:pt x="468" y="96"/>
                      </a:lnTo>
                      <a:lnTo>
                        <a:pt x="432" y="78"/>
                      </a:lnTo>
                      <a:lnTo>
                        <a:pt x="444" y="48"/>
                      </a:lnTo>
                      <a:lnTo>
                        <a:pt x="426" y="36"/>
                      </a:lnTo>
                      <a:lnTo>
                        <a:pt x="426" y="18"/>
                      </a:lnTo>
                      <a:lnTo>
                        <a:pt x="414" y="12"/>
                      </a:lnTo>
                      <a:lnTo>
                        <a:pt x="402" y="12"/>
                      </a:lnTo>
                      <a:lnTo>
                        <a:pt x="396" y="18"/>
                      </a:lnTo>
                      <a:lnTo>
                        <a:pt x="396" y="36"/>
                      </a:lnTo>
                      <a:lnTo>
                        <a:pt x="378" y="54"/>
                      </a:lnTo>
                      <a:lnTo>
                        <a:pt x="366" y="48"/>
                      </a:lnTo>
                      <a:lnTo>
                        <a:pt x="360" y="42"/>
                      </a:lnTo>
                      <a:lnTo>
                        <a:pt x="348" y="36"/>
                      </a:lnTo>
                      <a:lnTo>
                        <a:pt x="342" y="36"/>
                      </a:lnTo>
                      <a:lnTo>
                        <a:pt x="336" y="30"/>
                      </a:lnTo>
                      <a:lnTo>
                        <a:pt x="330" y="30"/>
                      </a:lnTo>
                      <a:lnTo>
                        <a:pt x="324" y="42"/>
                      </a:lnTo>
                      <a:lnTo>
                        <a:pt x="312" y="54"/>
                      </a:lnTo>
                      <a:lnTo>
                        <a:pt x="306" y="66"/>
                      </a:lnTo>
                      <a:lnTo>
                        <a:pt x="306" y="54"/>
                      </a:lnTo>
                      <a:lnTo>
                        <a:pt x="300" y="42"/>
                      </a:lnTo>
                      <a:lnTo>
                        <a:pt x="288" y="30"/>
                      </a:lnTo>
                      <a:lnTo>
                        <a:pt x="276" y="42"/>
                      </a:lnTo>
                      <a:lnTo>
                        <a:pt x="270" y="54"/>
                      </a:lnTo>
                      <a:lnTo>
                        <a:pt x="264" y="60"/>
                      </a:lnTo>
                      <a:lnTo>
                        <a:pt x="258" y="54"/>
                      </a:lnTo>
                      <a:lnTo>
                        <a:pt x="258" y="48"/>
                      </a:lnTo>
                      <a:lnTo>
                        <a:pt x="252" y="36"/>
                      </a:lnTo>
                      <a:lnTo>
                        <a:pt x="252" y="24"/>
                      </a:lnTo>
                      <a:lnTo>
                        <a:pt x="210" y="24"/>
                      </a:lnTo>
                      <a:lnTo>
                        <a:pt x="204" y="30"/>
                      </a:lnTo>
                      <a:lnTo>
                        <a:pt x="192" y="36"/>
                      </a:lnTo>
                      <a:lnTo>
                        <a:pt x="180" y="36"/>
                      </a:lnTo>
                      <a:lnTo>
                        <a:pt x="174" y="30"/>
                      </a:lnTo>
                      <a:lnTo>
                        <a:pt x="168" y="18"/>
                      </a:lnTo>
                      <a:lnTo>
                        <a:pt x="162" y="12"/>
                      </a:lnTo>
                      <a:lnTo>
                        <a:pt x="156" y="18"/>
                      </a:lnTo>
                      <a:lnTo>
                        <a:pt x="138" y="18"/>
                      </a:lnTo>
                      <a:lnTo>
                        <a:pt x="132" y="6"/>
                      </a:lnTo>
                      <a:lnTo>
                        <a:pt x="132" y="0"/>
                      </a:lnTo>
                      <a:lnTo>
                        <a:pt x="96"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7" name="Ghana">
                  <a:extLst>
                    <a:ext uri="{FF2B5EF4-FFF2-40B4-BE49-F238E27FC236}">
                      <a16:creationId xmlns:a16="http://schemas.microsoft.com/office/drawing/2014/main" id="{FB0712BB-66F2-4020-9961-617D6A019345}"/>
                    </a:ext>
                  </a:extLst>
                </p:cNvPr>
                <p:cNvSpPr>
                  <a:spLocks/>
                </p:cNvSpPr>
                <p:nvPr/>
              </p:nvSpPr>
              <p:spPr bwMode="gray">
                <a:xfrm>
                  <a:off x="4149924" y="3044834"/>
                  <a:ext cx="121977" cy="194852"/>
                </a:xfrm>
                <a:custGeom>
                  <a:avLst/>
                  <a:gdLst>
                    <a:gd name="T0" fmla="*/ 2147483647 w 324"/>
                    <a:gd name="T1" fmla="*/ 2147483647 h 516"/>
                    <a:gd name="T2" fmla="*/ 2147483647 w 324"/>
                    <a:gd name="T3" fmla="*/ 2147483647 h 516"/>
                    <a:gd name="T4" fmla="*/ 2147483647 w 324"/>
                    <a:gd name="T5" fmla="*/ 2147483647 h 516"/>
                    <a:gd name="T6" fmla="*/ 2147483647 w 324"/>
                    <a:gd name="T7" fmla="*/ 2147483647 h 516"/>
                    <a:gd name="T8" fmla="*/ 2147483647 w 324"/>
                    <a:gd name="T9" fmla="*/ 2147483647 h 516"/>
                    <a:gd name="T10" fmla="*/ 2147483647 w 324"/>
                    <a:gd name="T11" fmla="*/ 2147483647 h 516"/>
                    <a:gd name="T12" fmla="*/ 2147483647 w 324"/>
                    <a:gd name="T13" fmla="*/ 2147483647 h 516"/>
                    <a:gd name="T14" fmla="*/ 2147483647 w 324"/>
                    <a:gd name="T15" fmla="*/ 2147483647 h 516"/>
                    <a:gd name="T16" fmla="*/ 2147483647 w 324"/>
                    <a:gd name="T17" fmla="*/ 2147483647 h 516"/>
                    <a:gd name="T18" fmla="*/ 2147483647 w 324"/>
                    <a:gd name="T19" fmla="*/ 2147483647 h 516"/>
                    <a:gd name="T20" fmla="*/ 2147483647 w 324"/>
                    <a:gd name="T21" fmla="*/ 2147483647 h 516"/>
                    <a:gd name="T22" fmla="*/ 2147483647 w 324"/>
                    <a:gd name="T23" fmla="*/ 2147483647 h 516"/>
                    <a:gd name="T24" fmla="*/ 2147483647 w 324"/>
                    <a:gd name="T25" fmla="*/ 2147483647 h 516"/>
                    <a:gd name="T26" fmla="*/ 2147483647 w 324"/>
                    <a:gd name="T27" fmla="*/ 0 h 516"/>
                    <a:gd name="T28" fmla="*/ 2147483647 w 324"/>
                    <a:gd name="T29" fmla="*/ 2147483647 h 516"/>
                    <a:gd name="T30" fmla="*/ 2147483647 w 324"/>
                    <a:gd name="T31" fmla="*/ 2147483647 h 516"/>
                    <a:gd name="T32" fmla="*/ 2147483647 w 324"/>
                    <a:gd name="T33" fmla="*/ 2147483647 h 516"/>
                    <a:gd name="T34" fmla="*/ 2147483647 w 324"/>
                    <a:gd name="T35" fmla="*/ 2147483647 h 516"/>
                    <a:gd name="T36" fmla="*/ 2147483647 w 324"/>
                    <a:gd name="T37" fmla="*/ 2147483647 h 516"/>
                    <a:gd name="T38" fmla="*/ 2147483647 w 324"/>
                    <a:gd name="T39" fmla="*/ 2147483647 h 516"/>
                    <a:gd name="T40" fmla="*/ 2147483647 w 324"/>
                    <a:gd name="T41" fmla="*/ 2147483647 h 516"/>
                    <a:gd name="T42" fmla="*/ 2147483647 w 324"/>
                    <a:gd name="T43" fmla="*/ 2147483647 h 516"/>
                    <a:gd name="T44" fmla="*/ 2147483647 w 324"/>
                    <a:gd name="T45" fmla="*/ 2147483647 h 516"/>
                    <a:gd name="T46" fmla="*/ 2147483647 w 324"/>
                    <a:gd name="T47" fmla="*/ 2147483647 h 516"/>
                    <a:gd name="T48" fmla="*/ 2147483647 w 324"/>
                    <a:gd name="T49" fmla="*/ 2147483647 h 516"/>
                    <a:gd name="T50" fmla="*/ 2147483647 w 324"/>
                    <a:gd name="T51" fmla="*/ 2147483647 h 516"/>
                    <a:gd name="T52" fmla="*/ 2147483647 w 324"/>
                    <a:gd name="T53" fmla="*/ 2147483647 h 516"/>
                    <a:gd name="T54" fmla="*/ 0 w 324"/>
                    <a:gd name="T55" fmla="*/ 2147483647 h 516"/>
                    <a:gd name="T56" fmla="*/ 2147483647 w 324"/>
                    <a:gd name="T57" fmla="*/ 2147483647 h 516"/>
                    <a:gd name="T58" fmla="*/ 2147483647 w 324"/>
                    <a:gd name="T59" fmla="*/ 2147483647 h 516"/>
                    <a:gd name="T60" fmla="*/ 2147483647 w 324"/>
                    <a:gd name="T61" fmla="*/ 2147483647 h 516"/>
                    <a:gd name="T62" fmla="*/ 2147483647 w 324"/>
                    <a:gd name="T63" fmla="*/ 2147483647 h 516"/>
                    <a:gd name="T64" fmla="*/ 2147483647 w 324"/>
                    <a:gd name="T65" fmla="*/ 2147483647 h 516"/>
                    <a:gd name="T66" fmla="*/ 2147483647 w 324"/>
                    <a:gd name="T67" fmla="*/ 2147483647 h 516"/>
                    <a:gd name="T68" fmla="*/ 2147483647 w 324"/>
                    <a:gd name="T69" fmla="*/ 2147483647 h 516"/>
                    <a:gd name="T70" fmla="*/ 2147483647 w 324"/>
                    <a:gd name="T71" fmla="*/ 2147483647 h 516"/>
                    <a:gd name="T72" fmla="*/ 2147483647 w 324"/>
                    <a:gd name="T73" fmla="*/ 2147483647 h 516"/>
                    <a:gd name="T74" fmla="*/ 2147483647 w 324"/>
                    <a:gd name="T75" fmla="*/ 2147483647 h 516"/>
                    <a:gd name="T76" fmla="*/ 2147483647 w 324"/>
                    <a:gd name="T77" fmla="*/ 2147483647 h 516"/>
                    <a:gd name="T78" fmla="*/ 2147483647 w 324"/>
                    <a:gd name="T79" fmla="*/ 2147483647 h 516"/>
                    <a:gd name="T80" fmla="*/ 2147483647 w 324"/>
                    <a:gd name="T81" fmla="*/ 2147483647 h 516"/>
                    <a:gd name="T82" fmla="*/ 2147483647 w 324"/>
                    <a:gd name="T83" fmla="*/ 2147483647 h 516"/>
                    <a:gd name="T84" fmla="*/ 2147483647 w 324"/>
                    <a:gd name="T85" fmla="*/ 2147483647 h 516"/>
                    <a:gd name="T86" fmla="*/ 2147483647 w 324"/>
                    <a:gd name="T87" fmla="*/ 2147483647 h 5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
                    <a:gd name="T133" fmla="*/ 0 h 516"/>
                    <a:gd name="T134" fmla="*/ 324 w 324"/>
                    <a:gd name="T135" fmla="*/ 516 h 5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 h="516">
                      <a:moveTo>
                        <a:pt x="282" y="342"/>
                      </a:moveTo>
                      <a:lnTo>
                        <a:pt x="282" y="330"/>
                      </a:lnTo>
                      <a:lnTo>
                        <a:pt x="288" y="318"/>
                      </a:lnTo>
                      <a:lnTo>
                        <a:pt x="288" y="306"/>
                      </a:lnTo>
                      <a:lnTo>
                        <a:pt x="282" y="300"/>
                      </a:lnTo>
                      <a:lnTo>
                        <a:pt x="276" y="300"/>
                      </a:lnTo>
                      <a:lnTo>
                        <a:pt x="276" y="282"/>
                      </a:lnTo>
                      <a:lnTo>
                        <a:pt x="282" y="276"/>
                      </a:lnTo>
                      <a:lnTo>
                        <a:pt x="282" y="234"/>
                      </a:lnTo>
                      <a:lnTo>
                        <a:pt x="288" y="228"/>
                      </a:lnTo>
                      <a:lnTo>
                        <a:pt x="288" y="216"/>
                      </a:lnTo>
                      <a:lnTo>
                        <a:pt x="282" y="210"/>
                      </a:lnTo>
                      <a:lnTo>
                        <a:pt x="270" y="204"/>
                      </a:lnTo>
                      <a:lnTo>
                        <a:pt x="264" y="198"/>
                      </a:lnTo>
                      <a:lnTo>
                        <a:pt x="276" y="186"/>
                      </a:lnTo>
                      <a:lnTo>
                        <a:pt x="282" y="186"/>
                      </a:lnTo>
                      <a:lnTo>
                        <a:pt x="282" y="180"/>
                      </a:lnTo>
                      <a:lnTo>
                        <a:pt x="270" y="168"/>
                      </a:lnTo>
                      <a:lnTo>
                        <a:pt x="276" y="156"/>
                      </a:lnTo>
                      <a:lnTo>
                        <a:pt x="276" y="132"/>
                      </a:lnTo>
                      <a:lnTo>
                        <a:pt x="270" y="126"/>
                      </a:lnTo>
                      <a:lnTo>
                        <a:pt x="264" y="126"/>
                      </a:lnTo>
                      <a:lnTo>
                        <a:pt x="252" y="138"/>
                      </a:lnTo>
                      <a:lnTo>
                        <a:pt x="264" y="60"/>
                      </a:lnTo>
                      <a:lnTo>
                        <a:pt x="228" y="36"/>
                      </a:lnTo>
                      <a:lnTo>
                        <a:pt x="240" y="24"/>
                      </a:lnTo>
                      <a:lnTo>
                        <a:pt x="240" y="6"/>
                      </a:lnTo>
                      <a:lnTo>
                        <a:pt x="222" y="0"/>
                      </a:lnTo>
                      <a:lnTo>
                        <a:pt x="198" y="12"/>
                      </a:lnTo>
                      <a:lnTo>
                        <a:pt x="42" y="12"/>
                      </a:lnTo>
                      <a:lnTo>
                        <a:pt x="36" y="18"/>
                      </a:lnTo>
                      <a:lnTo>
                        <a:pt x="30" y="30"/>
                      </a:lnTo>
                      <a:lnTo>
                        <a:pt x="30" y="48"/>
                      </a:lnTo>
                      <a:lnTo>
                        <a:pt x="36" y="48"/>
                      </a:lnTo>
                      <a:lnTo>
                        <a:pt x="42" y="78"/>
                      </a:lnTo>
                      <a:lnTo>
                        <a:pt x="42" y="132"/>
                      </a:lnTo>
                      <a:lnTo>
                        <a:pt x="48" y="126"/>
                      </a:lnTo>
                      <a:lnTo>
                        <a:pt x="54" y="156"/>
                      </a:lnTo>
                      <a:lnTo>
                        <a:pt x="42" y="156"/>
                      </a:lnTo>
                      <a:lnTo>
                        <a:pt x="42" y="162"/>
                      </a:lnTo>
                      <a:lnTo>
                        <a:pt x="48" y="168"/>
                      </a:lnTo>
                      <a:lnTo>
                        <a:pt x="48" y="180"/>
                      </a:lnTo>
                      <a:lnTo>
                        <a:pt x="54" y="192"/>
                      </a:lnTo>
                      <a:lnTo>
                        <a:pt x="54" y="204"/>
                      </a:lnTo>
                      <a:lnTo>
                        <a:pt x="60" y="216"/>
                      </a:lnTo>
                      <a:lnTo>
                        <a:pt x="60" y="228"/>
                      </a:lnTo>
                      <a:lnTo>
                        <a:pt x="48" y="252"/>
                      </a:lnTo>
                      <a:lnTo>
                        <a:pt x="42" y="258"/>
                      </a:lnTo>
                      <a:lnTo>
                        <a:pt x="36" y="270"/>
                      </a:lnTo>
                      <a:lnTo>
                        <a:pt x="36" y="288"/>
                      </a:lnTo>
                      <a:lnTo>
                        <a:pt x="30" y="300"/>
                      </a:lnTo>
                      <a:lnTo>
                        <a:pt x="30" y="312"/>
                      </a:lnTo>
                      <a:lnTo>
                        <a:pt x="12" y="330"/>
                      </a:lnTo>
                      <a:lnTo>
                        <a:pt x="6" y="342"/>
                      </a:lnTo>
                      <a:lnTo>
                        <a:pt x="0" y="348"/>
                      </a:lnTo>
                      <a:lnTo>
                        <a:pt x="0" y="372"/>
                      </a:lnTo>
                      <a:lnTo>
                        <a:pt x="6" y="384"/>
                      </a:lnTo>
                      <a:lnTo>
                        <a:pt x="12" y="402"/>
                      </a:lnTo>
                      <a:lnTo>
                        <a:pt x="12" y="414"/>
                      </a:lnTo>
                      <a:lnTo>
                        <a:pt x="18" y="426"/>
                      </a:lnTo>
                      <a:lnTo>
                        <a:pt x="24" y="432"/>
                      </a:lnTo>
                      <a:lnTo>
                        <a:pt x="24" y="438"/>
                      </a:lnTo>
                      <a:lnTo>
                        <a:pt x="48" y="444"/>
                      </a:lnTo>
                      <a:lnTo>
                        <a:pt x="48" y="498"/>
                      </a:lnTo>
                      <a:lnTo>
                        <a:pt x="72" y="498"/>
                      </a:lnTo>
                      <a:lnTo>
                        <a:pt x="78" y="504"/>
                      </a:lnTo>
                      <a:lnTo>
                        <a:pt x="78" y="510"/>
                      </a:lnTo>
                      <a:lnTo>
                        <a:pt x="84" y="516"/>
                      </a:lnTo>
                      <a:lnTo>
                        <a:pt x="96" y="516"/>
                      </a:lnTo>
                      <a:lnTo>
                        <a:pt x="108" y="510"/>
                      </a:lnTo>
                      <a:lnTo>
                        <a:pt x="114" y="504"/>
                      </a:lnTo>
                      <a:lnTo>
                        <a:pt x="132" y="492"/>
                      </a:lnTo>
                      <a:lnTo>
                        <a:pt x="138" y="486"/>
                      </a:lnTo>
                      <a:lnTo>
                        <a:pt x="150" y="480"/>
                      </a:lnTo>
                      <a:lnTo>
                        <a:pt x="180" y="480"/>
                      </a:lnTo>
                      <a:lnTo>
                        <a:pt x="186" y="474"/>
                      </a:lnTo>
                      <a:lnTo>
                        <a:pt x="198" y="468"/>
                      </a:lnTo>
                      <a:lnTo>
                        <a:pt x="216" y="450"/>
                      </a:lnTo>
                      <a:lnTo>
                        <a:pt x="228" y="450"/>
                      </a:lnTo>
                      <a:lnTo>
                        <a:pt x="234" y="444"/>
                      </a:lnTo>
                      <a:lnTo>
                        <a:pt x="240" y="444"/>
                      </a:lnTo>
                      <a:lnTo>
                        <a:pt x="258" y="426"/>
                      </a:lnTo>
                      <a:lnTo>
                        <a:pt x="270" y="426"/>
                      </a:lnTo>
                      <a:lnTo>
                        <a:pt x="276" y="432"/>
                      </a:lnTo>
                      <a:lnTo>
                        <a:pt x="294" y="432"/>
                      </a:lnTo>
                      <a:lnTo>
                        <a:pt x="306" y="426"/>
                      </a:lnTo>
                      <a:lnTo>
                        <a:pt x="324" y="408"/>
                      </a:lnTo>
                      <a:lnTo>
                        <a:pt x="294" y="384"/>
                      </a:lnTo>
                      <a:lnTo>
                        <a:pt x="282" y="3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8" name="The Gambia">
                  <a:extLst>
                    <a:ext uri="{FF2B5EF4-FFF2-40B4-BE49-F238E27FC236}">
                      <a16:creationId xmlns:a16="http://schemas.microsoft.com/office/drawing/2014/main" id="{B8084C08-6A11-408C-931F-BDD2F9E80FEA}"/>
                    </a:ext>
                  </a:extLst>
                </p:cNvPr>
                <p:cNvSpPr>
                  <a:spLocks/>
                </p:cNvSpPr>
                <p:nvPr/>
              </p:nvSpPr>
              <p:spPr bwMode="gray">
                <a:xfrm>
                  <a:off x="3792918" y="2963025"/>
                  <a:ext cx="81815" cy="19337"/>
                </a:xfrm>
                <a:custGeom>
                  <a:avLst/>
                  <a:gdLst>
                    <a:gd name="T0" fmla="*/ 2147483647 w 216"/>
                    <a:gd name="T1" fmla="*/ 2147483647 h 54"/>
                    <a:gd name="T2" fmla="*/ 2147483647 w 216"/>
                    <a:gd name="T3" fmla="*/ 2147483647 h 54"/>
                    <a:gd name="T4" fmla="*/ 2147483647 w 216"/>
                    <a:gd name="T5" fmla="*/ 2147483647 h 54"/>
                    <a:gd name="T6" fmla="*/ 2147483647 w 216"/>
                    <a:gd name="T7" fmla="*/ 2147483647 h 54"/>
                    <a:gd name="T8" fmla="*/ 0 w 216"/>
                    <a:gd name="T9" fmla="*/ 2147483647 h 54"/>
                    <a:gd name="T10" fmla="*/ 0 w 216"/>
                    <a:gd name="T11" fmla="*/ 2147483647 h 54"/>
                    <a:gd name="T12" fmla="*/ 2147483647 w 216"/>
                    <a:gd name="T13" fmla="*/ 2147483647 h 54"/>
                    <a:gd name="T14" fmla="*/ 2147483647 w 216"/>
                    <a:gd name="T15" fmla="*/ 2147483647 h 54"/>
                    <a:gd name="T16" fmla="*/ 2147483647 w 216"/>
                    <a:gd name="T17" fmla="*/ 2147483647 h 54"/>
                    <a:gd name="T18" fmla="*/ 2147483647 w 216"/>
                    <a:gd name="T19" fmla="*/ 2147483647 h 54"/>
                    <a:gd name="T20" fmla="*/ 2147483647 w 216"/>
                    <a:gd name="T21" fmla="*/ 2147483647 h 54"/>
                    <a:gd name="T22" fmla="*/ 2147483647 w 216"/>
                    <a:gd name="T23" fmla="*/ 2147483647 h 54"/>
                    <a:gd name="T24" fmla="*/ 2147483647 w 216"/>
                    <a:gd name="T25" fmla="*/ 2147483647 h 54"/>
                    <a:gd name="T26" fmla="*/ 2147483647 w 216"/>
                    <a:gd name="T27" fmla="*/ 2147483647 h 54"/>
                    <a:gd name="T28" fmla="*/ 2147483647 w 216"/>
                    <a:gd name="T29" fmla="*/ 2147483647 h 54"/>
                    <a:gd name="T30" fmla="*/ 2147483647 w 216"/>
                    <a:gd name="T31" fmla="*/ 2147483647 h 54"/>
                    <a:gd name="T32" fmla="*/ 2147483647 w 216"/>
                    <a:gd name="T33" fmla="*/ 2147483647 h 54"/>
                    <a:gd name="T34" fmla="*/ 2147483647 w 216"/>
                    <a:gd name="T35" fmla="*/ 2147483647 h 54"/>
                    <a:gd name="T36" fmla="*/ 2147483647 w 216"/>
                    <a:gd name="T37" fmla="*/ 2147483647 h 54"/>
                    <a:gd name="T38" fmla="*/ 2147483647 w 216"/>
                    <a:gd name="T39" fmla="*/ 2147483647 h 54"/>
                    <a:gd name="T40" fmla="*/ 2147483647 w 216"/>
                    <a:gd name="T41" fmla="*/ 2147483647 h 54"/>
                    <a:gd name="T42" fmla="*/ 2147483647 w 216"/>
                    <a:gd name="T43" fmla="*/ 2147483647 h 54"/>
                    <a:gd name="T44" fmla="*/ 2147483647 w 216"/>
                    <a:gd name="T45" fmla="*/ 2147483647 h 54"/>
                    <a:gd name="T46" fmla="*/ 2147483647 w 216"/>
                    <a:gd name="T47" fmla="*/ 2147483647 h 54"/>
                    <a:gd name="T48" fmla="*/ 2147483647 w 216"/>
                    <a:gd name="T49" fmla="*/ 2147483647 h 54"/>
                    <a:gd name="T50" fmla="*/ 2147483647 w 216"/>
                    <a:gd name="T51" fmla="*/ 2147483647 h 54"/>
                    <a:gd name="T52" fmla="*/ 2147483647 w 216"/>
                    <a:gd name="T53" fmla="*/ 2147483647 h 54"/>
                    <a:gd name="T54" fmla="*/ 2147483647 w 216"/>
                    <a:gd name="T55" fmla="*/ 2147483647 h 54"/>
                    <a:gd name="T56" fmla="*/ 2147483647 w 216"/>
                    <a:gd name="T57" fmla="*/ 2147483647 h 54"/>
                    <a:gd name="T58" fmla="*/ 2147483647 w 216"/>
                    <a:gd name="T59" fmla="*/ 0 h 54"/>
                    <a:gd name="T60" fmla="*/ 2147483647 w 216"/>
                    <a:gd name="T61" fmla="*/ 0 h 54"/>
                    <a:gd name="T62" fmla="*/ 2147483647 w 216"/>
                    <a:gd name="T63" fmla="*/ 2147483647 h 54"/>
                    <a:gd name="T64" fmla="*/ 2147483647 w 216"/>
                    <a:gd name="T65" fmla="*/ 2147483647 h 54"/>
                    <a:gd name="T66" fmla="*/ 2147483647 w 21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54"/>
                    <a:gd name="T104" fmla="*/ 216 w 21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54">
                      <a:moveTo>
                        <a:pt x="18" y="18"/>
                      </a:moveTo>
                      <a:lnTo>
                        <a:pt x="12" y="24"/>
                      </a:lnTo>
                      <a:lnTo>
                        <a:pt x="6" y="36"/>
                      </a:lnTo>
                      <a:lnTo>
                        <a:pt x="6" y="42"/>
                      </a:lnTo>
                      <a:lnTo>
                        <a:pt x="0" y="48"/>
                      </a:lnTo>
                      <a:lnTo>
                        <a:pt x="0" y="54"/>
                      </a:lnTo>
                      <a:lnTo>
                        <a:pt x="72" y="54"/>
                      </a:lnTo>
                      <a:lnTo>
                        <a:pt x="72" y="42"/>
                      </a:lnTo>
                      <a:lnTo>
                        <a:pt x="84" y="42"/>
                      </a:lnTo>
                      <a:lnTo>
                        <a:pt x="90" y="36"/>
                      </a:lnTo>
                      <a:lnTo>
                        <a:pt x="114" y="36"/>
                      </a:lnTo>
                      <a:lnTo>
                        <a:pt x="120" y="24"/>
                      </a:lnTo>
                      <a:lnTo>
                        <a:pt x="126" y="18"/>
                      </a:lnTo>
                      <a:lnTo>
                        <a:pt x="132" y="24"/>
                      </a:lnTo>
                      <a:lnTo>
                        <a:pt x="144" y="30"/>
                      </a:lnTo>
                      <a:lnTo>
                        <a:pt x="150" y="42"/>
                      </a:lnTo>
                      <a:lnTo>
                        <a:pt x="168" y="48"/>
                      </a:lnTo>
                      <a:lnTo>
                        <a:pt x="192" y="48"/>
                      </a:lnTo>
                      <a:lnTo>
                        <a:pt x="198" y="42"/>
                      </a:lnTo>
                      <a:lnTo>
                        <a:pt x="210" y="36"/>
                      </a:lnTo>
                      <a:lnTo>
                        <a:pt x="216" y="30"/>
                      </a:lnTo>
                      <a:lnTo>
                        <a:pt x="216" y="24"/>
                      </a:lnTo>
                      <a:lnTo>
                        <a:pt x="210" y="18"/>
                      </a:lnTo>
                      <a:lnTo>
                        <a:pt x="186" y="18"/>
                      </a:lnTo>
                      <a:lnTo>
                        <a:pt x="180" y="24"/>
                      </a:lnTo>
                      <a:lnTo>
                        <a:pt x="168" y="24"/>
                      </a:lnTo>
                      <a:lnTo>
                        <a:pt x="162" y="12"/>
                      </a:lnTo>
                      <a:lnTo>
                        <a:pt x="156" y="6"/>
                      </a:lnTo>
                      <a:lnTo>
                        <a:pt x="144" y="12"/>
                      </a:lnTo>
                      <a:lnTo>
                        <a:pt x="144" y="0"/>
                      </a:lnTo>
                      <a:lnTo>
                        <a:pt x="90" y="0"/>
                      </a:lnTo>
                      <a:lnTo>
                        <a:pt x="90" y="12"/>
                      </a:lnTo>
                      <a:lnTo>
                        <a:pt x="18" y="12"/>
                      </a:lnTo>
                      <a:lnTo>
                        <a:pt x="18"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9" name="Côte d'Ivoire">
                  <a:extLst>
                    <a:ext uri="{FF2B5EF4-FFF2-40B4-BE49-F238E27FC236}">
                      <a16:creationId xmlns:a16="http://schemas.microsoft.com/office/drawing/2014/main" id="{CA4DF9E2-0617-40D7-A70B-308186164556}"/>
                    </a:ext>
                  </a:extLst>
                </p:cNvPr>
                <p:cNvSpPr>
                  <a:spLocks/>
                </p:cNvSpPr>
                <p:nvPr/>
              </p:nvSpPr>
              <p:spPr bwMode="gray">
                <a:xfrm>
                  <a:off x="4007122" y="3056733"/>
                  <a:ext cx="165116" cy="194852"/>
                </a:xfrm>
                <a:custGeom>
                  <a:avLst/>
                  <a:gdLst>
                    <a:gd name="T0" fmla="*/ 2147483647 w 438"/>
                    <a:gd name="T1" fmla="*/ 2147483647 h 516"/>
                    <a:gd name="T2" fmla="*/ 2147483647 w 438"/>
                    <a:gd name="T3" fmla="*/ 2147483647 h 516"/>
                    <a:gd name="T4" fmla="*/ 2147483647 w 438"/>
                    <a:gd name="T5" fmla="*/ 2147483647 h 516"/>
                    <a:gd name="T6" fmla="*/ 2147483647 w 438"/>
                    <a:gd name="T7" fmla="*/ 2147483647 h 516"/>
                    <a:gd name="T8" fmla="*/ 2147483647 w 438"/>
                    <a:gd name="T9" fmla="*/ 2147483647 h 516"/>
                    <a:gd name="T10" fmla="*/ 2147483647 w 438"/>
                    <a:gd name="T11" fmla="*/ 2147483647 h 516"/>
                    <a:gd name="T12" fmla="*/ 2147483647 w 438"/>
                    <a:gd name="T13" fmla="*/ 2147483647 h 516"/>
                    <a:gd name="T14" fmla="*/ 2147483647 w 438"/>
                    <a:gd name="T15" fmla="*/ 2147483647 h 516"/>
                    <a:gd name="T16" fmla="*/ 2147483647 w 438"/>
                    <a:gd name="T17" fmla="*/ 2147483647 h 516"/>
                    <a:gd name="T18" fmla="*/ 2147483647 w 438"/>
                    <a:gd name="T19" fmla="*/ 2147483647 h 516"/>
                    <a:gd name="T20" fmla="*/ 2147483647 w 438"/>
                    <a:gd name="T21" fmla="*/ 2147483647 h 516"/>
                    <a:gd name="T22" fmla="*/ 2147483647 w 438"/>
                    <a:gd name="T23" fmla="*/ 2147483647 h 516"/>
                    <a:gd name="T24" fmla="*/ 2147483647 w 438"/>
                    <a:gd name="T25" fmla="*/ 2147483647 h 516"/>
                    <a:gd name="T26" fmla="*/ 2147483647 w 438"/>
                    <a:gd name="T27" fmla="*/ 2147483647 h 516"/>
                    <a:gd name="T28" fmla="*/ 2147483647 w 438"/>
                    <a:gd name="T29" fmla="*/ 2147483647 h 516"/>
                    <a:gd name="T30" fmla="*/ 2147483647 w 438"/>
                    <a:gd name="T31" fmla="*/ 2147483647 h 516"/>
                    <a:gd name="T32" fmla="*/ 2147483647 w 438"/>
                    <a:gd name="T33" fmla="*/ 0 h 516"/>
                    <a:gd name="T34" fmla="*/ 2147483647 w 438"/>
                    <a:gd name="T35" fmla="*/ 2147483647 h 516"/>
                    <a:gd name="T36" fmla="*/ 2147483647 w 438"/>
                    <a:gd name="T37" fmla="*/ 2147483647 h 516"/>
                    <a:gd name="T38" fmla="*/ 2147483647 w 438"/>
                    <a:gd name="T39" fmla="*/ 2147483647 h 516"/>
                    <a:gd name="T40" fmla="*/ 2147483647 w 438"/>
                    <a:gd name="T41" fmla="*/ 2147483647 h 516"/>
                    <a:gd name="T42" fmla="*/ 2147483647 w 438"/>
                    <a:gd name="T43" fmla="*/ 2147483647 h 516"/>
                    <a:gd name="T44" fmla="*/ 2147483647 w 438"/>
                    <a:gd name="T45" fmla="*/ 2147483647 h 516"/>
                    <a:gd name="T46" fmla="*/ 2147483647 w 438"/>
                    <a:gd name="T47" fmla="*/ 2147483647 h 516"/>
                    <a:gd name="T48" fmla="*/ 2147483647 w 438"/>
                    <a:gd name="T49" fmla="*/ 2147483647 h 516"/>
                    <a:gd name="T50" fmla="*/ 2147483647 w 438"/>
                    <a:gd name="T51" fmla="*/ 2147483647 h 516"/>
                    <a:gd name="T52" fmla="*/ 2147483647 w 438"/>
                    <a:gd name="T53" fmla="*/ 2147483647 h 516"/>
                    <a:gd name="T54" fmla="*/ 2147483647 w 438"/>
                    <a:gd name="T55" fmla="*/ 2147483647 h 516"/>
                    <a:gd name="T56" fmla="*/ 2147483647 w 438"/>
                    <a:gd name="T57" fmla="*/ 2147483647 h 516"/>
                    <a:gd name="T58" fmla="*/ 2147483647 w 438"/>
                    <a:gd name="T59" fmla="*/ 2147483647 h 516"/>
                    <a:gd name="T60" fmla="*/ 2147483647 w 438"/>
                    <a:gd name="T61" fmla="*/ 2147483647 h 516"/>
                    <a:gd name="T62" fmla="*/ 2147483647 w 438"/>
                    <a:gd name="T63" fmla="*/ 2147483647 h 516"/>
                    <a:gd name="T64" fmla="*/ 2147483647 w 438"/>
                    <a:gd name="T65" fmla="*/ 2147483647 h 516"/>
                    <a:gd name="T66" fmla="*/ 2147483647 w 438"/>
                    <a:gd name="T67" fmla="*/ 2147483647 h 516"/>
                    <a:gd name="T68" fmla="*/ 2147483647 w 438"/>
                    <a:gd name="T69" fmla="*/ 2147483647 h 516"/>
                    <a:gd name="T70" fmla="*/ 2147483647 w 438"/>
                    <a:gd name="T71" fmla="*/ 2147483647 h 516"/>
                    <a:gd name="T72" fmla="*/ 2147483647 w 438"/>
                    <a:gd name="T73" fmla="*/ 2147483647 h 516"/>
                    <a:gd name="T74" fmla="*/ 2147483647 w 438"/>
                    <a:gd name="T75" fmla="*/ 2147483647 h 516"/>
                    <a:gd name="T76" fmla="*/ 2147483647 w 438"/>
                    <a:gd name="T77" fmla="*/ 2147483647 h 516"/>
                    <a:gd name="T78" fmla="*/ 2147483647 w 438"/>
                    <a:gd name="T79" fmla="*/ 2147483647 h 516"/>
                    <a:gd name="T80" fmla="*/ 2147483647 w 438"/>
                    <a:gd name="T81" fmla="*/ 2147483647 h 516"/>
                    <a:gd name="T82" fmla="*/ 2147483647 w 438"/>
                    <a:gd name="T83" fmla="*/ 2147483647 h 516"/>
                    <a:gd name="T84" fmla="*/ 2147483647 w 438"/>
                    <a:gd name="T85" fmla="*/ 2147483647 h 516"/>
                    <a:gd name="T86" fmla="*/ 2147483647 w 438"/>
                    <a:gd name="T87" fmla="*/ 2147483647 h 516"/>
                    <a:gd name="T88" fmla="*/ 2147483647 w 438"/>
                    <a:gd name="T89" fmla="*/ 2147483647 h 5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38"/>
                    <a:gd name="T136" fmla="*/ 0 h 516"/>
                    <a:gd name="T137" fmla="*/ 438 w 438"/>
                    <a:gd name="T138" fmla="*/ 516 h 5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38" h="516">
                      <a:moveTo>
                        <a:pt x="402" y="408"/>
                      </a:moveTo>
                      <a:lnTo>
                        <a:pt x="402" y="402"/>
                      </a:lnTo>
                      <a:lnTo>
                        <a:pt x="396" y="396"/>
                      </a:lnTo>
                      <a:lnTo>
                        <a:pt x="390" y="384"/>
                      </a:lnTo>
                      <a:lnTo>
                        <a:pt x="390" y="372"/>
                      </a:lnTo>
                      <a:lnTo>
                        <a:pt x="384" y="354"/>
                      </a:lnTo>
                      <a:lnTo>
                        <a:pt x="378" y="342"/>
                      </a:lnTo>
                      <a:lnTo>
                        <a:pt x="378" y="318"/>
                      </a:lnTo>
                      <a:lnTo>
                        <a:pt x="384" y="312"/>
                      </a:lnTo>
                      <a:lnTo>
                        <a:pt x="390" y="300"/>
                      </a:lnTo>
                      <a:lnTo>
                        <a:pt x="408" y="282"/>
                      </a:lnTo>
                      <a:lnTo>
                        <a:pt x="408" y="270"/>
                      </a:lnTo>
                      <a:lnTo>
                        <a:pt x="414" y="258"/>
                      </a:lnTo>
                      <a:lnTo>
                        <a:pt x="414" y="240"/>
                      </a:lnTo>
                      <a:lnTo>
                        <a:pt x="420" y="228"/>
                      </a:lnTo>
                      <a:lnTo>
                        <a:pt x="426" y="222"/>
                      </a:lnTo>
                      <a:lnTo>
                        <a:pt x="438" y="198"/>
                      </a:lnTo>
                      <a:lnTo>
                        <a:pt x="438" y="186"/>
                      </a:lnTo>
                      <a:lnTo>
                        <a:pt x="432" y="174"/>
                      </a:lnTo>
                      <a:lnTo>
                        <a:pt x="432" y="162"/>
                      </a:lnTo>
                      <a:lnTo>
                        <a:pt x="426" y="150"/>
                      </a:lnTo>
                      <a:lnTo>
                        <a:pt x="426" y="138"/>
                      </a:lnTo>
                      <a:lnTo>
                        <a:pt x="420" y="132"/>
                      </a:lnTo>
                      <a:lnTo>
                        <a:pt x="420" y="126"/>
                      </a:lnTo>
                      <a:lnTo>
                        <a:pt x="432" y="126"/>
                      </a:lnTo>
                      <a:lnTo>
                        <a:pt x="426" y="96"/>
                      </a:lnTo>
                      <a:lnTo>
                        <a:pt x="408" y="102"/>
                      </a:lnTo>
                      <a:lnTo>
                        <a:pt x="408" y="90"/>
                      </a:lnTo>
                      <a:lnTo>
                        <a:pt x="390" y="72"/>
                      </a:lnTo>
                      <a:lnTo>
                        <a:pt x="372" y="66"/>
                      </a:lnTo>
                      <a:lnTo>
                        <a:pt x="342" y="66"/>
                      </a:lnTo>
                      <a:lnTo>
                        <a:pt x="318" y="78"/>
                      </a:lnTo>
                      <a:lnTo>
                        <a:pt x="318" y="84"/>
                      </a:lnTo>
                      <a:lnTo>
                        <a:pt x="312" y="90"/>
                      </a:lnTo>
                      <a:lnTo>
                        <a:pt x="300" y="90"/>
                      </a:lnTo>
                      <a:lnTo>
                        <a:pt x="294" y="84"/>
                      </a:lnTo>
                      <a:lnTo>
                        <a:pt x="282" y="84"/>
                      </a:lnTo>
                      <a:lnTo>
                        <a:pt x="276" y="78"/>
                      </a:lnTo>
                      <a:lnTo>
                        <a:pt x="264" y="72"/>
                      </a:lnTo>
                      <a:lnTo>
                        <a:pt x="258" y="60"/>
                      </a:lnTo>
                      <a:lnTo>
                        <a:pt x="258" y="48"/>
                      </a:lnTo>
                      <a:lnTo>
                        <a:pt x="252" y="42"/>
                      </a:lnTo>
                      <a:lnTo>
                        <a:pt x="252" y="36"/>
                      </a:lnTo>
                      <a:lnTo>
                        <a:pt x="228" y="42"/>
                      </a:lnTo>
                      <a:lnTo>
                        <a:pt x="228" y="18"/>
                      </a:lnTo>
                      <a:lnTo>
                        <a:pt x="216" y="18"/>
                      </a:lnTo>
                      <a:lnTo>
                        <a:pt x="210" y="24"/>
                      </a:lnTo>
                      <a:lnTo>
                        <a:pt x="204" y="36"/>
                      </a:lnTo>
                      <a:lnTo>
                        <a:pt x="198" y="42"/>
                      </a:lnTo>
                      <a:lnTo>
                        <a:pt x="174" y="36"/>
                      </a:lnTo>
                      <a:lnTo>
                        <a:pt x="174" y="0"/>
                      </a:lnTo>
                      <a:lnTo>
                        <a:pt x="162" y="24"/>
                      </a:lnTo>
                      <a:lnTo>
                        <a:pt x="150" y="6"/>
                      </a:lnTo>
                      <a:lnTo>
                        <a:pt x="144" y="30"/>
                      </a:lnTo>
                      <a:lnTo>
                        <a:pt x="126" y="30"/>
                      </a:lnTo>
                      <a:lnTo>
                        <a:pt x="120" y="48"/>
                      </a:lnTo>
                      <a:lnTo>
                        <a:pt x="102" y="30"/>
                      </a:lnTo>
                      <a:lnTo>
                        <a:pt x="84" y="24"/>
                      </a:lnTo>
                      <a:lnTo>
                        <a:pt x="72" y="24"/>
                      </a:lnTo>
                      <a:lnTo>
                        <a:pt x="66" y="30"/>
                      </a:lnTo>
                      <a:lnTo>
                        <a:pt x="66" y="48"/>
                      </a:lnTo>
                      <a:lnTo>
                        <a:pt x="54" y="42"/>
                      </a:lnTo>
                      <a:lnTo>
                        <a:pt x="36" y="66"/>
                      </a:lnTo>
                      <a:lnTo>
                        <a:pt x="42" y="102"/>
                      </a:lnTo>
                      <a:lnTo>
                        <a:pt x="60" y="108"/>
                      </a:lnTo>
                      <a:lnTo>
                        <a:pt x="48" y="126"/>
                      </a:lnTo>
                      <a:lnTo>
                        <a:pt x="66" y="132"/>
                      </a:lnTo>
                      <a:lnTo>
                        <a:pt x="60" y="138"/>
                      </a:lnTo>
                      <a:lnTo>
                        <a:pt x="54" y="150"/>
                      </a:lnTo>
                      <a:lnTo>
                        <a:pt x="54" y="162"/>
                      </a:lnTo>
                      <a:lnTo>
                        <a:pt x="60" y="162"/>
                      </a:lnTo>
                      <a:lnTo>
                        <a:pt x="72" y="168"/>
                      </a:lnTo>
                      <a:lnTo>
                        <a:pt x="78" y="168"/>
                      </a:lnTo>
                      <a:lnTo>
                        <a:pt x="78" y="180"/>
                      </a:lnTo>
                      <a:lnTo>
                        <a:pt x="72" y="186"/>
                      </a:lnTo>
                      <a:lnTo>
                        <a:pt x="72" y="192"/>
                      </a:lnTo>
                      <a:lnTo>
                        <a:pt x="66" y="186"/>
                      </a:lnTo>
                      <a:lnTo>
                        <a:pt x="54" y="186"/>
                      </a:lnTo>
                      <a:lnTo>
                        <a:pt x="48" y="180"/>
                      </a:lnTo>
                      <a:lnTo>
                        <a:pt x="30" y="180"/>
                      </a:lnTo>
                      <a:lnTo>
                        <a:pt x="30" y="192"/>
                      </a:lnTo>
                      <a:lnTo>
                        <a:pt x="36" y="204"/>
                      </a:lnTo>
                      <a:lnTo>
                        <a:pt x="48" y="210"/>
                      </a:lnTo>
                      <a:lnTo>
                        <a:pt x="54" y="222"/>
                      </a:lnTo>
                      <a:lnTo>
                        <a:pt x="36" y="222"/>
                      </a:lnTo>
                      <a:lnTo>
                        <a:pt x="36" y="228"/>
                      </a:lnTo>
                      <a:lnTo>
                        <a:pt x="42" y="234"/>
                      </a:lnTo>
                      <a:lnTo>
                        <a:pt x="42" y="252"/>
                      </a:lnTo>
                      <a:lnTo>
                        <a:pt x="36" y="258"/>
                      </a:lnTo>
                      <a:lnTo>
                        <a:pt x="30" y="258"/>
                      </a:lnTo>
                      <a:lnTo>
                        <a:pt x="18" y="252"/>
                      </a:lnTo>
                      <a:lnTo>
                        <a:pt x="12" y="246"/>
                      </a:lnTo>
                      <a:lnTo>
                        <a:pt x="6" y="246"/>
                      </a:lnTo>
                      <a:lnTo>
                        <a:pt x="24" y="282"/>
                      </a:lnTo>
                      <a:lnTo>
                        <a:pt x="24" y="306"/>
                      </a:lnTo>
                      <a:lnTo>
                        <a:pt x="18" y="324"/>
                      </a:lnTo>
                      <a:lnTo>
                        <a:pt x="6" y="330"/>
                      </a:lnTo>
                      <a:lnTo>
                        <a:pt x="0" y="342"/>
                      </a:lnTo>
                      <a:lnTo>
                        <a:pt x="6" y="348"/>
                      </a:lnTo>
                      <a:lnTo>
                        <a:pt x="24" y="348"/>
                      </a:lnTo>
                      <a:lnTo>
                        <a:pt x="24" y="360"/>
                      </a:lnTo>
                      <a:lnTo>
                        <a:pt x="60" y="354"/>
                      </a:lnTo>
                      <a:lnTo>
                        <a:pt x="60" y="384"/>
                      </a:lnTo>
                      <a:lnTo>
                        <a:pt x="90" y="414"/>
                      </a:lnTo>
                      <a:lnTo>
                        <a:pt x="90" y="438"/>
                      </a:lnTo>
                      <a:lnTo>
                        <a:pt x="84" y="450"/>
                      </a:lnTo>
                      <a:lnTo>
                        <a:pt x="84" y="462"/>
                      </a:lnTo>
                      <a:lnTo>
                        <a:pt x="78" y="468"/>
                      </a:lnTo>
                      <a:lnTo>
                        <a:pt x="78" y="516"/>
                      </a:lnTo>
                      <a:lnTo>
                        <a:pt x="90" y="516"/>
                      </a:lnTo>
                      <a:lnTo>
                        <a:pt x="96" y="510"/>
                      </a:lnTo>
                      <a:lnTo>
                        <a:pt x="102" y="498"/>
                      </a:lnTo>
                      <a:lnTo>
                        <a:pt x="114" y="498"/>
                      </a:lnTo>
                      <a:lnTo>
                        <a:pt x="126" y="486"/>
                      </a:lnTo>
                      <a:lnTo>
                        <a:pt x="138" y="480"/>
                      </a:lnTo>
                      <a:lnTo>
                        <a:pt x="198" y="456"/>
                      </a:lnTo>
                      <a:lnTo>
                        <a:pt x="228" y="450"/>
                      </a:lnTo>
                      <a:lnTo>
                        <a:pt x="264" y="450"/>
                      </a:lnTo>
                      <a:lnTo>
                        <a:pt x="270" y="444"/>
                      </a:lnTo>
                      <a:lnTo>
                        <a:pt x="282" y="444"/>
                      </a:lnTo>
                      <a:lnTo>
                        <a:pt x="294" y="438"/>
                      </a:lnTo>
                      <a:lnTo>
                        <a:pt x="330" y="438"/>
                      </a:lnTo>
                      <a:lnTo>
                        <a:pt x="336" y="444"/>
                      </a:lnTo>
                      <a:lnTo>
                        <a:pt x="342" y="444"/>
                      </a:lnTo>
                      <a:lnTo>
                        <a:pt x="348" y="450"/>
                      </a:lnTo>
                      <a:lnTo>
                        <a:pt x="366" y="450"/>
                      </a:lnTo>
                      <a:lnTo>
                        <a:pt x="378" y="438"/>
                      </a:lnTo>
                      <a:lnTo>
                        <a:pt x="384" y="438"/>
                      </a:lnTo>
                      <a:lnTo>
                        <a:pt x="384" y="444"/>
                      </a:lnTo>
                      <a:lnTo>
                        <a:pt x="396" y="456"/>
                      </a:lnTo>
                      <a:lnTo>
                        <a:pt x="408" y="462"/>
                      </a:lnTo>
                      <a:lnTo>
                        <a:pt x="420" y="462"/>
                      </a:lnTo>
                      <a:lnTo>
                        <a:pt x="426" y="468"/>
                      </a:lnTo>
                      <a:lnTo>
                        <a:pt x="426" y="414"/>
                      </a:lnTo>
                      <a:lnTo>
                        <a:pt x="402" y="40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0" name="USA (Alaska)">
                  <a:extLst>
                    <a:ext uri="{FF2B5EF4-FFF2-40B4-BE49-F238E27FC236}">
                      <a16:creationId xmlns:a16="http://schemas.microsoft.com/office/drawing/2014/main" id="{188769F4-16E3-45BB-8D75-68E6EA918347}"/>
                    </a:ext>
                  </a:extLst>
                </p:cNvPr>
                <p:cNvSpPr>
                  <a:spLocks noEditPoints="1"/>
                </p:cNvSpPr>
                <p:nvPr/>
              </p:nvSpPr>
              <p:spPr bwMode="gray">
                <a:xfrm>
                  <a:off x="423667" y="1282243"/>
                  <a:ext cx="1158785" cy="501260"/>
                </a:xfrm>
                <a:custGeom>
                  <a:avLst/>
                  <a:gdLst>
                    <a:gd name="T0" fmla="*/ 2147483647 w 3072"/>
                    <a:gd name="T1" fmla="*/ 2147483647 h 1332"/>
                    <a:gd name="T2" fmla="*/ 2147483647 w 3072"/>
                    <a:gd name="T3" fmla="*/ 2147483647 h 1332"/>
                    <a:gd name="T4" fmla="*/ 2147483647 w 3072"/>
                    <a:gd name="T5" fmla="*/ 2147483647 h 1332"/>
                    <a:gd name="T6" fmla="*/ 2147483647 w 3072"/>
                    <a:gd name="T7" fmla="*/ 2147483647 h 1332"/>
                    <a:gd name="T8" fmla="*/ 2147483647 w 3072"/>
                    <a:gd name="T9" fmla="*/ 2147483647 h 1332"/>
                    <a:gd name="T10" fmla="*/ 2147483647 w 3072"/>
                    <a:gd name="T11" fmla="*/ 2147483647 h 1332"/>
                    <a:gd name="T12" fmla="*/ 2147483647 w 3072"/>
                    <a:gd name="T13" fmla="*/ 2147483647 h 1332"/>
                    <a:gd name="T14" fmla="*/ 2147483647 w 3072"/>
                    <a:gd name="T15" fmla="*/ 2147483647 h 1332"/>
                    <a:gd name="T16" fmla="*/ 2147483647 w 3072"/>
                    <a:gd name="T17" fmla="*/ 2147483647 h 1332"/>
                    <a:gd name="T18" fmla="*/ 2147483647 w 3072"/>
                    <a:gd name="T19" fmla="*/ 2147483647 h 1332"/>
                    <a:gd name="T20" fmla="*/ 2147483647 w 3072"/>
                    <a:gd name="T21" fmla="*/ 2147483647 h 1332"/>
                    <a:gd name="T22" fmla="*/ 2147483647 w 3072"/>
                    <a:gd name="T23" fmla="*/ 0 h 1332"/>
                    <a:gd name="T24" fmla="*/ 2147483647 w 3072"/>
                    <a:gd name="T25" fmla="*/ 2147483647 h 1332"/>
                    <a:gd name="T26" fmla="*/ 2147483647 w 3072"/>
                    <a:gd name="T27" fmla="*/ 2147483647 h 1332"/>
                    <a:gd name="T28" fmla="*/ 2147483647 w 3072"/>
                    <a:gd name="T29" fmla="*/ 2147483647 h 1332"/>
                    <a:gd name="T30" fmla="*/ 2147483647 w 3072"/>
                    <a:gd name="T31" fmla="*/ 2147483647 h 1332"/>
                    <a:gd name="T32" fmla="*/ 2147483647 w 3072"/>
                    <a:gd name="T33" fmla="*/ 2147483647 h 1332"/>
                    <a:gd name="T34" fmla="*/ 2147483647 w 3072"/>
                    <a:gd name="T35" fmla="*/ 2147483647 h 1332"/>
                    <a:gd name="T36" fmla="*/ 2147483647 w 3072"/>
                    <a:gd name="T37" fmla="*/ 2147483647 h 1332"/>
                    <a:gd name="T38" fmla="*/ 2147483647 w 3072"/>
                    <a:gd name="T39" fmla="*/ 2147483647 h 1332"/>
                    <a:gd name="T40" fmla="*/ 2147483647 w 3072"/>
                    <a:gd name="T41" fmla="*/ 2147483647 h 1332"/>
                    <a:gd name="T42" fmla="*/ 2147483647 w 3072"/>
                    <a:gd name="T43" fmla="*/ 2147483647 h 1332"/>
                    <a:gd name="T44" fmla="*/ 2147483647 w 3072"/>
                    <a:gd name="T45" fmla="*/ 2147483647 h 1332"/>
                    <a:gd name="T46" fmla="*/ 2147483647 w 3072"/>
                    <a:gd name="T47" fmla="*/ 2147483647 h 1332"/>
                    <a:gd name="T48" fmla="*/ 2147483647 w 3072"/>
                    <a:gd name="T49" fmla="*/ 2147483647 h 1332"/>
                    <a:gd name="T50" fmla="*/ 2147483647 w 3072"/>
                    <a:gd name="T51" fmla="*/ 2147483647 h 1332"/>
                    <a:gd name="T52" fmla="*/ 2147483647 w 3072"/>
                    <a:gd name="T53" fmla="*/ 2147483647 h 1332"/>
                    <a:gd name="T54" fmla="*/ 2147483647 w 3072"/>
                    <a:gd name="T55" fmla="*/ 2147483647 h 1332"/>
                    <a:gd name="T56" fmla="*/ 2147483647 w 3072"/>
                    <a:gd name="T57" fmla="*/ 2147483647 h 1332"/>
                    <a:gd name="T58" fmla="*/ 2147483647 w 3072"/>
                    <a:gd name="T59" fmla="*/ 2147483647 h 1332"/>
                    <a:gd name="T60" fmla="*/ 2147483647 w 3072"/>
                    <a:gd name="T61" fmla="*/ 2147483647 h 1332"/>
                    <a:gd name="T62" fmla="*/ 2147483647 w 3072"/>
                    <a:gd name="T63" fmla="*/ 2147483647 h 1332"/>
                    <a:gd name="T64" fmla="*/ 2147483647 w 3072"/>
                    <a:gd name="T65" fmla="*/ 2147483647 h 1332"/>
                    <a:gd name="T66" fmla="*/ 2147483647 w 3072"/>
                    <a:gd name="T67" fmla="*/ 2147483647 h 1332"/>
                    <a:gd name="T68" fmla="*/ 2147483647 w 3072"/>
                    <a:gd name="T69" fmla="*/ 2147483647 h 1332"/>
                    <a:gd name="T70" fmla="*/ 2147483647 w 3072"/>
                    <a:gd name="T71" fmla="*/ 2147483647 h 1332"/>
                    <a:gd name="T72" fmla="*/ 2147483647 w 3072"/>
                    <a:gd name="T73" fmla="*/ 2147483647 h 1332"/>
                    <a:gd name="T74" fmla="*/ 2147483647 w 3072"/>
                    <a:gd name="T75" fmla="*/ 2147483647 h 1332"/>
                    <a:gd name="T76" fmla="*/ 2147483647 w 3072"/>
                    <a:gd name="T77" fmla="*/ 2147483647 h 1332"/>
                    <a:gd name="T78" fmla="*/ 2147483647 w 3072"/>
                    <a:gd name="T79" fmla="*/ 2147483647 h 1332"/>
                    <a:gd name="T80" fmla="*/ 2147483647 w 3072"/>
                    <a:gd name="T81" fmla="*/ 2147483647 h 1332"/>
                    <a:gd name="T82" fmla="*/ 2147483647 w 3072"/>
                    <a:gd name="T83" fmla="*/ 2147483647 h 1332"/>
                    <a:gd name="T84" fmla="*/ 2147483647 w 3072"/>
                    <a:gd name="T85" fmla="*/ 2147483647 h 1332"/>
                    <a:gd name="T86" fmla="*/ 2147483647 w 3072"/>
                    <a:gd name="T87" fmla="*/ 2147483647 h 1332"/>
                    <a:gd name="T88" fmla="*/ 2147483647 w 3072"/>
                    <a:gd name="T89" fmla="*/ 2147483647 h 1332"/>
                    <a:gd name="T90" fmla="*/ 2147483647 w 3072"/>
                    <a:gd name="T91" fmla="*/ 2147483647 h 1332"/>
                    <a:gd name="T92" fmla="*/ 2147483647 w 3072"/>
                    <a:gd name="T93" fmla="*/ 2147483647 h 1332"/>
                    <a:gd name="T94" fmla="*/ 2147483647 w 3072"/>
                    <a:gd name="T95" fmla="*/ 2147483647 h 1332"/>
                    <a:gd name="T96" fmla="*/ 2147483647 w 3072"/>
                    <a:gd name="T97" fmla="*/ 2147483647 h 1332"/>
                    <a:gd name="T98" fmla="*/ 2147483647 w 3072"/>
                    <a:gd name="T99" fmla="*/ 2147483647 h 1332"/>
                    <a:gd name="T100" fmla="*/ 2147483647 w 3072"/>
                    <a:gd name="T101" fmla="*/ 2147483647 h 1332"/>
                    <a:gd name="T102" fmla="*/ 2147483647 w 3072"/>
                    <a:gd name="T103" fmla="*/ 2147483647 h 1332"/>
                    <a:gd name="T104" fmla="*/ 2147483647 w 3072"/>
                    <a:gd name="T105" fmla="*/ 2147483647 h 1332"/>
                    <a:gd name="T106" fmla="*/ 2147483647 w 3072"/>
                    <a:gd name="T107" fmla="*/ 2147483647 h 1332"/>
                    <a:gd name="T108" fmla="*/ 2147483647 w 3072"/>
                    <a:gd name="T109" fmla="*/ 2147483647 h 1332"/>
                    <a:gd name="T110" fmla="*/ 2147483647 w 3072"/>
                    <a:gd name="T111" fmla="*/ 2147483647 h 1332"/>
                    <a:gd name="T112" fmla="*/ 2147483647 w 3072"/>
                    <a:gd name="T113" fmla="*/ 2147483647 h 1332"/>
                    <a:gd name="T114" fmla="*/ 2147483647 w 3072"/>
                    <a:gd name="T115" fmla="*/ 2147483647 h 1332"/>
                    <a:gd name="T116" fmla="*/ 2147483647 w 3072"/>
                    <a:gd name="T117" fmla="*/ 2147483647 h 1332"/>
                    <a:gd name="T118" fmla="*/ 2147483647 w 3072"/>
                    <a:gd name="T119" fmla="*/ 2147483647 h 1332"/>
                    <a:gd name="T120" fmla="*/ 2147483647 w 3072"/>
                    <a:gd name="T121" fmla="*/ 2147483647 h 13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2"/>
                    <a:gd name="T184" fmla="*/ 0 h 1332"/>
                    <a:gd name="T185" fmla="*/ 3072 w 3072"/>
                    <a:gd name="T186" fmla="*/ 1332 h 13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2" h="1332">
                      <a:moveTo>
                        <a:pt x="2454" y="930"/>
                      </a:moveTo>
                      <a:lnTo>
                        <a:pt x="2418" y="966"/>
                      </a:lnTo>
                      <a:lnTo>
                        <a:pt x="2400" y="1002"/>
                      </a:lnTo>
                      <a:lnTo>
                        <a:pt x="2412" y="1002"/>
                      </a:lnTo>
                      <a:lnTo>
                        <a:pt x="2448" y="984"/>
                      </a:lnTo>
                      <a:lnTo>
                        <a:pt x="2460" y="972"/>
                      </a:lnTo>
                      <a:lnTo>
                        <a:pt x="2460" y="954"/>
                      </a:lnTo>
                      <a:lnTo>
                        <a:pt x="2472" y="942"/>
                      </a:lnTo>
                      <a:lnTo>
                        <a:pt x="2460" y="930"/>
                      </a:lnTo>
                      <a:lnTo>
                        <a:pt x="2454" y="930"/>
                      </a:lnTo>
                      <a:close/>
                      <a:moveTo>
                        <a:pt x="2400" y="930"/>
                      </a:moveTo>
                      <a:lnTo>
                        <a:pt x="2388" y="930"/>
                      </a:lnTo>
                      <a:lnTo>
                        <a:pt x="2376" y="936"/>
                      </a:lnTo>
                      <a:lnTo>
                        <a:pt x="2364" y="948"/>
                      </a:lnTo>
                      <a:lnTo>
                        <a:pt x="2364" y="954"/>
                      </a:lnTo>
                      <a:lnTo>
                        <a:pt x="2370" y="966"/>
                      </a:lnTo>
                      <a:lnTo>
                        <a:pt x="2376" y="972"/>
                      </a:lnTo>
                      <a:lnTo>
                        <a:pt x="2406" y="972"/>
                      </a:lnTo>
                      <a:lnTo>
                        <a:pt x="2412" y="960"/>
                      </a:lnTo>
                      <a:lnTo>
                        <a:pt x="2418" y="954"/>
                      </a:lnTo>
                      <a:lnTo>
                        <a:pt x="2418" y="942"/>
                      </a:lnTo>
                      <a:lnTo>
                        <a:pt x="2406" y="936"/>
                      </a:lnTo>
                      <a:lnTo>
                        <a:pt x="2400" y="930"/>
                      </a:lnTo>
                      <a:close/>
                      <a:moveTo>
                        <a:pt x="2316" y="1188"/>
                      </a:moveTo>
                      <a:lnTo>
                        <a:pt x="2328" y="1188"/>
                      </a:lnTo>
                      <a:lnTo>
                        <a:pt x="2340" y="1152"/>
                      </a:lnTo>
                      <a:lnTo>
                        <a:pt x="2322" y="1158"/>
                      </a:lnTo>
                      <a:lnTo>
                        <a:pt x="2316" y="1188"/>
                      </a:lnTo>
                      <a:close/>
                      <a:moveTo>
                        <a:pt x="2388" y="1074"/>
                      </a:moveTo>
                      <a:lnTo>
                        <a:pt x="2370" y="1086"/>
                      </a:lnTo>
                      <a:lnTo>
                        <a:pt x="2382" y="1098"/>
                      </a:lnTo>
                      <a:lnTo>
                        <a:pt x="2388" y="1098"/>
                      </a:lnTo>
                      <a:lnTo>
                        <a:pt x="2382" y="1104"/>
                      </a:lnTo>
                      <a:lnTo>
                        <a:pt x="2376" y="1104"/>
                      </a:lnTo>
                      <a:lnTo>
                        <a:pt x="2364" y="1116"/>
                      </a:lnTo>
                      <a:lnTo>
                        <a:pt x="2358" y="1116"/>
                      </a:lnTo>
                      <a:lnTo>
                        <a:pt x="2352" y="1122"/>
                      </a:lnTo>
                      <a:lnTo>
                        <a:pt x="2352" y="1152"/>
                      </a:lnTo>
                      <a:lnTo>
                        <a:pt x="2358" y="1164"/>
                      </a:lnTo>
                      <a:lnTo>
                        <a:pt x="2358" y="1188"/>
                      </a:lnTo>
                      <a:lnTo>
                        <a:pt x="2370" y="1182"/>
                      </a:lnTo>
                      <a:lnTo>
                        <a:pt x="2376" y="1170"/>
                      </a:lnTo>
                      <a:lnTo>
                        <a:pt x="2388" y="1164"/>
                      </a:lnTo>
                      <a:lnTo>
                        <a:pt x="2394" y="1158"/>
                      </a:lnTo>
                      <a:lnTo>
                        <a:pt x="2394" y="1146"/>
                      </a:lnTo>
                      <a:lnTo>
                        <a:pt x="2382" y="1134"/>
                      </a:lnTo>
                      <a:lnTo>
                        <a:pt x="2394" y="1134"/>
                      </a:lnTo>
                      <a:lnTo>
                        <a:pt x="2412" y="1116"/>
                      </a:lnTo>
                      <a:lnTo>
                        <a:pt x="2412" y="1098"/>
                      </a:lnTo>
                      <a:lnTo>
                        <a:pt x="2388" y="1074"/>
                      </a:lnTo>
                      <a:close/>
                      <a:moveTo>
                        <a:pt x="2562" y="1080"/>
                      </a:moveTo>
                      <a:lnTo>
                        <a:pt x="2550" y="1080"/>
                      </a:lnTo>
                      <a:lnTo>
                        <a:pt x="2550" y="1074"/>
                      </a:lnTo>
                      <a:lnTo>
                        <a:pt x="2544" y="1068"/>
                      </a:lnTo>
                      <a:lnTo>
                        <a:pt x="2538" y="1068"/>
                      </a:lnTo>
                      <a:lnTo>
                        <a:pt x="2532" y="1062"/>
                      </a:lnTo>
                      <a:lnTo>
                        <a:pt x="2520" y="1056"/>
                      </a:lnTo>
                      <a:lnTo>
                        <a:pt x="2514" y="1050"/>
                      </a:lnTo>
                      <a:lnTo>
                        <a:pt x="2514" y="1044"/>
                      </a:lnTo>
                      <a:lnTo>
                        <a:pt x="2520" y="1032"/>
                      </a:lnTo>
                      <a:lnTo>
                        <a:pt x="2520" y="1020"/>
                      </a:lnTo>
                      <a:lnTo>
                        <a:pt x="2526" y="1008"/>
                      </a:lnTo>
                      <a:lnTo>
                        <a:pt x="2532" y="1002"/>
                      </a:lnTo>
                      <a:lnTo>
                        <a:pt x="2532" y="960"/>
                      </a:lnTo>
                      <a:lnTo>
                        <a:pt x="2550" y="924"/>
                      </a:lnTo>
                      <a:lnTo>
                        <a:pt x="2550" y="906"/>
                      </a:lnTo>
                      <a:lnTo>
                        <a:pt x="2544" y="894"/>
                      </a:lnTo>
                      <a:lnTo>
                        <a:pt x="2526" y="876"/>
                      </a:lnTo>
                      <a:lnTo>
                        <a:pt x="2538" y="864"/>
                      </a:lnTo>
                      <a:lnTo>
                        <a:pt x="2538" y="834"/>
                      </a:lnTo>
                      <a:lnTo>
                        <a:pt x="2544" y="828"/>
                      </a:lnTo>
                      <a:lnTo>
                        <a:pt x="2550" y="828"/>
                      </a:lnTo>
                      <a:lnTo>
                        <a:pt x="2556" y="822"/>
                      </a:lnTo>
                      <a:lnTo>
                        <a:pt x="2550" y="816"/>
                      </a:lnTo>
                      <a:lnTo>
                        <a:pt x="2532" y="810"/>
                      </a:lnTo>
                      <a:lnTo>
                        <a:pt x="2520" y="810"/>
                      </a:lnTo>
                      <a:lnTo>
                        <a:pt x="2502" y="816"/>
                      </a:lnTo>
                      <a:lnTo>
                        <a:pt x="2490" y="816"/>
                      </a:lnTo>
                      <a:lnTo>
                        <a:pt x="2484" y="822"/>
                      </a:lnTo>
                      <a:lnTo>
                        <a:pt x="2478" y="822"/>
                      </a:lnTo>
                      <a:lnTo>
                        <a:pt x="2478" y="834"/>
                      </a:lnTo>
                      <a:lnTo>
                        <a:pt x="2460" y="834"/>
                      </a:lnTo>
                      <a:lnTo>
                        <a:pt x="2454" y="840"/>
                      </a:lnTo>
                      <a:lnTo>
                        <a:pt x="2442" y="846"/>
                      </a:lnTo>
                      <a:lnTo>
                        <a:pt x="2430" y="846"/>
                      </a:lnTo>
                      <a:lnTo>
                        <a:pt x="2418" y="852"/>
                      </a:lnTo>
                      <a:lnTo>
                        <a:pt x="2406" y="852"/>
                      </a:lnTo>
                      <a:lnTo>
                        <a:pt x="2400" y="858"/>
                      </a:lnTo>
                      <a:lnTo>
                        <a:pt x="2394" y="858"/>
                      </a:lnTo>
                      <a:lnTo>
                        <a:pt x="2388" y="864"/>
                      </a:lnTo>
                      <a:lnTo>
                        <a:pt x="2376" y="870"/>
                      </a:lnTo>
                      <a:lnTo>
                        <a:pt x="2370" y="876"/>
                      </a:lnTo>
                      <a:lnTo>
                        <a:pt x="2364" y="876"/>
                      </a:lnTo>
                      <a:lnTo>
                        <a:pt x="2364" y="864"/>
                      </a:lnTo>
                      <a:lnTo>
                        <a:pt x="2382" y="846"/>
                      </a:lnTo>
                      <a:lnTo>
                        <a:pt x="2376" y="840"/>
                      </a:lnTo>
                      <a:lnTo>
                        <a:pt x="2364" y="834"/>
                      </a:lnTo>
                      <a:lnTo>
                        <a:pt x="2358" y="828"/>
                      </a:lnTo>
                      <a:lnTo>
                        <a:pt x="2358" y="810"/>
                      </a:lnTo>
                      <a:lnTo>
                        <a:pt x="2352" y="798"/>
                      </a:lnTo>
                      <a:lnTo>
                        <a:pt x="2352" y="792"/>
                      </a:lnTo>
                      <a:lnTo>
                        <a:pt x="2376" y="768"/>
                      </a:lnTo>
                      <a:lnTo>
                        <a:pt x="2340" y="768"/>
                      </a:lnTo>
                      <a:lnTo>
                        <a:pt x="2328" y="780"/>
                      </a:lnTo>
                      <a:lnTo>
                        <a:pt x="2274" y="780"/>
                      </a:lnTo>
                      <a:lnTo>
                        <a:pt x="2274" y="768"/>
                      </a:lnTo>
                      <a:lnTo>
                        <a:pt x="2280" y="756"/>
                      </a:lnTo>
                      <a:lnTo>
                        <a:pt x="2292" y="750"/>
                      </a:lnTo>
                      <a:lnTo>
                        <a:pt x="2298" y="744"/>
                      </a:lnTo>
                      <a:lnTo>
                        <a:pt x="3072" y="108"/>
                      </a:lnTo>
                      <a:lnTo>
                        <a:pt x="3054" y="108"/>
                      </a:lnTo>
                      <a:lnTo>
                        <a:pt x="3054" y="102"/>
                      </a:lnTo>
                      <a:lnTo>
                        <a:pt x="3048" y="90"/>
                      </a:lnTo>
                      <a:lnTo>
                        <a:pt x="3036" y="84"/>
                      </a:lnTo>
                      <a:lnTo>
                        <a:pt x="3030" y="78"/>
                      </a:lnTo>
                      <a:lnTo>
                        <a:pt x="3012" y="78"/>
                      </a:lnTo>
                      <a:lnTo>
                        <a:pt x="2988" y="84"/>
                      </a:lnTo>
                      <a:lnTo>
                        <a:pt x="2964" y="84"/>
                      </a:lnTo>
                      <a:lnTo>
                        <a:pt x="2928" y="96"/>
                      </a:lnTo>
                      <a:lnTo>
                        <a:pt x="2916" y="96"/>
                      </a:lnTo>
                      <a:lnTo>
                        <a:pt x="2892" y="84"/>
                      </a:lnTo>
                      <a:lnTo>
                        <a:pt x="2886" y="78"/>
                      </a:lnTo>
                      <a:lnTo>
                        <a:pt x="2874" y="72"/>
                      </a:lnTo>
                      <a:lnTo>
                        <a:pt x="2784" y="72"/>
                      </a:lnTo>
                      <a:lnTo>
                        <a:pt x="2772" y="66"/>
                      </a:lnTo>
                      <a:lnTo>
                        <a:pt x="2766" y="60"/>
                      </a:lnTo>
                      <a:lnTo>
                        <a:pt x="2748" y="60"/>
                      </a:lnTo>
                      <a:lnTo>
                        <a:pt x="2736" y="54"/>
                      </a:lnTo>
                      <a:lnTo>
                        <a:pt x="2598" y="54"/>
                      </a:lnTo>
                      <a:lnTo>
                        <a:pt x="2598" y="42"/>
                      </a:lnTo>
                      <a:lnTo>
                        <a:pt x="2604" y="36"/>
                      </a:lnTo>
                      <a:lnTo>
                        <a:pt x="2592" y="36"/>
                      </a:lnTo>
                      <a:lnTo>
                        <a:pt x="2574" y="30"/>
                      </a:lnTo>
                      <a:lnTo>
                        <a:pt x="2562" y="30"/>
                      </a:lnTo>
                      <a:lnTo>
                        <a:pt x="2550" y="24"/>
                      </a:lnTo>
                      <a:lnTo>
                        <a:pt x="2532" y="24"/>
                      </a:lnTo>
                      <a:lnTo>
                        <a:pt x="2520" y="30"/>
                      </a:lnTo>
                      <a:lnTo>
                        <a:pt x="2496" y="30"/>
                      </a:lnTo>
                      <a:lnTo>
                        <a:pt x="2490" y="36"/>
                      </a:lnTo>
                      <a:lnTo>
                        <a:pt x="2484" y="36"/>
                      </a:lnTo>
                      <a:lnTo>
                        <a:pt x="2514" y="0"/>
                      </a:lnTo>
                      <a:lnTo>
                        <a:pt x="2430" y="36"/>
                      </a:lnTo>
                      <a:lnTo>
                        <a:pt x="2460" y="0"/>
                      </a:lnTo>
                      <a:lnTo>
                        <a:pt x="2430" y="0"/>
                      </a:lnTo>
                      <a:lnTo>
                        <a:pt x="2418" y="6"/>
                      </a:lnTo>
                      <a:lnTo>
                        <a:pt x="2412" y="12"/>
                      </a:lnTo>
                      <a:lnTo>
                        <a:pt x="2358" y="30"/>
                      </a:lnTo>
                      <a:lnTo>
                        <a:pt x="2232" y="30"/>
                      </a:lnTo>
                      <a:lnTo>
                        <a:pt x="2214" y="36"/>
                      </a:lnTo>
                      <a:lnTo>
                        <a:pt x="2208" y="42"/>
                      </a:lnTo>
                      <a:lnTo>
                        <a:pt x="2184" y="54"/>
                      </a:lnTo>
                      <a:lnTo>
                        <a:pt x="2172" y="54"/>
                      </a:lnTo>
                      <a:lnTo>
                        <a:pt x="2166" y="60"/>
                      </a:lnTo>
                      <a:lnTo>
                        <a:pt x="2046" y="60"/>
                      </a:lnTo>
                      <a:lnTo>
                        <a:pt x="2004" y="72"/>
                      </a:lnTo>
                      <a:lnTo>
                        <a:pt x="1956" y="102"/>
                      </a:lnTo>
                      <a:lnTo>
                        <a:pt x="1902" y="132"/>
                      </a:lnTo>
                      <a:lnTo>
                        <a:pt x="1854" y="144"/>
                      </a:lnTo>
                      <a:lnTo>
                        <a:pt x="1758" y="156"/>
                      </a:lnTo>
                      <a:lnTo>
                        <a:pt x="1722" y="162"/>
                      </a:lnTo>
                      <a:lnTo>
                        <a:pt x="1704" y="162"/>
                      </a:lnTo>
                      <a:lnTo>
                        <a:pt x="1698" y="168"/>
                      </a:lnTo>
                      <a:lnTo>
                        <a:pt x="1644" y="186"/>
                      </a:lnTo>
                      <a:lnTo>
                        <a:pt x="1632" y="192"/>
                      </a:lnTo>
                      <a:lnTo>
                        <a:pt x="1620" y="192"/>
                      </a:lnTo>
                      <a:lnTo>
                        <a:pt x="1620" y="198"/>
                      </a:lnTo>
                      <a:lnTo>
                        <a:pt x="1626" y="204"/>
                      </a:lnTo>
                      <a:lnTo>
                        <a:pt x="1638" y="210"/>
                      </a:lnTo>
                      <a:lnTo>
                        <a:pt x="1650" y="222"/>
                      </a:lnTo>
                      <a:lnTo>
                        <a:pt x="1656" y="222"/>
                      </a:lnTo>
                      <a:lnTo>
                        <a:pt x="1662" y="234"/>
                      </a:lnTo>
                      <a:lnTo>
                        <a:pt x="1662" y="240"/>
                      </a:lnTo>
                      <a:lnTo>
                        <a:pt x="1668" y="252"/>
                      </a:lnTo>
                      <a:lnTo>
                        <a:pt x="1668" y="264"/>
                      </a:lnTo>
                      <a:lnTo>
                        <a:pt x="1662" y="264"/>
                      </a:lnTo>
                      <a:lnTo>
                        <a:pt x="1650" y="270"/>
                      </a:lnTo>
                      <a:lnTo>
                        <a:pt x="1644" y="282"/>
                      </a:lnTo>
                      <a:lnTo>
                        <a:pt x="1734" y="282"/>
                      </a:lnTo>
                      <a:lnTo>
                        <a:pt x="1704" y="318"/>
                      </a:lnTo>
                      <a:lnTo>
                        <a:pt x="1770" y="318"/>
                      </a:lnTo>
                      <a:lnTo>
                        <a:pt x="1764" y="336"/>
                      </a:lnTo>
                      <a:lnTo>
                        <a:pt x="1710" y="336"/>
                      </a:lnTo>
                      <a:lnTo>
                        <a:pt x="1698" y="348"/>
                      </a:lnTo>
                      <a:lnTo>
                        <a:pt x="1632" y="348"/>
                      </a:lnTo>
                      <a:lnTo>
                        <a:pt x="1614" y="354"/>
                      </a:lnTo>
                      <a:lnTo>
                        <a:pt x="1560" y="354"/>
                      </a:lnTo>
                      <a:lnTo>
                        <a:pt x="1554" y="348"/>
                      </a:lnTo>
                      <a:lnTo>
                        <a:pt x="1548" y="348"/>
                      </a:lnTo>
                      <a:lnTo>
                        <a:pt x="1554" y="342"/>
                      </a:lnTo>
                      <a:lnTo>
                        <a:pt x="1560" y="342"/>
                      </a:lnTo>
                      <a:lnTo>
                        <a:pt x="1572" y="330"/>
                      </a:lnTo>
                      <a:lnTo>
                        <a:pt x="1566" y="324"/>
                      </a:lnTo>
                      <a:lnTo>
                        <a:pt x="1458" y="324"/>
                      </a:lnTo>
                      <a:lnTo>
                        <a:pt x="1452" y="330"/>
                      </a:lnTo>
                      <a:lnTo>
                        <a:pt x="1452" y="348"/>
                      </a:lnTo>
                      <a:lnTo>
                        <a:pt x="1434" y="348"/>
                      </a:lnTo>
                      <a:lnTo>
                        <a:pt x="1422" y="354"/>
                      </a:lnTo>
                      <a:lnTo>
                        <a:pt x="1404" y="354"/>
                      </a:lnTo>
                      <a:lnTo>
                        <a:pt x="1386" y="360"/>
                      </a:lnTo>
                      <a:lnTo>
                        <a:pt x="1338" y="360"/>
                      </a:lnTo>
                      <a:lnTo>
                        <a:pt x="1308" y="366"/>
                      </a:lnTo>
                      <a:lnTo>
                        <a:pt x="1254" y="384"/>
                      </a:lnTo>
                      <a:lnTo>
                        <a:pt x="1254" y="390"/>
                      </a:lnTo>
                      <a:lnTo>
                        <a:pt x="1272" y="396"/>
                      </a:lnTo>
                      <a:lnTo>
                        <a:pt x="1284" y="402"/>
                      </a:lnTo>
                      <a:lnTo>
                        <a:pt x="1314" y="402"/>
                      </a:lnTo>
                      <a:lnTo>
                        <a:pt x="1272" y="420"/>
                      </a:lnTo>
                      <a:lnTo>
                        <a:pt x="1260" y="462"/>
                      </a:lnTo>
                      <a:lnTo>
                        <a:pt x="1272" y="462"/>
                      </a:lnTo>
                      <a:lnTo>
                        <a:pt x="1290" y="468"/>
                      </a:lnTo>
                      <a:lnTo>
                        <a:pt x="1338" y="468"/>
                      </a:lnTo>
                      <a:lnTo>
                        <a:pt x="1350" y="462"/>
                      </a:lnTo>
                      <a:lnTo>
                        <a:pt x="1362" y="462"/>
                      </a:lnTo>
                      <a:lnTo>
                        <a:pt x="1410" y="474"/>
                      </a:lnTo>
                      <a:lnTo>
                        <a:pt x="1422" y="456"/>
                      </a:lnTo>
                      <a:lnTo>
                        <a:pt x="1434" y="474"/>
                      </a:lnTo>
                      <a:lnTo>
                        <a:pt x="1446" y="468"/>
                      </a:lnTo>
                      <a:lnTo>
                        <a:pt x="1452" y="462"/>
                      </a:lnTo>
                      <a:lnTo>
                        <a:pt x="1476" y="450"/>
                      </a:lnTo>
                      <a:lnTo>
                        <a:pt x="1482" y="444"/>
                      </a:lnTo>
                      <a:lnTo>
                        <a:pt x="1494" y="444"/>
                      </a:lnTo>
                      <a:lnTo>
                        <a:pt x="1506" y="450"/>
                      </a:lnTo>
                      <a:lnTo>
                        <a:pt x="1524" y="450"/>
                      </a:lnTo>
                      <a:lnTo>
                        <a:pt x="1536" y="444"/>
                      </a:lnTo>
                      <a:lnTo>
                        <a:pt x="1542" y="438"/>
                      </a:lnTo>
                      <a:lnTo>
                        <a:pt x="1554" y="432"/>
                      </a:lnTo>
                      <a:lnTo>
                        <a:pt x="1560" y="432"/>
                      </a:lnTo>
                      <a:lnTo>
                        <a:pt x="1566" y="426"/>
                      </a:lnTo>
                      <a:lnTo>
                        <a:pt x="1566" y="450"/>
                      </a:lnTo>
                      <a:lnTo>
                        <a:pt x="1560" y="462"/>
                      </a:lnTo>
                      <a:lnTo>
                        <a:pt x="1554" y="468"/>
                      </a:lnTo>
                      <a:lnTo>
                        <a:pt x="1500" y="468"/>
                      </a:lnTo>
                      <a:lnTo>
                        <a:pt x="1506" y="498"/>
                      </a:lnTo>
                      <a:lnTo>
                        <a:pt x="1494" y="504"/>
                      </a:lnTo>
                      <a:lnTo>
                        <a:pt x="1488" y="516"/>
                      </a:lnTo>
                      <a:lnTo>
                        <a:pt x="1476" y="522"/>
                      </a:lnTo>
                      <a:lnTo>
                        <a:pt x="1464" y="534"/>
                      </a:lnTo>
                      <a:lnTo>
                        <a:pt x="1446" y="540"/>
                      </a:lnTo>
                      <a:lnTo>
                        <a:pt x="1380" y="540"/>
                      </a:lnTo>
                      <a:lnTo>
                        <a:pt x="1362" y="522"/>
                      </a:lnTo>
                      <a:lnTo>
                        <a:pt x="1344" y="534"/>
                      </a:lnTo>
                      <a:lnTo>
                        <a:pt x="1344" y="546"/>
                      </a:lnTo>
                      <a:lnTo>
                        <a:pt x="1338" y="546"/>
                      </a:lnTo>
                      <a:lnTo>
                        <a:pt x="1332" y="552"/>
                      </a:lnTo>
                      <a:lnTo>
                        <a:pt x="1320" y="558"/>
                      </a:lnTo>
                      <a:lnTo>
                        <a:pt x="1302" y="564"/>
                      </a:lnTo>
                      <a:lnTo>
                        <a:pt x="1290" y="570"/>
                      </a:lnTo>
                      <a:lnTo>
                        <a:pt x="1266" y="570"/>
                      </a:lnTo>
                      <a:lnTo>
                        <a:pt x="1242" y="558"/>
                      </a:lnTo>
                      <a:lnTo>
                        <a:pt x="1236" y="558"/>
                      </a:lnTo>
                      <a:lnTo>
                        <a:pt x="1140" y="606"/>
                      </a:lnTo>
                      <a:lnTo>
                        <a:pt x="1122" y="624"/>
                      </a:lnTo>
                      <a:lnTo>
                        <a:pt x="1116" y="606"/>
                      </a:lnTo>
                      <a:lnTo>
                        <a:pt x="1080" y="624"/>
                      </a:lnTo>
                      <a:lnTo>
                        <a:pt x="1068" y="624"/>
                      </a:lnTo>
                      <a:lnTo>
                        <a:pt x="1044" y="636"/>
                      </a:lnTo>
                      <a:lnTo>
                        <a:pt x="1020" y="660"/>
                      </a:lnTo>
                      <a:lnTo>
                        <a:pt x="990" y="648"/>
                      </a:lnTo>
                      <a:lnTo>
                        <a:pt x="990" y="672"/>
                      </a:lnTo>
                      <a:lnTo>
                        <a:pt x="984" y="666"/>
                      </a:lnTo>
                      <a:lnTo>
                        <a:pt x="972" y="666"/>
                      </a:lnTo>
                      <a:lnTo>
                        <a:pt x="966" y="672"/>
                      </a:lnTo>
                      <a:lnTo>
                        <a:pt x="966" y="690"/>
                      </a:lnTo>
                      <a:lnTo>
                        <a:pt x="954" y="708"/>
                      </a:lnTo>
                      <a:lnTo>
                        <a:pt x="1014" y="684"/>
                      </a:lnTo>
                      <a:lnTo>
                        <a:pt x="990" y="702"/>
                      </a:lnTo>
                      <a:lnTo>
                        <a:pt x="990" y="714"/>
                      </a:lnTo>
                      <a:lnTo>
                        <a:pt x="972" y="726"/>
                      </a:lnTo>
                      <a:lnTo>
                        <a:pt x="1026" y="726"/>
                      </a:lnTo>
                      <a:lnTo>
                        <a:pt x="1032" y="732"/>
                      </a:lnTo>
                      <a:lnTo>
                        <a:pt x="1032" y="738"/>
                      </a:lnTo>
                      <a:lnTo>
                        <a:pt x="1020" y="744"/>
                      </a:lnTo>
                      <a:lnTo>
                        <a:pt x="984" y="744"/>
                      </a:lnTo>
                      <a:lnTo>
                        <a:pt x="960" y="750"/>
                      </a:lnTo>
                      <a:lnTo>
                        <a:pt x="972" y="738"/>
                      </a:lnTo>
                      <a:lnTo>
                        <a:pt x="960" y="732"/>
                      </a:lnTo>
                      <a:lnTo>
                        <a:pt x="954" y="732"/>
                      </a:lnTo>
                      <a:lnTo>
                        <a:pt x="948" y="738"/>
                      </a:lnTo>
                      <a:lnTo>
                        <a:pt x="936" y="744"/>
                      </a:lnTo>
                      <a:lnTo>
                        <a:pt x="930" y="750"/>
                      </a:lnTo>
                      <a:lnTo>
                        <a:pt x="924" y="750"/>
                      </a:lnTo>
                      <a:lnTo>
                        <a:pt x="918" y="756"/>
                      </a:lnTo>
                      <a:lnTo>
                        <a:pt x="924" y="756"/>
                      </a:lnTo>
                      <a:lnTo>
                        <a:pt x="930" y="762"/>
                      </a:lnTo>
                      <a:lnTo>
                        <a:pt x="930" y="768"/>
                      </a:lnTo>
                      <a:lnTo>
                        <a:pt x="924" y="774"/>
                      </a:lnTo>
                      <a:lnTo>
                        <a:pt x="924" y="780"/>
                      </a:lnTo>
                      <a:lnTo>
                        <a:pt x="918" y="792"/>
                      </a:lnTo>
                      <a:lnTo>
                        <a:pt x="918" y="804"/>
                      </a:lnTo>
                      <a:lnTo>
                        <a:pt x="990" y="804"/>
                      </a:lnTo>
                      <a:lnTo>
                        <a:pt x="1038" y="774"/>
                      </a:lnTo>
                      <a:lnTo>
                        <a:pt x="1104" y="750"/>
                      </a:lnTo>
                      <a:lnTo>
                        <a:pt x="1098" y="750"/>
                      </a:lnTo>
                      <a:lnTo>
                        <a:pt x="1092" y="756"/>
                      </a:lnTo>
                      <a:lnTo>
                        <a:pt x="1080" y="762"/>
                      </a:lnTo>
                      <a:lnTo>
                        <a:pt x="1062" y="768"/>
                      </a:lnTo>
                      <a:lnTo>
                        <a:pt x="1050" y="780"/>
                      </a:lnTo>
                      <a:lnTo>
                        <a:pt x="1038" y="786"/>
                      </a:lnTo>
                      <a:lnTo>
                        <a:pt x="1026" y="798"/>
                      </a:lnTo>
                      <a:lnTo>
                        <a:pt x="1026" y="816"/>
                      </a:lnTo>
                      <a:lnTo>
                        <a:pt x="1020" y="828"/>
                      </a:lnTo>
                      <a:lnTo>
                        <a:pt x="990" y="828"/>
                      </a:lnTo>
                      <a:lnTo>
                        <a:pt x="978" y="834"/>
                      </a:lnTo>
                      <a:lnTo>
                        <a:pt x="972" y="852"/>
                      </a:lnTo>
                      <a:lnTo>
                        <a:pt x="966" y="864"/>
                      </a:lnTo>
                      <a:lnTo>
                        <a:pt x="954" y="870"/>
                      </a:lnTo>
                      <a:lnTo>
                        <a:pt x="942" y="882"/>
                      </a:lnTo>
                      <a:lnTo>
                        <a:pt x="930" y="888"/>
                      </a:lnTo>
                      <a:lnTo>
                        <a:pt x="924" y="894"/>
                      </a:lnTo>
                      <a:lnTo>
                        <a:pt x="978" y="888"/>
                      </a:lnTo>
                      <a:lnTo>
                        <a:pt x="972" y="906"/>
                      </a:lnTo>
                      <a:lnTo>
                        <a:pt x="978" y="894"/>
                      </a:lnTo>
                      <a:lnTo>
                        <a:pt x="990" y="888"/>
                      </a:lnTo>
                      <a:lnTo>
                        <a:pt x="1002" y="876"/>
                      </a:lnTo>
                      <a:lnTo>
                        <a:pt x="1026" y="864"/>
                      </a:lnTo>
                      <a:lnTo>
                        <a:pt x="1038" y="864"/>
                      </a:lnTo>
                      <a:lnTo>
                        <a:pt x="1050" y="870"/>
                      </a:lnTo>
                      <a:lnTo>
                        <a:pt x="1056" y="870"/>
                      </a:lnTo>
                      <a:lnTo>
                        <a:pt x="1056" y="876"/>
                      </a:lnTo>
                      <a:lnTo>
                        <a:pt x="1050" y="876"/>
                      </a:lnTo>
                      <a:lnTo>
                        <a:pt x="1074" y="870"/>
                      </a:lnTo>
                      <a:lnTo>
                        <a:pt x="1068" y="876"/>
                      </a:lnTo>
                      <a:lnTo>
                        <a:pt x="1068" y="906"/>
                      </a:lnTo>
                      <a:lnTo>
                        <a:pt x="1074" y="912"/>
                      </a:lnTo>
                      <a:lnTo>
                        <a:pt x="1092" y="912"/>
                      </a:lnTo>
                      <a:lnTo>
                        <a:pt x="1098" y="900"/>
                      </a:lnTo>
                      <a:lnTo>
                        <a:pt x="1110" y="894"/>
                      </a:lnTo>
                      <a:lnTo>
                        <a:pt x="1116" y="888"/>
                      </a:lnTo>
                      <a:lnTo>
                        <a:pt x="1122" y="876"/>
                      </a:lnTo>
                      <a:lnTo>
                        <a:pt x="1164" y="858"/>
                      </a:lnTo>
                      <a:lnTo>
                        <a:pt x="1176" y="870"/>
                      </a:lnTo>
                      <a:lnTo>
                        <a:pt x="1146" y="870"/>
                      </a:lnTo>
                      <a:lnTo>
                        <a:pt x="1140" y="876"/>
                      </a:lnTo>
                      <a:lnTo>
                        <a:pt x="1140" y="882"/>
                      </a:lnTo>
                      <a:lnTo>
                        <a:pt x="1134" y="888"/>
                      </a:lnTo>
                      <a:lnTo>
                        <a:pt x="1134" y="894"/>
                      </a:lnTo>
                      <a:lnTo>
                        <a:pt x="1152" y="894"/>
                      </a:lnTo>
                      <a:lnTo>
                        <a:pt x="1164" y="888"/>
                      </a:lnTo>
                      <a:lnTo>
                        <a:pt x="1182" y="888"/>
                      </a:lnTo>
                      <a:lnTo>
                        <a:pt x="1200" y="882"/>
                      </a:lnTo>
                      <a:lnTo>
                        <a:pt x="1218" y="882"/>
                      </a:lnTo>
                      <a:lnTo>
                        <a:pt x="1224" y="876"/>
                      </a:lnTo>
                      <a:lnTo>
                        <a:pt x="1230" y="876"/>
                      </a:lnTo>
                      <a:lnTo>
                        <a:pt x="1272" y="858"/>
                      </a:lnTo>
                      <a:lnTo>
                        <a:pt x="1224" y="882"/>
                      </a:lnTo>
                      <a:lnTo>
                        <a:pt x="1224" y="894"/>
                      </a:lnTo>
                      <a:lnTo>
                        <a:pt x="1212" y="894"/>
                      </a:lnTo>
                      <a:lnTo>
                        <a:pt x="1200" y="900"/>
                      </a:lnTo>
                      <a:lnTo>
                        <a:pt x="1188" y="900"/>
                      </a:lnTo>
                      <a:lnTo>
                        <a:pt x="1176" y="906"/>
                      </a:lnTo>
                      <a:lnTo>
                        <a:pt x="1170" y="912"/>
                      </a:lnTo>
                      <a:lnTo>
                        <a:pt x="1158" y="918"/>
                      </a:lnTo>
                      <a:lnTo>
                        <a:pt x="1152" y="930"/>
                      </a:lnTo>
                      <a:lnTo>
                        <a:pt x="1122" y="930"/>
                      </a:lnTo>
                      <a:lnTo>
                        <a:pt x="1086" y="960"/>
                      </a:lnTo>
                      <a:lnTo>
                        <a:pt x="1086" y="978"/>
                      </a:lnTo>
                      <a:lnTo>
                        <a:pt x="1038" y="978"/>
                      </a:lnTo>
                      <a:lnTo>
                        <a:pt x="1032" y="984"/>
                      </a:lnTo>
                      <a:lnTo>
                        <a:pt x="1020" y="984"/>
                      </a:lnTo>
                      <a:lnTo>
                        <a:pt x="1002" y="990"/>
                      </a:lnTo>
                      <a:lnTo>
                        <a:pt x="990" y="996"/>
                      </a:lnTo>
                      <a:lnTo>
                        <a:pt x="978" y="996"/>
                      </a:lnTo>
                      <a:lnTo>
                        <a:pt x="966" y="1008"/>
                      </a:lnTo>
                      <a:lnTo>
                        <a:pt x="966" y="1020"/>
                      </a:lnTo>
                      <a:lnTo>
                        <a:pt x="960" y="1026"/>
                      </a:lnTo>
                      <a:lnTo>
                        <a:pt x="960" y="1038"/>
                      </a:lnTo>
                      <a:lnTo>
                        <a:pt x="876" y="1038"/>
                      </a:lnTo>
                      <a:lnTo>
                        <a:pt x="858" y="1044"/>
                      </a:lnTo>
                      <a:lnTo>
                        <a:pt x="828" y="1062"/>
                      </a:lnTo>
                      <a:lnTo>
                        <a:pt x="804" y="1080"/>
                      </a:lnTo>
                      <a:lnTo>
                        <a:pt x="780" y="1092"/>
                      </a:lnTo>
                      <a:lnTo>
                        <a:pt x="774" y="1098"/>
                      </a:lnTo>
                      <a:lnTo>
                        <a:pt x="750" y="1104"/>
                      </a:lnTo>
                      <a:lnTo>
                        <a:pt x="738" y="1122"/>
                      </a:lnTo>
                      <a:lnTo>
                        <a:pt x="732" y="1104"/>
                      </a:lnTo>
                      <a:lnTo>
                        <a:pt x="672" y="1104"/>
                      </a:lnTo>
                      <a:lnTo>
                        <a:pt x="648" y="1116"/>
                      </a:lnTo>
                      <a:lnTo>
                        <a:pt x="630" y="1122"/>
                      </a:lnTo>
                      <a:lnTo>
                        <a:pt x="624" y="1128"/>
                      </a:lnTo>
                      <a:lnTo>
                        <a:pt x="606" y="1128"/>
                      </a:lnTo>
                      <a:lnTo>
                        <a:pt x="606" y="1140"/>
                      </a:lnTo>
                      <a:lnTo>
                        <a:pt x="576" y="1146"/>
                      </a:lnTo>
                      <a:lnTo>
                        <a:pt x="564" y="1152"/>
                      </a:lnTo>
                      <a:lnTo>
                        <a:pt x="540" y="1152"/>
                      </a:lnTo>
                      <a:lnTo>
                        <a:pt x="516" y="1170"/>
                      </a:lnTo>
                      <a:lnTo>
                        <a:pt x="522" y="1182"/>
                      </a:lnTo>
                      <a:lnTo>
                        <a:pt x="540" y="1164"/>
                      </a:lnTo>
                      <a:lnTo>
                        <a:pt x="558" y="1176"/>
                      </a:lnTo>
                      <a:lnTo>
                        <a:pt x="582" y="1158"/>
                      </a:lnTo>
                      <a:lnTo>
                        <a:pt x="582" y="1170"/>
                      </a:lnTo>
                      <a:lnTo>
                        <a:pt x="594" y="1170"/>
                      </a:lnTo>
                      <a:lnTo>
                        <a:pt x="606" y="1164"/>
                      </a:lnTo>
                      <a:lnTo>
                        <a:pt x="618" y="1164"/>
                      </a:lnTo>
                      <a:lnTo>
                        <a:pt x="642" y="1140"/>
                      </a:lnTo>
                      <a:lnTo>
                        <a:pt x="654" y="1134"/>
                      </a:lnTo>
                      <a:lnTo>
                        <a:pt x="666" y="1122"/>
                      </a:lnTo>
                      <a:lnTo>
                        <a:pt x="684" y="1122"/>
                      </a:lnTo>
                      <a:lnTo>
                        <a:pt x="684" y="1134"/>
                      </a:lnTo>
                      <a:lnTo>
                        <a:pt x="690" y="1140"/>
                      </a:lnTo>
                      <a:lnTo>
                        <a:pt x="708" y="1140"/>
                      </a:lnTo>
                      <a:lnTo>
                        <a:pt x="732" y="1128"/>
                      </a:lnTo>
                      <a:lnTo>
                        <a:pt x="744" y="1128"/>
                      </a:lnTo>
                      <a:lnTo>
                        <a:pt x="756" y="1122"/>
                      </a:lnTo>
                      <a:lnTo>
                        <a:pt x="762" y="1116"/>
                      </a:lnTo>
                      <a:lnTo>
                        <a:pt x="768" y="1116"/>
                      </a:lnTo>
                      <a:lnTo>
                        <a:pt x="804" y="1128"/>
                      </a:lnTo>
                      <a:lnTo>
                        <a:pt x="822" y="1110"/>
                      </a:lnTo>
                      <a:lnTo>
                        <a:pt x="834" y="1110"/>
                      </a:lnTo>
                      <a:lnTo>
                        <a:pt x="852" y="1104"/>
                      </a:lnTo>
                      <a:lnTo>
                        <a:pt x="870" y="1104"/>
                      </a:lnTo>
                      <a:lnTo>
                        <a:pt x="894" y="1092"/>
                      </a:lnTo>
                      <a:lnTo>
                        <a:pt x="918" y="1068"/>
                      </a:lnTo>
                      <a:lnTo>
                        <a:pt x="942" y="1056"/>
                      </a:lnTo>
                      <a:lnTo>
                        <a:pt x="972" y="1056"/>
                      </a:lnTo>
                      <a:lnTo>
                        <a:pt x="978" y="1044"/>
                      </a:lnTo>
                      <a:lnTo>
                        <a:pt x="1014" y="1044"/>
                      </a:lnTo>
                      <a:lnTo>
                        <a:pt x="1026" y="1038"/>
                      </a:lnTo>
                      <a:lnTo>
                        <a:pt x="1032" y="1038"/>
                      </a:lnTo>
                      <a:lnTo>
                        <a:pt x="1038" y="1032"/>
                      </a:lnTo>
                      <a:lnTo>
                        <a:pt x="1050" y="1032"/>
                      </a:lnTo>
                      <a:lnTo>
                        <a:pt x="1086" y="1020"/>
                      </a:lnTo>
                      <a:lnTo>
                        <a:pt x="1110" y="1008"/>
                      </a:lnTo>
                      <a:lnTo>
                        <a:pt x="1122" y="996"/>
                      </a:lnTo>
                      <a:lnTo>
                        <a:pt x="1134" y="990"/>
                      </a:lnTo>
                      <a:lnTo>
                        <a:pt x="1140" y="984"/>
                      </a:lnTo>
                      <a:lnTo>
                        <a:pt x="1206" y="972"/>
                      </a:lnTo>
                      <a:lnTo>
                        <a:pt x="1260" y="942"/>
                      </a:lnTo>
                      <a:lnTo>
                        <a:pt x="1296" y="942"/>
                      </a:lnTo>
                      <a:lnTo>
                        <a:pt x="1314" y="936"/>
                      </a:lnTo>
                      <a:lnTo>
                        <a:pt x="1326" y="936"/>
                      </a:lnTo>
                      <a:lnTo>
                        <a:pt x="1338" y="930"/>
                      </a:lnTo>
                      <a:lnTo>
                        <a:pt x="1368" y="900"/>
                      </a:lnTo>
                      <a:lnTo>
                        <a:pt x="1380" y="900"/>
                      </a:lnTo>
                      <a:lnTo>
                        <a:pt x="1404" y="888"/>
                      </a:lnTo>
                      <a:lnTo>
                        <a:pt x="1416" y="888"/>
                      </a:lnTo>
                      <a:lnTo>
                        <a:pt x="1428" y="882"/>
                      </a:lnTo>
                      <a:lnTo>
                        <a:pt x="1434" y="876"/>
                      </a:lnTo>
                      <a:lnTo>
                        <a:pt x="1434" y="864"/>
                      </a:lnTo>
                      <a:lnTo>
                        <a:pt x="1422" y="864"/>
                      </a:lnTo>
                      <a:lnTo>
                        <a:pt x="1428" y="858"/>
                      </a:lnTo>
                      <a:lnTo>
                        <a:pt x="1452" y="846"/>
                      </a:lnTo>
                      <a:lnTo>
                        <a:pt x="1458" y="840"/>
                      </a:lnTo>
                      <a:lnTo>
                        <a:pt x="1470" y="834"/>
                      </a:lnTo>
                      <a:lnTo>
                        <a:pt x="1476" y="828"/>
                      </a:lnTo>
                      <a:lnTo>
                        <a:pt x="1488" y="828"/>
                      </a:lnTo>
                      <a:lnTo>
                        <a:pt x="1500" y="822"/>
                      </a:lnTo>
                      <a:lnTo>
                        <a:pt x="1512" y="822"/>
                      </a:lnTo>
                      <a:lnTo>
                        <a:pt x="1518" y="816"/>
                      </a:lnTo>
                      <a:lnTo>
                        <a:pt x="1524" y="816"/>
                      </a:lnTo>
                      <a:lnTo>
                        <a:pt x="1596" y="786"/>
                      </a:lnTo>
                      <a:lnTo>
                        <a:pt x="1590" y="768"/>
                      </a:lnTo>
                      <a:lnTo>
                        <a:pt x="1602" y="768"/>
                      </a:lnTo>
                      <a:lnTo>
                        <a:pt x="1608" y="774"/>
                      </a:lnTo>
                      <a:lnTo>
                        <a:pt x="1626" y="774"/>
                      </a:lnTo>
                      <a:lnTo>
                        <a:pt x="1638" y="762"/>
                      </a:lnTo>
                      <a:lnTo>
                        <a:pt x="1650" y="762"/>
                      </a:lnTo>
                      <a:lnTo>
                        <a:pt x="1674" y="750"/>
                      </a:lnTo>
                      <a:lnTo>
                        <a:pt x="1680" y="744"/>
                      </a:lnTo>
                      <a:lnTo>
                        <a:pt x="1704" y="732"/>
                      </a:lnTo>
                      <a:lnTo>
                        <a:pt x="1740" y="720"/>
                      </a:lnTo>
                      <a:lnTo>
                        <a:pt x="1770" y="708"/>
                      </a:lnTo>
                      <a:lnTo>
                        <a:pt x="1794" y="702"/>
                      </a:lnTo>
                      <a:lnTo>
                        <a:pt x="1812" y="702"/>
                      </a:lnTo>
                      <a:lnTo>
                        <a:pt x="1818" y="708"/>
                      </a:lnTo>
                      <a:lnTo>
                        <a:pt x="1842" y="720"/>
                      </a:lnTo>
                      <a:lnTo>
                        <a:pt x="1848" y="726"/>
                      </a:lnTo>
                      <a:lnTo>
                        <a:pt x="1812" y="726"/>
                      </a:lnTo>
                      <a:lnTo>
                        <a:pt x="1794" y="714"/>
                      </a:lnTo>
                      <a:lnTo>
                        <a:pt x="1758" y="738"/>
                      </a:lnTo>
                      <a:lnTo>
                        <a:pt x="1728" y="738"/>
                      </a:lnTo>
                      <a:lnTo>
                        <a:pt x="1722" y="744"/>
                      </a:lnTo>
                      <a:lnTo>
                        <a:pt x="1710" y="750"/>
                      </a:lnTo>
                      <a:lnTo>
                        <a:pt x="1704" y="762"/>
                      </a:lnTo>
                      <a:lnTo>
                        <a:pt x="1692" y="768"/>
                      </a:lnTo>
                      <a:lnTo>
                        <a:pt x="1686" y="774"/>
                      </a:lnTo>
                      <a:lnTo>
                        <a:pt x="1680" y="774"/>
                      </a:lnTo>
                      <a:lnTo>
                        <a:pt x="1668" y="780"/>
                      </a:lnTo>
                      <a:lnTo>
                        <a:pt x="1656" y="780"/>
                      </a:lnTo>
                      <a:lnTo>
                        <a:pt x="1638" y="786"/>
                      </a:lnTo>
                      <a:lnTo>
                        <a:pt x="1614" y="798"/>
                      </a:lnTo>
                      <a:lnTo>
                        <a:pt x="1614" y="804"/>
                      </a:lnTo>
                      <a:lnTo>
                        <a:pt x="1620" y="810"/>
                      </a:lnTo>
                      <a:lnTo>
                        <a:pt x="1632" y="816"/>
                      </a:lnTo>
                      <a:lnTo>
                        <a:pt x="1650" y="816"/>
                      </a:lnTo>
                      <a:lnTo>
                        <a:pt x="1644" y="816"/>
                      </a:lnTo>
                      <a:lnTo>
                        <a:pt x="1638" y="822"/>
                      </a:lnTo>
                      <a:lnTo>
                        <a:pt x="1632" y="822"/>
                      </a:lnTo>
                      <a:lnTo>
                        <a:pt x="1620" y="828"/>
                      </a:lnTo>
                      <a:lnTo>
                        <a:pt x="1572" y="828"/>
                      </a:lnTo>
                      <a:lnTo>
                        <a:pt x="1566" y="834"/>
                      </a:lnTo>
                      <a:lnTo>
                        <a:pt x="1560" y="834"/>
                      </a:lnTo>
                      <a:lnTo>
                        <a:pt x="1560" y="846"/>
                      </a:lnTo>
                      <a:lnTo>
                        <a:pt x="1572" y="858"/>
                      </a:lnTo>
                      <a:lnTo>
                        <a:pt x="1584" y="858"/>
                      </a:lnTo>
                      <a:lnTo>
                        <a:pt x="1596" y="852"/>
                      </a:lnTo>
                      <a:lnTo>
                        <a:pt x="1638" y="834"/>
                      </a:lnTo>
                      <a:lnTo>
                        <a:pt x="1680" y="810"/>
                      </a:lnTo>
                      <a:lnTo>
                        <a:pt x="1722" y="798"/>
                      </a:lnTo>
                      <a:lnTo>
                        <a:pt x="1788" y="798"/>
                      </a:lnTo>
                      <a:lnTo>
                        <a:pt x="1818" y="792"/>
                      </a:lnTo>
                      <a:lnTo>
                        <a:pt x="1824" y="786"/>
                      </a:lnTo>
                      <a:lnTo>
                        <a:pt x="1848" y="774"/>
                      </a:lnTo>
                      <a:lnTo>
                        <a:pt x="1854" y="762"/>
                      </a:lnTo>
                      <a:lnTo>
                        <a:pt x="1866" y="756"/>
                      </a:lnTo>
                      <a:lnTo>
                        <a:pt x="1872" y="750"/>
                      </a:lnTo>
                      <a:lnTo>
                        <a:pt x="1866" y="738"/>
                      </a:lnTo>
                      <a:lnTo>
                        <a:pt x="1878" y="732"/>
                      </a:lnTo>
                      <a:lnTo>
                        <a:pt x="1908" y="720"/>
                      </a:lnTo>
                      <a:lnTo>
                        <a:pt x="1944" y="714"/>
                      </a:lnTo>
                      <a:lnTo>
                        <a:pt x="1962" y="708"/>
                      </a:lnTo>
                      <a:lnTo>
                        <a:pt x="1968" y="708"/>
                      </a:lnTo>
                      <a:lnTo>
                        <a:pt x="1980" y="720"/>
                      </a:lnTo>
                      <a:lnTo>
                        <a:pt x="1980" y="726"/>
                      </a:lnTo>
                      <a:lnTo>
                        <a:pt x="2046" y="702"/>
                      </a:lnTo>
                      <a:lnTo>
                        <a:pt x="2004" y="738"/>
                      </a:lnTo>
                      <a:lnTo>
                        <a:pt x="2022" y="744"/>
                      </a:lnTo>
                      <a:lnTo>
                        <a:pt x="2022" y="762"/>
                      </a:lnTo>
                      <a:lnTo>
                        <a:pt x="2028" y="762"/>
                      </a:lnTo>
                      <a:lnTo>
                        <a:pt x="2034" y="756"/>
                      </a:lnTo>
                      <a:lnTo>
                        <a:pt x="2094" y="726"/>
                      </a:lnTo>
                      <a:lnTo>
                        <a:pt x="2082" y="732"/>
                      </a:lnTo>
                      <a:lnTo>
                        <a:pt x="2076" y="744"/>
                      </a:lnTo>
                      <a:lnTo>
                        <a:pt x="2064" y="750"/>
                      </a:lnTo>
                      <a:lnTo>
                        <a:pt x="2058" y="762"/>
                      </a:lnTo>
                      <a:lnTo>
                        <a:pt x="2046" y="774"/>
                      </a:lnTo>
                      <a:lnTo>
                        <a:pt x="2052" y="780"/>
                      </a:lnTo>
                      <a:lnTo>
                        <a:pt x="2064" y="780"/>
                      </a:lnTo>
                      <a:lnTo>
                        <a:pt x="2076" y="786"/>
                      </a:lnTo>
                      <a:lnTo>
                        <a:pt x="2106" y="786"/>
                      </a:lnTo>
                      <a:lnTo>
                        <a:pt x="2208" y="798"/>
                      </a:lnTo>
                      <a:lnTo>
                        <a:pt x="2238" y="780"/>
                      </a:lnTo>
                      <a:lnTo>
                        <a:pt x="2232" y="786"/>
                      </a:lnTo>
                      <a:lnTo>
                        <a:pt x="2232" y="810"/>
                      </a:lnTo>
                      <a:lnTo>
                        <a:pt x="2298" y="810"/>
                      </a:lnTo>
                      <a:lnTo>
                        <a:pt x="2334" y="804"/>
                      </a:lnTo>
                      <a:lnTo>
                        <a:pt x="2328" y="804"/>
                      </a:lnTo>
                      <a:lnTo>
                        <a:pt x="2322" y="810"/>
                      </a:lnTo>
                      <a:lnTo>
                        <a:pt x="2310" y="810"/>
                      </a:lnTo>
                      <a:lnTo>
                        <a:pt x="2286" y="822"/>
                      </a:lnTo>
                      <a:lnTo>
                        <a:pt x="2280" y="828"/>
                      </a:lnTo>
                      <a:lnTo>
                        <a:pt x="2280" y="834"/>
                      </a:lnTo>
                      <a:lnTo>
                        <a:pt x="2292" y="846"/>
                      </a:lnTo>
                      <a:lnTo>
                        <a:pt x="2304" y="852"/>
                      </a:lnTo>
                      <a:lnTo>
                        <a:pt x="2310" y="858"/>
                      </a:lnTo>
                      <a:lnTo>
                        <a:pt x="2310" y="882"/>
                      </a:lnTo>
                      <a:lnTo>
                        <a:pt x="2316" y="888"/>
                      </a:lnTo>
                      <a:lnTo>
                        <a:pt x="2316" y="900"/>
                      </a:lnTo>
                      <a:lnTo>
                        <a:pt x="2322" y="912"/>
                      </a:lnTo>
                      <a:lnTo>
                        <a:pt x="2358" y="912"/>
                      </a:lnTo>
                      <a:lnTo>
                        <a:pt x="2370" y="906"/>
                      </a:lnTo>
                      <a:lnTo>
                        <a:pt x="2388" y="906"/>
                      </a:lnTo>
                      <a:lnTo>
                        <a:pt x="2382" y="876"/>
                      </a:lnTo>
                      <a:lnTo>
                        <a:pt x="2400" y="870"/>
                      </a:lnTo>
                      <a:lnTo>
                        <a:pt x="2412" y="888"/>
                      </a:lnTo>
                      <a:lnTo>
                        <a:pt x="2442" y="876"/>
                      </a:lnTo>
                      <a:lnTo>
                        <a:pt x="2430" y="888"/>
                      </a:lnTo>
                      <a:lnTo>
                        <a:pt x="2430" y="900"/>
                      </a:lnTo>
                      <a:lnTo>
                        <a:pt x="2424" y="906"/>
                      </a:lnTo>
                      <a:lnTo>
                        <a:pt x="2424" y="912"/>
                      </a:lnTo>
                      <a:lnTo>
                        <a:pt x="2430" y="918"/>
                      </a:lnTo>
                      <a:lnTo>
                        <a:pt x="2436" y="918"/>
                      </a:lnTo>
                      <a:lnTo>
                        <a:pt x="2448" y="912"/>
                      </a:lnTo>
                      <a:lnTo>
                        <a:pt x="2454" y="906"/>
                      </a:lnTo>
                      <a:lnTo>
                        <a:pt x="2460" y="894"/>
                      </a:lnTo>
                      <a:lnTo>
                        <a:pt x="2466" y="888"/>
                      </a:lnTo>
                      <a:lnTo>
                        <a:pt x="2472" y="876"/>
                      </a:lnTo>
                      <a:lnTo>
                        <a:pt x="2502" y="834"/>
                      </a:lnTo>
                      <a:lnTo>
                        <a:pt x="2478" y="900"/>
                      </a:lnTo>
                      <a:lnTo>
                        <a:pt x="2484" y="924"/>
                      </a:lnTo>
                      <a:lnTo>
                        <a:pt x="2520" y="912"/>
                      </a:lnTo>
                      <a:lnTo>
                        <a:pt x="2496" y="936"/>
                      </a:lnTo>
                      <a:lnTo>
                        <a:pt x="2520" y="954"/>
                      </a:lnTo>
                      <a:lnTo>
                        <a:pt x="2502" y="954"/>
                      </a:lnTo>
                      <a:lnTo>
                        <a:pt x="2502" y="972"/>
                      </a:lnTo>
                      <a:lnTo>
                        <a:pt x="2472" y="990"/>
                      </a:lnTo>
                      <a:lnTo>
                        <a:pt x="2454" y="1002"/>
                      </a:lnTo>
                      <a:lnTo>
                        <a:pt x="2484" y="1020"/>
                      </a:lnTo>
                      <a:lnTo>
                        <a:pt x="2478" y="1050"/>
                      </a:lnTo>
                      <a:lnTo>
                        <a:pt x="2460" y="1068"/>
                      </a:lnTo>
                      <a:lnTo>
                        <a:pt x="2478" y="1080"/>
                      </a:lnTo>
                      <a:lnTo>
                        <a:pt x="2460" y="1098"/>
                      </a:lnTo>
                      <a:lnTo>
                        <a:pt x="2490" y="1098"/>
                      </a:lnTo>
                      <a:lnTo>
                        <a:pt x="2526" y="1086"/>
                      </a:lnTo>
                      <a:lnTo>
                        <a:pt x="2496" y="1122"/>
                      </a:lnTo>
                      <a:lnTo>
                        <a:pt x="2478" y="1140"/>
                      </a:lnTo>
                      <a:lnTo>
                        <a:pt x="2502" y="1146"/>
                      </a:lnTo>
                      <a:lnTo>
                        <a:pt x="2454" y="1164"/>
                      </a:lnTo>
                      <a:lnTo>
                        <a:pt x="2436" y="1176"/>
                      </a:lnTo>
                      <a:lnTo>
                        <a:pt x="2454" y="1188"/>
                      </a:lnTo>
                      <a:lnTo>
                        <a:pt x="2454" y="1200"/>
                      </a:lnTo>
                      <a:lnTo>
                        <a:pt x="2472" y="1188"/>
                      </a:lnTo>
                      <a:lnTo>
                        <a:pt x="2490" y="1182"/>
                      </a:lnTo>
                      <a:lnTo>
                        <a:pt x="2502" y="1170"/>
                      </a:lnTo>
                      <a:lnTo>
                        <a:pt x="2514" y="1164"/>
                      </a:lnTo>
                      <a:lnTo>
                        <a:pt x="2532" y="1146"/>
                      </a:lnTo>
                      <a:lnTo>
                        <a:pt x="2538" y="1134"/>
                      </a:lnTo>
                      <a:lnTo>
                        <a:pt x="2538" y="1122"/>
                      </a:lnTo>
                      <a:lnTo>
                        <a:pt x="2550" y="1116"/>
                      </a:lnTo>
                      <a:lnTo>
                        <a:pt x="2562" y="1104"/>
                      </a:lnTo>
                      <a:lnTo>
                        <a:pt x="2574" y="1098"/>
                      </a:lnTo>
                      <a:lnTo>
                        <a:pt x="2574" y="1086"/>
                      </a:lnTo>
                      <a:lnTo>
                        <a:pt x="2568" y="1080"/>
                      </a:lnTo>
                      <a:lnTo>
                        <a:pt x="2562" y="1080"/>
                      </a:lnTo>
                      <a:close/>
                      <a:moveTo>
                        <a:pt x="2394" y="1056"/>
                      </a:moveTo>
                      <a:lnTo>
                        <a:pt x="2400" y="1062"/>
                      </a:lnTo>
                      <a:lnTo>
                        <a:pt x="2418" y="1062"/>
                      </a:lnTo>
                      <a:lnTo>
                        <a:pt x="2436" y="1044"/>
                      </a:lnTo>
                      <a:lnTo>
                        <a:pt x="2460" y="1038"/>
                      </a:lnTo>
                      <a:lnTo>
                        <a:pt x="2454" y="1020"/>
                      </a:lnTo>
                      <a:lnTo>
                        <a:pt x="2430" y="1020"/>
                      </a:lnTo>
                      <a:lnTo>
                        <a:pt x="2418" y="1026"/>
                      </a:lnTo>
                      <a:lnTo>
                        <a:pt x="2412" y="1032"/>
                      </a:lnTo>
                      <a:lnTo>
                        <a:pt x="2406" y="1044"/>
                      </a:lnTo>
                      <a:lnTo>
                        <a:pt x="2394" y="1050"/>
                      </a:lnTo>
                      <a:lnTo>
                        <a:pt x="2394" y="1056"/>
                      </a:lnTo>
                      <a:close/>
                      <a:moveTo>
                        <a:pt x="2376" y="984"/>
                      </a:moveTo>
                      <a:lnTo>
                        <a:pt x="2358" y="984"/>
                      </a:lnTo>
                      <a:lnTo>
                        <a:pt x="2346" y="990"/>
                      </a:lnTo>
                      <a:lnTo>
                        <a:pt x="2334" y="1002"/>
                      </a:lnTo>
                      <a:lnTo>
                        <a:pt x="2334" y="1014"/>
                      </a:lnTo>
                      <a:lnTo>
                        <a:pt x="2322" y="1026"/>
                      </a:lnTo>
                      <a:lnTo>
                        <a:pt x="2322" y="1044"/>
                      </a:lnTo>
                      <a:lnTo>
                        <a:pt x="2310" y="1056"/>
                      </a:lnTo>
                      <a:lnTo>
                        <a:pt x="2310" y="1074"/>
                      </a:lnTo>
                      <a:lnTo>
                        <a:pt x="2316" y="1080"/>
                      </a:lnTo>
                      <a:lnTo>
                        <a:pt x="2322" y="1074"/>
                      </a:lnTo>
                      <a:lnTo>
                        <a:pt x="2328" y="1062"/>
                      </a:lnTo>
                      <a:lnTo>
                        <a:pt x="2340" y="1050"/>
                      </a:lnTo>
                      <a:lnTo>
                        <a:pt x="2352" y="1044"/>
                      </a:lnTo>
                      <a:lnTo>
                        <a:pt x="2376" y="1020"/>
                      </a:lnTo>
                      <a:lnTo>
                        <a:pt x="2382" y="1008"/>
                      </a:lnTo>
                      <a:lnTo>
                        <a:pt x="2382" y="990"/>
                      </a:lnTo>
                      <a:lnTo>
                        <a:pt x="2376" y="984"/>
                      </a:lnTo>
                      <a:close/>
                      <a:moveTo>
                        <a:pt x="786" y="810"/>
                      </a:moveTo>
                      <a:lnTo>
                        <a:pt x="798" y="810"/>
                      </a:lnTo>
                      <a:lnTo>
                        <a:pt x="834" y="798"/>
                      </a:lnTo>
                      <a:lnTo>
                        <a:pt x="858" y="786"/>
                      </a:lnTo>
                      <a:lnTo>
                        <a:pt x="864" y="780"/>
                      </a:lnTo>
                      <a:lnTo>
                        <a:pt x="870" y="780"/>
                      </a:lnTo>
                      <a:lnTo>
                        <a:pt x="864" y="774"/>
                      </a:lnTo>
                      <a:lnTo>
                        <a:pt x="828" y="762"/>
                      </a:lnTo>
                      <a:lnTo>
                        <a:pt x="810" y="762"/>
                      </a:lnTo>
                      <a:lnTo>
                        <a:pt x="798" y="768"/>
                      </a:lnTo>
                      <a:lnTo>
                        <a:pt x="792" y="774"/>
                      </a:lnTo>
                      <a:lnTo>
                        <a:pt x="786" y="768"/>
                      </a:lnTo>
                      <a:lnTo>
                        <a:pt x="774" y="768"/>
                      </a:lnTo>
                      <a:lnTo>
                        <a:pt x="768" y="774"/>
                      </a:lnTo>
                      <a:lnTo>
                        <a:pt x="768" y="804"/>
                      </a:lnTo>
                      <a:lnTo>
                        <a:pt x="774" y="810"/>
                      </a:lnTo>
                      <a:lnTo>
                        <a:pt x="786" y="810"/>
                      </a:lnTo>
                      <a:close/>
                      <a:moveTo>
                        <a:pt x="0" y="1332"/>
                      </a:moveTo>
                      <a:lnTo>
                        <a:pt x="60" y="1320"/>
                      </a:lnTo>
                      <a:lnTo>
                        <a:pt x="72" y="1302"/>
                      </a:lnTo>
                      <a:lnTo>
                        <a:pt x="132" y="1296"/>
                      </a:lnTo>
                      <a:lnTo>
                        <a:pt x="114" y="1272"/>
                      </a:lnTo>
                      <a:lnTo>
                        <a:pt x="0" y="1332"/>
                      </a:lnTo>
                      <a:close/>
                      <a:moveTo>
                        <a:pt x="1362" y="954"/>
                      </a:moveTo>
                      <a:lnTo>
                        <a:pt x="1350" y="954"/>
                      </a:lnTo>
                      <a:lnTo>
                        <a:pt x="1338" y="960"/>
                      </a:lnTo>
                      <a:lnTo>
                        <a:pt x="1332" y="954"/>
                      </a:lnTo>
                      <a:lnTo>
                        <a:pt x="1314" y="954"/>
                      </a:lnTo>
                      <a:lnTo>
                        <a:pt x="1314" y="978"/>
                      </a:lnTo>
                      <a:lnTo>
                        <a:pt x="1290" y="996"/>
                      </a:lnTo>
                      <a:lnTo>
                        <a:pt x="1290" y="972"/>
                      </a:lnTo>
                      <a:lnTo>
                        <a:pt x="1278" y="966"/>
                      </a:lnTo>
                      <a:lnTo>
                        <a:pt x="1272" y="966"/>
                      </a:lnTo>
                      <a:lnTo>
                        <a:pt x="1248" y="978"/>
                      </a:lnTo>
                      <a:lnTo>
                        <a:pt x="1242" y="978"/>
                      </a:lnTo>
                      <a:lnTo>
                        <a:pt x="1230" y="990"/>
                      </a:lnTo>
                      <a:lnTo>
                        <a:pt x="1224" y="1002"/>
                      </a:lnTo>
                      <a:lnTo>
                        <a:pt x="1218" y="1008"/>
                      </a:lnTo>
                      <a:lnTo>
                        <a:pt x="1218" y="1014"/>
                      </a:lnTo>
                      <a:lnTo>
                        <a:pt x="1224" y="1014"/>
                      </a:lnTo>
                      <a:lnTo>
                        <a:pt x="1230" y="1020"/>
                      </a:lnTo>
                      <a:lnTo>
                        <a:pt x="1278" y="1020"/>
                      </a:lnTo>
                      <a:lnTo>
                        <a:pt x="1296" y="1014"/>
                      </a:lnTo>
                      <a:lnTo>
                        <a:pt x="1308" y="1014"/>
                      </a:lnTo>
                      <a:lnTo>
                        <a:pt x="1320" y="1008"/>
                      </a:lnTo>
                      <a:lnTo>
                        <a:pt x="1320" y="996"/>
                      </a:lnTo>
                      <a:lnTo>
                        <a:pt x="1350" y="990"/>
                      </a:lnTo>
                      <a:lnTo>
                        <a:pt x="1350" y="984"/>
                      </a:lnTo>
                      <a:lnTo>
                        <a:pt x="1386" y="978"/>
                      </a:lnTo>
                      <a:lnTo>
                        <a:pt x="1398" y="954"/>
                      </a:lnTo>
                      <a:lnTo>
                        <a:pt x="1380" y="960"/>
                      </a:lnTo>
                      <a:lnTo>
                        <a:pt x="1374" y="954"/>
                      </a:lnTo>
                      <a:lnTo>
                        <a:pt x="1362" y="954"/>
                      </a:lnTo>
                      <a:close/>
                      <a:moveTo>
                        <a:pt x="162" y="1290"/>
                      </a:moveTo>
                      <a:lnTo>
                        <a:pt x="204" y="1290"/>
                      </a:lnTo>
                      <a:lnTo>
                        <a:pt x="240" y="1260"/>
                      </a:lnTo>
                      <a:lnTo>
                        <a:pt x="228" y="1242"/>
                      </a:lnTo>
                      <a:lnTo>
                        <a:pt x="162" y="1290"/>
                      </a:lnTo>
                      <a:close/>
                      <a:moveTo>
                        <a:pt x="2466" y="1140"/>
                      </a:moveTo>
                      <a:lnTo>
                        <a:pt x="2472" y="1128"/>
                      </a:lnTo>
                      <a:lnTo>
                        <a:pt x="2454" y="1110"/>
                      </a:lnTo>
                      <a:lnTo>
                        <a:pt x="2448" y="1110"/>
                      </a:lnTo>
                      <a:lnTo>
                        <a:pt x="2436" y="1122"/>
                      </a:lnTo>
                      <a:lnTo>
                        <a:pt x="2430" y="1134"/>
                      </a:lnTo>
                      <a:lnTo>
                        <a:pt x="2424" y="1152"/>
                      </a:lnTo>
                      <a:lnTo>
                        <a:pt x="2418" y="1164"/>
                      </a:lnTo>
                      <a:lnTo>
                        <a:pt x="2418" y="1176"/>
                      </a:lnTo>
                      <a:lnTo>
                        <a:pt x="2436" y="1158"/>
                      </a:lnTo>
                      <a:lnTo>
                        <a:pt x="2454" y="1158"/>
                      </a:lnTo>
                      <a:lnTo>
                        <a:pt x="2460" y="1152"/>
                      </a:lnTo>
                      <a:lnTo>
                        <a:pt x="2466" y="1140"/>
                      </a:lnTo>
                      <a:close/>
                      <a:moveTo>
                        <a:pt x="1428" y="912"/>
                      </a:moveTo>
                      <a:lnTo>
                        <a:pt x="1404" y="924"/>
                      </a:lnTo>
                      <a:lnTo>
                        <a:pt x="1386" y="942"/>
                      </a:lnTo>
                      <a:lnTo>
                        <a:pt x="1386" y="948"/>
                      </a:lnTo>
                      <a:lnTo>
                        <a:pt x="1398" y="954"/>
                      </a:lnTo>
                      <a:lnTo>
                        <a:pt x="1410" y="954"/>
                      </a:lnTo>
                      <a:lnTo>
                        <a:pt x="1422" y="948"/>
                      </a:lnTo>
                      <a:lnTo>
                        <a:pt x="1428" y="948"/>
                      </a:lnTo>
                      <a:lnTo>
                        <a:pt x="1440" y="942"/>
                      </a:lnTo>
                      <a:lnTo>
                        <a:pt x="1446" y="930"/>
                      </a:lnTo>
                      <a:lnTo>
                        <a:pt x="1470" y="930"/>
                      </a:lnTo>
                      <a:lnTo>
                        <a:pt x="1470" y="924"/>
                      </a:lnTo>
                      <a:lnTo>
                        <a:pt x="1458" y="912"/>
                      </a:lnTo>
                      <a:lnTo>
                        <a:pt x="1452" y="912"/>
                      </a:lnTo>
                      <a:lnTo>
                        <a:pt x="1440" y="906"/>
                      </a:lnTo>
                      <a:lnTo>
                        <a:pt x="1428" y="912"/>
                      </a:lnTo>
                      <a:close/>
                      <a:moveTo>
                        <a:pt x="498" y="1164"/>
                      </a:moveTo>
                      <a:lnTo>
                        <a:pt x="486" y="1164"/>
                      </a:lnTo>
                      <a:lnTo>
                        <a:pt x="474" y="1170"/>
                      </a:lnTo>
                      <a:lnTo>
                        <a:pt x="462" y="1170"/>
                      </a:lnTo>
                      <a:lnTo>
                        <a:pt x="450" y="1176"/>
                      </a:lnTo>
                      <a:lnTo>
                        <a:pt x="444" y="1182"/>
                      </a:lnTo>
                      <a:lnTo>
                        <a:pt x="432" y="1182"/>
                      </a:lnTo>
                      <a:lnTo>
                        <a:pt x="426" y="1188"/>
                      </a:lnTo>
                      <a:lnTo>
                        <a:pt x="414" y="1188"/>
                      </a:lnTo>
                      <a:lnTo>
                        <a:pt x="390" y="1200"/>
                      </a:lnTo>
                      <a:lnTo>
                        <a:pt x="384" y="1206"/>
                      </a:lnTo>
                      <a:lnTo>
                        <a:pt x="384" y="1218"/>
                      </a:lnTo>
                      <a:lnTo>
                        <a:pt x="402" y="1218"/>
                      </a:lnTo>
                      <a:lnTo>
                        <a:pt x="420" y="1212"/>
                      </a:lnTo>
                      <a:lnTo>
                        <a:pt x="432" y="1206"/>
                      </a:lnTo>
                      <a:lnTo>
                        <a:pt x="504" y="1206"/>
                      </a:lnTo>
                      <a:lnTo>
                        <a:pt x="510" y="1200"/>
                      </a:lnTo>
                      <a:lnTo>
                        <a:pt x="510" y="1176"/>
                      </a:lnTo>
                      <a:lnTo>
                        <a:pt x="498" y="1164"/>
                      </a:lnTo>
                      <a:close/>
                      <a:moveTo>
                        <a:pt x="330" y="1242"/>
                      </a:moveTo>
                      <a:lnTo>
                        <a:pt x="330" y="1224"/>
                      </a:lnTo>
                      <a:lnTo>
                        <a:pt x="276" y="1242"/>
                      </a:lnTo>
                      <a:lnTo>
                        <a:pt x="330" y="12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1" name="USA">
                  <a:extLst>
                    <a:ext uri="{FF2B5EF4-FFF2-40B4-BE49-F238E27FC236}">
                      <a16:creationId xmlns:a16="http://schemas.microsoft.com/office/drawing/2014/main" id="{9F37DE2E-B58C-4591-B363-D2AE726E78CE}"/>
                    </a:ext>
                  </a:extLst>
                </p:cNvPr>
                <p:cNvSpPr>
                  <a:spLocks noEditPoints="1"/>
                </p:cNvSpPr>
                <p:nvPr/>
              </p:nvSpPr>
              <p:spPr bwMode="gray">
                <a:xfrm>
                  <a:off x="1182306" y="1886135"/>
                  <a:ext cx="1477115" cy="731811"/>
                </a:xfrm>
                <a:custGeom>
                  <a:avLst/>
                  <a:gdLst>
                    <a:gd name="T0" fmla="*/ 2147483647 w 3918"/>
                    <a:gd name="T1" fmla="*/ 2147483647 h 1944"/>
                    <a:gd name="T2" fmla="*/ 2147483647 w 3918"/>
                    <a:gd name="T3" fmla="*/ 2147483647 h 1944"/>
                    <a:gd name="T4" fmla="*/ 2147483647 w 3918"/>
                    <a:gd name="T5" fmla="*/ 2147483647 h 1944"/>
                    <a:gd name="T6" fmla="*/ 2147483647 w 3918"/>
                    <a:gd name="T7" fmla="*/ 2147483647 h 1944"/>
                    <a:gd name="T8" fmla="*/ 2147483647 w 3918"/>
                    <a:gd name="T9" fmla="*/ 2147483647 h 1944"/>
                    <a:gd name="T10" fmla="*/ 2147483647 w 3918"/>
                    <a:gd name="T11" fmla="*/ 2147483647 h 1944"/>
                    <a:gd name="T12" fmla="*/ 2147483647 w 3918"/>
                    <a:gd name="T13" fmla="*/ 2147483647 h 1944"/>
                    <a:gd name="T14" fmla="*/ 2147483647 w 3918"/>
                    <a:gd name="T15" fmla="*/ 2147483647 h 1944"/>
                    <a:gd name="T16" fmla="*/ 2147483647 w 3918"/>
                    <a:gd name="T17" fmla="*/ 2147483647 h 1944"/>
                    <a:gd name="T18" fmla="*/ 2147483647 w 3918"/>
                    <a:gd name="T19" fmla="*/ 2147483647 h 1944"/>
                    <a:gd name="T20" fmla="*/ 2147483647 w 3918"/>
                    <a:gd name="T21" fmla="*/ 2147483647 h 1944"/>
                    <a:gd name="T22" fmla="*/ 2147483647 w 3918"/>
                    <a:gd name="T23" fmla="*/ 2147483647 h 1944"/>
                    <a:gd name="T24" fmla="*/ 2147483647 w 3918"/>
                    <a:gd name="T25" fmla="*/ 2147483647 h 1944"/>
                    <a:gd name="T26" fmla="*/ 2147483647 w 3918"/>
                    <a:gd name="T27" fmla="*/ 2147483647 h 1944"/>
                    <a:gd name="T28" fmla="*/ 2147483647 w 3918"/>
                    <a:gd name="T29" fmla="*/ 2147483647 h 1944"/>
                    <a:gd name="T30" fmla="*/ 2147483647 w 3918"/>
                    <a:gd name="T31" fmla="*/ 2147483647 h 1944"/>
                    <a:gd name="T32" fmla="*/ 2147483647 w 3918"/>
                    <a:gd name="T33" fmla="*/ 2147483647 h 1944"/>
                    <a:gd name="T34" fmla="*/ 2147483647 w 3918"/>
                    <a:gd name="T35" fmla="*/ 2147483647 h 1944"/>
                    <a:gd name="T36" fmla="*/ 2147483647 w 3918"/>
                    <a:gd name="T37" fmla="*/ 2147483647 h 1944"/>
                    <a:gd name="T38" fmla="*/ 2147483647 w 3918"/>
                    <a:gd name="T39" fmla="*/ 2147483647 h 1944"/>
                    <a:gd name="T40" fmla="*/ 2147483647 w 3918"/>
                    <a:gd name="T41" fmla="*/ 2147483647 h 1944"/>
                    <a:gd name="T42" fmla="*/ 2147483647 w 3918"/>
                    <a:gd name="T43" fmla="*/ 2147483647 h 1944"/>
                    <a:gd name="T44" fmla="*/ 2147483647 w 3918"/>
                    <a:gd name="T45" fmla="*/ 2147483647 h 1944"/>
                    <a:gd name="T46" fmla="*/ 2147483647 w 3918"/>
                    <a:gd name="T47" fmla="*/ 2147483647 h 1944"/>
                    <a:gd name="T48" fmla="*/ 2147483647 w 3918"/>
                    <a:gd name="T49" fmla="*/ 2147483647 h 1944"/>
                    <a:gd name="T50" fmla="*/ 2147483647 w 3918"/>
                    <a:gd name="T51" fmla="*/ 2147483647 h 1944"/>
                    <a:gd name="T52" fmla="*/ 2147483647 w 3918"/>
                    <a:gd name="T53" fmla="*/ 2147483647 h 1944"/>
                    <a:gd name="T54" fmla="*/ 2147483647 w 3918"/>
                    <a:gd name="T55" fmla="*/ 2147483647 h 1944"/>
                    <a:gd name="T56" fmla="*/ 2147483647 w 3918"/>
                    <a:gd name="T57" fmla="*/ 2147483647 h 1944"/>
                    <a:gd name="T58" fmla="*/ 2147483647 w 3918"/>
                    <a:gd name="T59" fmla="*/ 2147483647 h 1944"/>
                    <a:gd name="T60" fmla="*/ 2147483647 w 3918"/>
                    <a:gd name="T61" fmla="*/ 2147483647 h 1944"/>
                    <a:gd name="T62" fmla="*/ 2147483647 w 3918"/>
                    <a:gd name="T63" fmla="*/ 2147483647 h 1944"/>
                    <a:gd name="T64" fmla="*/ 2147483647 w 3918"/>
                    <a:gd name="T65" fmla="*/ 2147483647 h 1944"/>
                    <a:gd name="T66" fmla="*/ 2147483647 w 3918"/>
                    <a:gd name="T67" fmla="*/ 2147483647 h 1944"/>
                    <a:gd name="T68" fmla="*/ 2147483647 w 3918"/>
                    <a:gd name="T69" fmla="*/ 2147483647 h 1944"/>
                    <a:gd name="T70" fmla="*/ 2147483647 w 3918"/>
                    <a:gd name="T71" fmla="*/ 2147483647 h 1944"/>
                    <a:gd name="T72" fmla="*/ 2147483647 w 3918"/>
                    <a:gd name="T73" fmla="*/ 2147483647 h 1944"/>
                    <a:gd name="T74" fmla="*/ 2147483647 w 3918"/>
                    <a:gd name="T75" fmla="*/ 2147483647 h 1944"/>
                    <a:gd name="T76" fmla="*/ 2147483647 w 3918"/>
                    <a:gd name="T77" fmla="*/ 2147483647 h 1944"/>
                    <a:gd name="T78" fmla="*/ 2147483647 w 3918"/>
                    <a:gd name="T79" fmla="*/ 2147483647 h 1944"/>
                    <a:gd name="T80" fmla="*/ 2147483647 w 3918"/>
                    <a:gd name="T81" fmla="*/ 2147483647 h 1944"/>
                    <a:gd name="T82" fmla="*/ 2147483647 w 3918"/>
                    <a:gd name="T83" fmla="*/ 2147483647 h 1944"/>
                    <a:gd name="T84" fmla="*/ 2147483647 w 3918"/>
                    <a:gd name="T85" fmla="*/ 2147483647 h 1944"/>
                    <a:gd name="T86" fmla="*/ 2147483647 w 3918"/>
                    <a:gd name="T87" fmla="*/ 2147483647 h 1944"/>
                    <a:gd name="T88" fmla="*/ 2147483647 w 3918"/>
                    <a:gd name="T89" fmla="*/ 2147483647 h 1944"/>
                    <a:gd name="T90" fmla="*/ 2147483647 w 3918"/>
                    <a:gd name="T91" fmla="*/ 2147483647 h 1944"/>
                    <a:gd name="T92" fmla="*/ 2147483647 w 3918"/>
                    <a:gd name="T93" fmla="*/ 2147483647 h 1944"/>
                    <a:gd name="T94" fmla="*/ 2147483647 w 3918"/>
                    <a:gd name="T95" fmla="*/ 2147483647 h 1944"/>
                    <a:gd name="T96" fmla="*/ 2147483647 w 3918"/>
                    <a:gd name="T97" fmla="*/ 2147483647 h 1944"/>
                    <a:gd name="T98" fmla="*/ 2147483647 w 3918"/>
                    <a:gd name="T99" fmla="*/ 2147483647 h 1944"/>
                    <a:gd name="T100" fmla="*/ 2147483647 w 3918"/>
                    <a:gd name="T101" fmla="*/ 2147483647 h 1944"/>
                    <a:gd name="T102" fmla="*/ 2147483647 w 3918"/>
                    <a:gd name="T103" fmla="*/ 2147483647 h 1944"/>
                    <a:gd name="T104" fmla="*/ 2147483647 w 3918"/>
                    <a:gd name="T105" fmla="*/ 2147483647 h 1944"/>
                    <a:gd name="T106" fmla="*/ 2147483647 w 3918"/>
                    <a:gd name="T107" fmla="*/ 2147483647 h 1944"/>
                    <a:gd name="T108" fmla="*/ 2147483647 w 3918"/>
                    <a:gd name="T109" fmla="*/ 2147483647 h 1944"/>
                    <a:gd name="T110" fmla="*/ 2147483647 w 3918"/>
                    <a:gd name="T111" fmla="*/ 2147483647 h 1944"/>
                    <a:gd name="T112" fmla="*/ 2147483647 w 3918"/>
                    <a:gd name="T113" fmla="*/ 2147483647 h 1944"/>
                    <a:gd name="T114" fmla="*/ 2147483647 w 3918"/>
                    <a:gd name="T115" fmla="*/ 2147483647 h 1944"/>
                    <a:gd name="T116" fmla="*/ 2147483647 w 3918"/>
                    <a:gd name="T117" fmla="*/ 2147483647 h 1944"/>
                    <a:gd name="T118" fmla="*/ 2147483647 w 3918"/>
                    <a:gd name="T119" fmla="*/ 2147483647 h 1944"/>
                    <a:gd name="T120" fmla="*/ 2147483647 w 3918"/>
                    <a:gd name="T121" fmla="*/ 2147483647 h 1944"/>
                    <a:gd name="T122" fmla="*/ 2147483647 w 3918"/>
                    <a:gd name="T123" fmla="*/ 2147483647 h 1944"/>
                    <a:gd name="T124" fmla="*/ 2147483647 w 3918"/>
                    <a:gd name="T125" fmla="*/ 2147483647 h 19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18"/>
                    <a:gd name="T190" fmla="*/ 0 h 1944"/>
                    <a:gd name="T191" fmla="*/ 3918 w 3918"/>
                    <a:gd name="T192" fmla="*/ 1944 h 19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18" h="1944">
                      <a:moveTo>
                        <a:pt x="3858" y="168"/>
                      </a:moveTo>
                      <a:lnTo>
                        <a:pt x="3852" y="168"/>
                      </a:lnTo>
                      <a:lnTo>
                        <a:pt x="3846" y="162"/>
                      </a:lnTo>
                      <a:lnTo>
                        <a:pt x="3846" y="156"/>
                      </a:lnTo>
                      <a:lnTo>
                        <a:pt x="3840" y="150"/>
                      </a:lnTo>
                      <a:lnTo>
                        <a:pt x="3828" y="150"/>
                      </a:lnTo>
                      <a:lnTo>
                        <a:pt x="3804" y="174"/>
                      </a:lnTo>
                      <a:lnTo>
                        <a:pt x="3798" y="186"/>
                      </a:lnTo>
                      <a:lnTo>
                        <a:pt x="3756" y="210"/>
                      </a:lnTo>
                      <a:lnTo>
                        <a:pt x="3756" y="234"/>
                      </a:lnTo>
                      <a:lnTo>
                        <a:pt x="3744" y="246"/>
                      </a:lnTo>
                      <a:lnTo>
                        <a:pt x="3738" y="246"/>
                      </a:lnTo>
                      <a:lnTo>
                        <a:pt x="3726" y="258"/>
                      </a:lnTo>
                      <a:lnTo>
                        <a:pt x="3720" y="270"/>
                      </a:lnTo>
                      <a:lnTo>
                        <a:pt x="3720" y="294"/>
                      </a:lnTo>
                      <a:lnTo>
                        <a:pt x="3714" y="294"/>
                      </a:lnTo>
                      <a:lnTo>
                        <a:pt x="3708" y="288"/>
                      </a:lnTo>
                      <a:lnTo>
                        <a:pt x="3696" y="288"/>
                      </a:lnTo>
                      <a:lnTo>
                        <a:pt x="3690" y="294"/>
                      </a:lnTo>
                      <a:lnTo>
                        <a:pt x="3678" y="300"/>
                      </a:lnTo>
                      <a:lnTo>
                        <a:pt x="3666" y="312"/>
                      </a:lnTo>
                      <a:lnTo>
                        <a:pt x="3666" y="318"/>
                      </a:lnTo>
                      <a:lnTo>
                        <a:pt x="3660" y="318"/>
                      </a:lnTo>
                      <a:lnTo>
                        <a:pt x="3648" y="324"/>
                      </a:lnTo>
                      <a:lnTo>
                        <a:pt x="3630" y="324"/>
                      </a:lnTo>
                      <a:lnTo>
                        <a:pt x="3618" y="336"/>
                      </a:lnTo>
                      <a:lnTo>
                        <a:pt x="3618" y="342"/>
                      </a:lnTo>
                      <a:lnTo>
                        <a:pt x="3384" y="342"/>
                      </a:lnTo>
                      <a:lnTo>
                        <a:pt x="3372" y="354"/>
                      </a:lnTo>
                      <a:lnTo>
                        <a:pt x="3360" y="360"/>
                      </a:lnTo>
                      <a:lnTo>
                        <a:pt x="3336" y="384"/>
                      </a:lnTo>
                      <a:lnTo>
                        <a:pt x="3324" y="390"/>
                      </a:lnTo>
                      <a:lnTo>
                        <a:pt x="3312" y="402"/>
                      </a:lnTo>
                      <a:lnTo>
                        <a:pt x="3282" y="402"/>
                      </a:lnTo>
                      <a:lnTo>
                        <a:pt x="3282" y="408"/>
                      </a:lnTo>
                      <a:lnTo>
                        <a:pt x="3276" y="408"/>
                      </a:lnTo>
                      <a:lnTo>
                        <a:pt x="3282" y="414"/>
                      </a:lnTo>
                      <a:lnTo>
                        <a:pt x="3282" y="420"/>
                      </a:lnTo>
                      <a:lnTo>
                        <a:pt x="3288" y="426"/>
                      </a:lnTo>
                      <a:lnTo>
                        <a:pt x="3282" y="432"/>
                      </a:lnTo>
                      <a:lnTo>
                        <a:pt x="3282" y="438"/>
                      </a:lnTo>
                      <a:lnTo>
                        <a:pt x="3276" y="444"/>
                      </a:lnTo>
                      <a:lnTo>
                        <a:pt x="3270" y="456"/>
                      </a:lnTo>
                      <a:lnTo>
                        <a:pt x="3264" y="462"/>
                      </a:lnTo>
                      <a:lnTo>
                        <a:pt x="3264" y="468"/>
                      </a:lnTo>
                      <a:lnTo>
                        <a:pt x="3246" y="468"/>
                      </a:lnTo>
                      <a:lnTo>
                        <a:pt x="3246" y="474"/>
                      </a:lnTo>
                      <a:lnTo>
                        <a:pt x="3240" y="474"/>
                      </a:lnTo>
                      <a:lnTo>
                        <a:pt x="3228" y="480"/>
                      </a:lnTo>
                      <a:lnTo>
                        <a:pt x="3204" y="480"/>
                      </a:lnTo>
                      <a:lnTo>
                        <a:pt x="3198" y="474"/>
                      </a:lnTo>
                      <a:lnTo>
                        <a:pt x="3186" y="486"/>
                      </a:lnTo>
                      <a:lnTo>
                        <a:pt x="3162" y="486"/>
                      </a:lnTo>
                      <a:lnTo>
                        <a:pt x="3150" y="480"/>
                      </a:lnTo>
                      <a:lnTo>
                        <a:pt x="3144" y="474"/>
                      </a:lnTo>
                      <a:lnTo>
                        <a:pt x="3114" y="474"/>
                      </a:lnTo>
                      <a:lnTo>
                        <a:pt x="3096" y="486"/>
                      </a:lnTo>
                      <a:lnTo>
                        <a:pt x="3078" y="492"/>
                      </a:lnTo>
                      <a:lnTo>
                        <a:pt x="3072" y="492"/>
                      </a:lnTo>
                      <a:lnTo>
                        <a:pt x="3072" y="516"/>
                      </a:lnTo>
                      <a:lnTo>
                        <a:pt x="3066" y="522"/>
                      </a:lnTo>
                      <a:lnTo>
                        <a:pt x="3078" y="522"/>
                      </a:lnTo>
                      <a:lnTo>
                        <a:pt x="3066" y="528"/>
                      </a:lnTo>
                      <a:lnTo>
                        <a:pt x="3036" y="546"/>
                      </a:lnTo>
                      <a:lnTo>
                        <a:pt x="3000" y="564"/>
                      </a:lnTo>
                      <a:lnTo>
                        <a:pt x="2964" y="576"/>
                      </a:lnTo>
                      <a:lnTo>
                        <a:pt x="2946" y="588"/>
                      </a:lnTo>
                      <a:lnTo>
                        <a:pt x="2934" y="594"/>
                      </a:lnTo>
                      <a:lnTo>
                        <a:pt x="2928" y="594"/>
                      </a:lnTo>
                      <a:lnTo>
                        <a:pt x="2856" y="618"/>
                      </a:lnTo>
                      <a:lnTo>
                        <a:pt x="2850" y="624"/>
                      </a:lnTo>
                      <a:lnTo>
                        <a:pt x="2838" y="624"/>
                      </a:lnTo>
                      <a:lnTo>
                        <a:pt x="2826" y="630"/>
                      </a:lnTo>
                      <a:lnTo>
                        <a:pt x="2808" y="630"/>
                      </a:lnTo>
                      <a:lnTo>
                        <a:pt x="2802" y="636"/>
                      </a:lnTo>
                      <a:lnTo>
                        <a:pt x="2778" y="636"/>
                      </a:lnTo>
                      <a:lnTo>
                        <a:pt x="2772" y="630"/>
                      </a:lnTo>
                      <a:lnTo>
                        <a:pt x="2772" y="624"/>
                      </a:lnTo>
                      <a:lnTo>
                        <a:pt x="2760" y="624"/>
                      </a:lnTo>
                      <a:lnTo>
                        <a:pt x="2748" y="618"/>
                      </a:lnTo>
                      <a:lnTo>
                        <a:pt x="2736" y="606"/>
                      </a:lnTo>
                      <a:lnTo>
                        <a:pt x="2742" y="606"/>
                      </a:lnTo>
                      <a:lnTo>
                        <a:pt x="2748" y="600"/>
                      </a:lnTo>
                      <a:lnTo>
                        <a:pt x="2772" y="588"/>
                      </a:lnTo>
                      <a:lnTo>
                        <a:pt x="2772" y="582"/>
                      </a:lnTo>
                      <a:lnTo>
                        <a:pt x="2796" y="558"/>
                      </a:lnTo>
                      <a:lnTo>
                        <a:pt x="2832" y="540"/>
                      </a:lnTo>
                      <a:lnTo>
                        <a:pt x="2838" y="540"/>
                      </a:lnTo>
                      <a:lnTo>
                        <a:pt x="2844" y="534"/>
                      </a:lnTo>
                      <a:lnTo>
                        <a:pt x="2844" y="510"/>
                      </a:lnTo>
                      <a:lnTo>
                        <a:pt x="2850" y="504"/>
                      </a:lnTo>
                      <a:lnTo>
                        <a:pt x="2856" y="492"/>
                      </a:lnTo>
                      <a:lnTo>
                        <a:pt x="2850" y="486"/>
                      </a:lnTo>
                      <a:lnTo>
                        <a:pt x="2850" y="480"/>
                      </a:lnTo>
                      <a:lnTo>
                        <a:pt x="2856" y="468"/>
                      </a:lnTo>
                      <a:lnTo>
                        <a:pt x="2856" y="444"/>
                      </a:lnTo>
                      <a:lnTo>
                        <a:pt x="2862" y="432"/>
                      </a:lnTo>
                      <a:lnTo>
                        <a:pt x="2862" y="426"/>
                      </a:lnTo>
                      <a:lnTo>
                        <a:pt x="2856" y="420"/>
                      </a:lnTo>
                      <a:lnTo>
                        <a:pt x="2850" y="420"/>
                      </a:lnTo>
                      <a:lnTo>
                        <a:pt x="2844" y="426"/>
                      </a:lnTo>
                      <a:lnTo>
                        <a:pt x="2832" y="426"/>
                      </a:lnTo>
                      <a:lnTo>
                        <a:pt x="2814" y="444"/>
                      </a:lnTo>
                      <a:lnTo>
                        <a:pt x="2802" y="450"/>
                      </a:lnTo>
                      <a:lnTo>
                        <a:pt x="2796" y="456"/>
                      </a:lnTo>
                      <a:lnTo>
                        <a:pt x="2778" y="456"/>
                      </a:lnTo>
                      <a:lnTo>
                        <a:pt x="2772" y="450"/>
                      </a:lnTo>
                      <a:lnTo>
                        <a:pt x="2778" y="444"/>
                      </a:lnTo>
                      <a:lnTo>
                        <a:pt x="2784" y="432"/>
                      </a:lnTo>
                      <a:lnTo>
                        <a:pt x="2808" y="420"/>
                      </a:lnTo>
                      <a:lnTo>
                        <a:pt x="2826" y="402"/>
                      </a:lnTo>
                      <a:lnTo>
                        <a:pt x="2850" y="390"/>
                      </a:lnTo>
                      <a:lnTo>
                        <a:pt x="2856" y="384"/>
                      </a:lnTo>
                      <a:lnTo>
                        <a:pt x="2856" y="366"/>
                      </a:lnTo>
                      <a:lnTo>
                        <a:pt x="2850" y="360"/>
                      </a:lnTo>
                      <a:lnTo>
                        <a:pt x="2850" y="348"/>
                      </a:lnTo>
                      <a:lnTo>
                        <a:pt x="2856" y="348"/>
                      </a:lnTo>
                      <a:lnTo>
                        <a:pt x="2862" y="342"/>
                      </a:lnTo>
                      <a:lnTo>
                        <a:pt x="2868" y="330"/>
                      </a:lnTo>
                      <a:lnTo>
                        <a:pt x="2868" y="318"/>
                      </a:lnTo>
                      <a:lnTo>
                        <a:pt x="2862" y="312"/>
                      </a:lnTo>
                      <a:lnTo>
                        <a:pt x="2850" y="312"/>
                      </a:lnTo>
                      <a:lnTo>
                        <a:pt x="2838" y="306"/>
                      </a:lnTo>
                      <a:lnTo>
                        <a:pt x="2832" y="306"/>
                      </a:lnTo>
                      <a:lnTo>
                        <a:pt x="2826" y="294"/>
                      </a:lnTo>
                      <a:lnTo>
                        <a:pt x="2820" y="288"/>
                      </a:lnTo>
                      <a:lnTo>
                        <a:pt x="2820" y="282"/>
                      </a:lnTo>
                      <a:lnTo>
                        <a:pt x="2814" y="288"/>
                      </a:lnTo>
                      <a:lnTo>
                        <a:pt x="2808" y="288"/>
                      </a:lnTo>
                      <a:lnTo>
                        <a:pt x="2808" y="264"/>
                      </a:lnTo>
                      <a:lnTo>
                        <a:pt x="2844" y="270"/>
                      </a:lnTo>
                      <a:lnTo>
                        <a:pt x="2850" y="264"/>
                      </a:lnTo>
                      <a:lnTo>
                        <a:pt x="2850" y="246"/>
                      </a:lnTo>
                      <a:lnTo>
                        <a:pt x="2862" y="246"/>
                      </a:lnTo>
                      <a:lnTo>
                        <a:pt x="2868" y="228"/>
                      </a:lnTo>
                      <a:lnTo>
                        <a:pt x="2850" y="228"/>
                      </a:lnTo>
                      <a:lnTo>
                        <a:pt x="2844" y="240"/>
                      </a:lnTo>
                      <a:lnTo>
                        <a:pt x="2820" y="228"/>
                      </a:lnTo>
                      <a:lnTo>
                        <a:pt x="2820" y="210"/>
                      </a:lnTo>
                      <a:lnTo>
                        <a:pt x="2802" y="210"/>
                      </a:lnTo>
                      <a:lnTo>
                        <a:pt x="2790" y="216"/>
                      </a:lnTo>
                      <a:lnTo>
                        <a:pt x="2736" y="216"/>
                      </a:lnTo>
                      <a:lnTo>
                        <a:pt x="2724" y="222"/>
                      </a:lnTo>
                      <a:lnTo>
                        <a:pt x="2712" y="222"/>
                      </a:lnTo>
                      <a:lnTo>
                        <a:pt x="2700" y="228"/>
                      </a:lnTo>
                      <a:lnTo>
                        <a:pt x="2682" y="228"/>
                      </a:lnTo>
                      <a:lnTo>
                        <a:pt x="2658" y="216"/>
                      </a:lnTo>
                      <a:lnTo>
                        <a:pt x="2658" y="210"/>
                      </a:lnTo>
                      <a:lnTo>
                        <a:pt x="2652" y="204"/>
                      </a:lnTo>
                      <a:lnTo>
                        <a:pt x="2652" y="198"/>
                      </a:lnTo>
                      <a:lnTo>
                        <a:pt x="2646" y="192"/>
                      </a:lnTo>
                      <a:lnTo>
                        <a:pt x="2628" y="192"/>
                      </a:lnTo>
                      <a:lnTo>
                        <a:pt x="2622" y="198"/>
                      </a:lnTo>
                      <a:lnTo>
                        <a:pt x="2616" y="198"/>
                      </a:lnTo>
                      <a:lnTo>
                        <a:pt x="2610" y="192"/>
                      </a:lnTo>
                      <a:lnTo>
                        <a:pt x="2670" y="162"/>
                      </a:lnTo>
                      <a:lnTo>
                        <a:pt x="2658" y="150"/>
                      </a:lnTo>
                      <a:lnTo>
                        <a:pt x="2640" y="150"/>
                      </a:lnTo>
                      <a:lnTo>
                        <a:pt x="2628" y="162"/>
                      </a:lnTo>
                      <a:lnTo>
                        <a:pt x="2616" y="168"/>
                      </a:lnTo>
                      <a:lnTo>
                        <a:pt x="2610" y="174"/>
                      </a:lnTo>
                      <a:lnTo>
                        <a:pt x="2604" y="174"/>
                      </a:lnTo>
                      <a:lnTo>
                        <a:pt x="2580" y="186"/>
                      </a:lnTo>
                      <a:lnTo>
                        <a:pt x="2562" y="192"/>
                      </a:lnTo>
                      <a:lnTo>
                        <a:pt x="2538" y="204"/>
                      </a:lnTo>
                      <a:lnTo>
                        <a:pt x="2508" y="204"/>
                      </a:lnTo>
                      <a:lnTo>
                        <a:pt x="2496" y="216"/>
                      </a:lnTo>
                      <a:lnTo>
                        <a:pt x="2448" y="216"/>
                      </a:lnTo>
                      <a:lnTo>
                        <a:pt x="2448" y="210"/>
                      </a:lnTo>
                      <a:lnTo>
                        <a:pt x="2454" y="204"/>
                      </a:lnTo>
                      <a:lnTo>
                        <a:pt x="2460" y="204"/>
                      </a:lnTo>
                      <a:lnTo>
                        <a:pt x="2472" y="192"/>
                      </a:lnTo>
                      <a:lnTo>
                        <a:pt x="2460" y="192"/>
                      </a:lnTo>
                      <a:lnTo>
                        <a:pt x="2448" y="198"/>
                      </a:lnTo>
                      <a:lnTo>
                        <a:pt x="2412" y="198"/>
                      </a:lnTo>
                      <a:lnTo>
                        <a:pt x="2400" y="204"/>
                      </a:lnTo>
                      <a:lnTo>
                        <a:pt x="2394" y="210"/>
                      </a:lnTo>
                      <a:lnTo>
                        <a:pt x="2370" y="210"/>
                      </a:lnTo>
                      <a:lnTo>
                        <a:pt x="2370" y="198"/>
                      </a:lnTo>
                      <a:lnTo>
                        <a:pt x="2400" y="180"/>
                      </a:lnTo>
                      <a:lnTo>
                        <a:pt x="2442" y="168"/>
                      </a:lnTo>
                      <a:lnTo>
                        <a:pt x="2502" y="138"/>
                      </a:lnTo>
                      <a:lnTo>
                        <a:pt x="2520" y="126"/>
                      </a:lnTo>
                      <a:lnTo>
                        <a:pt x="2544" y="120"/>
                      </a:lnTo>
                      <a:lnTo>
                        <a:pt x="2574" y="114"/>
                      </a:lnTo>
                      <a:lnTo>
                        <a:pt x="2580" y="114"/>
                      </a:lnTo>
                      <a:lnTo>
                        <a:pt x="2592" y="108"/>
                      </a:lnTo>
                      <a:lnTo>
                        <a:pt x="2574" y="108"/>
                      </a:lnTo>
                      <a:lnTo>
                        <a:pt x="2562" y="102"/>
                      </a:lnTo>
                      <a:lnTo>
                        <a:pt x="2556" y="102"/>
                      </a:lnTo>
                      <a:lnTo>
                        <a:pt x="2556" y="96"/>
                      </a:lnTo>
                      <a:lnTo>
                        <a:pt x="2508" y="102"/>
                      </a:lnTo>
                      <a:lnTo>
                        <a:pt x="2508" y="84"/>
                      </a:lnTo>
                      <a:lnTo>
                        <a:pt x="2502" y="90"/>
                      </a:lnTo>
                      <a:lnTo>
                        <a:pt x="2490" y="96"/>
                      </a:lnTo>
                      <a:lnTo>
                        <a:pt x="2478" y="108"/>
                      </a:lnTo>
                      <a:lnTo>
                        <a:pt x="2466" y="108"/>
                      </a:lnTo>
                      <a:lnTo>
                        <a:pt x="2448" y="90"/>
                      </a:lnTo>
                      <a:lnTo>
                        <a:pt x="2418" y="90"/>
                      </a:lnTo>
                      <a:lnTo>
                        <a:pt x="2412" y="84"/>
                      </a:lnTo>
                      <a:lnTo>
                        <a:pt x="2412" y="78"/>
                      </a:lnTo>
                      <a:lnTo>
                        <a:pt x="2400" y="66"/>
                      </a:lnTo>
                      <a:lnTo>
                        <a:pt x="2388" y="60"/>
                      </a:lnTo>
                      <a:lnTo>
                        <a:pt x="2376" y="60"/>
                      </a:lnTo>
                      <a:lnTo>
                        <a:pt x="2364" y="72"/>
                      </a:lnTo>
                      <a:lnTo>
                        <a:pt x="2364" y="78"/>
                      </a:lnTo>
                      <a:lnTo>
                        <a:pt x="2352" y="78"/>
                      </a:lnTo>
                      <a:lnTo>
                        <a:pt x="2334" y="60"/>
                      </a:lnTo>
                      <a:lnTo>
                        <a:pt x="2322" y="60"/>
                      </a:lnTo>
                      <a:lnTo>
                        <a:pt x="2304" y="54"/>
                      </a:lnTo>
                      <a:lnTo>
                        <a:pt x="2292" y="48"/>
                      </a:lnTo>
                      <a:lnTo>
                        <a:pt x="2292" y="36"/>
                      </a:lnTo>
                      <a:lnTo>
                        <a:pt x="2298" y="24"/>
                      </a:lnTo>
                      <a:lnTo>
                        <a:pt x="2310" y="12"/>
                      </a:lnTo>
                      <a:lnTo>
                        <a:pt x="2298" y="0"/>
                      </a:lnTo>
                      <a:lnTo>
                        <a:pt x="2286" y="6"/>
                      </a:lnTo>
                      <a:lnTo>
                        <a:pt x="2280" y="12"/>
                      </a:lnTo>
                      <a:lnTo>
                        <a:pt x="2274" y="24"/>
                      </a:lnTo>
                      <a:lnTo>
                        <a:pt x="2274" y="30"/>
                      </a:lnTo>
                      <a:lnTo>
                        <a:pt x="2268" y="42"/>
                      </a:lnTo>
                      <a:lnTo>
                        <a:pt x="558" y="42"/>
                      </a:lnTo>
                      <a:lnTo>
                        <a:pt x="552" y="54"/>
                      </a:lnTo>
                      <a:lnTo>
                        <a:pt x="552" y="60"/>
                      </a:lnTo>
                      <a:lnTo>
                        <a:pt x="546" y="60"/>
                      </a:lnTo>
                      <a:lnTo>
                        <a:pt x="546" y="72"/>
                      </a:lnTo>
                      <a:lnTo>
                        <a:pt x="540" y="84"/>
                      </a:lnTo>
                      <a:lnTo>
                        <a:pt x="540" y="108"/>
                      </a:lnTo>
                      <a:lnTo>
                        <a:pt x="510" y="126"/>
                      </a:lnTo>
                      <a:lnTo>
                        <a:pt x="504" y="144"/>
                      </a:lnTo>
                      <a:lnTo>
                        <a:pt x="486" y="168"/>
                      </a:lnTo>
                      <a:lnTo>
                        <a:pt x="438" y="180"/>
                      </a:lnTo>
                      <a:lnTo>
                        <a:pt x="474" y="162"/>
                      </a:lnTo>
                      <a:lnTo>
                        <a:pt x="450" y="162"/>
                      </a:lnTo>
                      <a:lnTo>
                        <a:pt x="456" y="156"/>
                      </a:lnTo>
                      <a:lnTo>
                        <a:pt x="462" y="144"/>
                      </a:lnTo>
                      <a:lnTo>
                        <a:pt x="486" y="120"/>
                      </a:lnTo>
                      <a:lnTo>
                        <a:pt x="492" y="120"/>
                      </a:lnTo>
                      <a:lnTo>
                        <a:pt x="504" y="108"/>
                      </a:lnTo>
                      <a:lnTo>
                        <a:pt x="504" y="102"/>
                      </a:lnTo>
                      <a:lnTo>
                        <a:pt x="456" y="102"/>
                      </a:lnTo>
                      <a:lnTo>
                        <a:pt x="450" y="96"/>
                      </a:lnTo>
                      <a:lnTo>
                        <a:pt x="438" y="90"/>
                      </a:lnTo>
                      <a:lnTo>
                        <a:pt x="432" y="84"/>
                      </a:lnTo>
                      <a:lnTo>
                        <a:pt x="420" y="78"/>
                      </a:lnTo>
                      <a:lnTo>
                        <a:pt x="402" y="78"/>
                      </a:lnTo>
                      <a:lnTo>
                        <a:pt x="390" y="90"/>
                      </a:lnTo>
                      <a:lnTo>
                        <a:pt x="384" y="102"/>
                      </a:lnTo>
                      <a:lnTo>
                        <a:pt x="384" y="150"/>
                      </a:lnTo>
                      <a:lnTo>
                        <a:pt x="378" y="156"/>
                      </a:lnTo>
                      <a:lnTo>
                        <a:pt x="378" y="162"/>
                      </a:lnTo>
                      <a:lnTo>
                        <a:pt x="360" y="180"/>
                      </a:lnTo>
                      <a:lnTo>
                        <a:pt x="390" y="186"/>
                      </a:lnTo>
                      <a:lnTo>
                        <a:pt x="360" y="192"/>
                      </a:lnTo>
                      <a:lnTo>
                        <a:pt x="366" y="210"/>
                      </a:lnTo>
                      <a:lnTo>
                        <a:pt x="348" y="234"/>
                      </a:lnTo>
                      <a:lnTo>
                        <a:pt x="354" y="234"/>
                      </a:lnTo>
                      <a:lnTo>
                        <a:pt x="366" y="246"/>
                      </a:lnTo>
                      <a:lnTo>
                        <a:pt x="372" y="246"/>
                      </a:lnTo>
                      <a:lnTo>
                        <a:pt x="378" y="252"/>
                      </a:lnTo>
                      <a:lnTo>
                        <a:pt x="330" y="252"/>
                      </a:lnTo>
                      <a:lnTo>
                        <a:pt x="324" y="264"/>
                      </a:lnTo>
                      <a:lnTo>
                        <a:pt x="306" y="282"/>
                      </a:lnTo>
                      <a:lnTo>
                        <a:pt x="270" y="342"/>
                      </a:lnTo>
                      <a:lnTo>
                        <a:pt x="258" y="360"/>
                      </a:lnTo>
                      <a:lnTo>
                        <a:pt x="216" y="402"/>
                      </a:lnTo>
                      <a:lnTo>
                        <a:pt x="192" y="432"/>
                      </a:lnTo>
                      <a:lnTo>
                        <a:pt x="174" y="456"/>
                      </a:lnTo>
                      <a:lnTo>
                        <a:pt x="168" y="462"/>
                      </a:lnTo>
                      <a:lnTo>
                        <a:pt x="174" y="480"/>
                      </a:lnTo>
                      <a:lnTo>
                        <a:pt x="168" y="480"/>
                      </a:lnTo>
                      <a:lnTo>
                        <a:pt x="162" y="486"/>
                      </a:lnTo>
                      <a:lnTo>
                        <a:pt x="150" y="492"/>
                      </a:lnTo>
                      <a:lnTo>
                        <a:pt x="126" y="516"/>
                      </a:lnTo>
                      <a:lnTo>
                        <a:pt x="120" y="534"/>
                      </a:lnTo>
                      <a:lnTo>
                        <a:pt x="120" y="546"/>
                      </a:lnTo>
                      <a:lnTo>
                        <a:pt x="102" y="570"/>
                      </a:lnTo>
                      <a:lnTo>
                        <a:pt x="96" y="618"/>
                      </a:lnTo>
                      <a:lnTo>
                        <a:pt x="90" y="630"/>
                      </a:lnTo>
                      <a:lnTo>
                        <a:pt x="72" y="648"/>
                      </a:lnTo>
                      <a:lnTo>
                        <a:pt x="60" y="672"/>
                      </a:lnTo>
                      <a:lnTo>
                        <a:pt x="54" y="678"/>
                      </a:lnTo>
                      <a:lnTo>
                        <a:pt x="42" y="684"/>
                      </a:lnTo>
                      <a:lnTo>
                        <a:pt x="18" y="708"/>
                      </a:lnTo>
                      <a:lnTo>
                        <a:pt x="12" y="720"/>
                      </a:lnTo>
                      <a:lnTo>
                        <a:pt x="18" y="732"/>
                      </a:lnTo>
                      <a:lnTo>
                        <a:pt x="36" y="750"/>
                      </a:lnTo>
                      <a:lnTo>
                        <a:pt x="36" y="762"/>
                      </a:lnTo>
                      <a:lnTo>
                        <a:pt x="30" y="774"/>
                      </a:lnTo>
                      <a:lnTo>
                        <a:pt x="18" y="786"/>
                      </a:lnTo>
                      <a:lnTo>
                        <a:pt x="12" y="798"/>
                      </a:lnTo>
                      <a:lnTo>
                        <a:pt x="6" y="816"/>
                      </a:lnTo>
                      <a:lnTo>
                        <a:pt x="0" y="828"/>
                      </a:lnTo>
                      <a:lnTo>
                        <a:pt x="0" y="840"/>
                      </a:lnTo>
                      <a:lnTo>
                        <a:pt x="6" y="852"/>
                      </a:lnTo>
                      <a:lnTo>
                        <a:pt x="12" y="870"/>
                      </a:lnTo>
                      <a:lnTo>
                        <a:pt x="12" y="882"/>
                      </a:lnTo>
                      <a:lnTo>
                        <a:pt x="18" y="900"/>
                      </a:lnTo>
                      <a:lnTo>
                        <a:pt x="24" y="906"/>
                      </a:lnTo>
                      <a:lnTo>
                        <a:pt x="24" y="912"/>
                      </a:lnTo>
                      <a:lnTo>
                        <a:pt x="48" y="894"/>
                      </a:lnTo>
                      <a:lnTo>
                        <a:pt x="114" y="900"/>
                      </a:lnTo>
                      <a:lnTo>
                        <a:pt x="78" y="900"/>
                      </a:lnTo>
                      <a:lnTo>
                        <a:pt x="66" y="906"/>
                      </a:lnTo>
                      <a:lnTo>
                        <a:pt x="60" y="906"/>
                      </a:lnTo>
                      <a:lnTo>
                        <a:pt x="48" y="918"/>
                      </a:lnTo>
                      <a:lnTo>
                        <a:pt x="48" y="942"/>
                      </a:lnTo>
                      <a:lnTo>
                        <a:pt x="30" y="924"/>
                      </a:lnTo>
                      <a:lnTo>
                        <a:pt x="24" y="924"/>
                      </a:lnTo>
                      <a:lnTo>
                        <a:pt x="18" y="936"/>
                      </a:lnTo>
                      <a:lnTo>
                        <a:pt x="18" y="942"/>
                      </a:lnTo>
                      <a:lnTo>
                        <a:pt x="12" y="960"/>
                      </a:lnTo>
                      <a:lnTo>
                        <a:pt x="12" y="978"/>
                      </a:lnTo>
                      <a:lnTo>
                        <a:pt x="18" y="984"/>
                      </a:lnTo>
                      <a:lnTo>
                        <a:pt x="30" y="990"/>
                      </a:lnTo>
                      <a:lnTo>
                        <a:pt x="42" y="990"/>
                      </a:lnTo>
                      <a:lnTo>
                        <a:pt x="42" y="1002"/>
                      </a:lnTo>
                      <a:lnTo>
                        <a:pt x="36" y="1008"/>
                      </a:lnTo>
                      <a:lnTo>
                        <a:pt x="36" y="1014"/>
                      </a:lnTo>
                      <a:lnTo>
                        <a:pt x="18" y="1032"/>
                      </a:lnTo>
                      <a:lnTo>
                        <a:pt x="12" y="1044"/>
                      </a:lnTo>
                      <a:lnTo>
                        <a:pt x="12" y="1056"/>
                      </a:lnTo>
                      <a:lnTo>
                        <a:pt x="18" y="1068"/>
                      </a:lnTo>
                      <a:lnTo>
                        <a:pt x="24" y="1074"/>
                      </a:lnTo>
                      <a:lnTo>
                        <a:pt x="36" y="1098"/>
                      </a:lnTo>
                      <a:lnTo>
                        <a:pt x="42" y="1104"/>
                      </a:lnTo>
                      <a:lnTo>
                        <a:pt x="54" y="1128"/>
                      </a:lnTo>
                      <a:lnTo>
                        <a:pt x="60" y="1134"/>
                      </a:lnTo>
                      <a:lnTo>
                        <a:pt x="60" y="1146"/>
                      </a:lnTo>
                      <a:lnTo>
                        <a:pt x="54" y="1152"/>
                      </a:lnTo>
                      <a:lnTo>
                        <a:pt x="42" y="1176"/>
                      </a:lnTo>
                      <a:lnTo>
                        <a:pt x="36" y="1182"/>
                      </a:lnTo>
                      <a:lnTo>
                        <a:pt x="36" y="1188"/>
                      </a:lnTo>
                      <a:lnTo>
                        <a:pt x="42" y="1194"/>
                      </a:lnTo>
                      <a:lnTo>
                        <a:pt x="54" y="1194"/>
                      </a:lnTo>
                      <a:lnTo>
                        <a:pt x="72" y="1200"/>
                      </a:lnTo>
                      <a:lnTo>
                        <a:pt x="102" y="1200"/>
                      </a:lnTo>
                      <a:lnTo>
                        <a:pt x="102" y="1212"/>
                      </a:lnTo>
                      <a:lnTo>
                        <a:pt x="120" y="1230"/>
                      </a:lnTo>
                      <a:lnTo>
                        <a:pt x="132" y="1230"/>
                      </a:lnTo>
                      <a:lnTo>
                        <a:pt x="144" y="1224"/>
                      </a:lnTo>
                      <a:lnTo>
                        <a:pt x="150" y="1224"/>
                      </a:lnTo>
                      <a:lnTo>
                        <a:pt x="162" y="1218"/>
                      </a:lnTo>
                      <a:lnTo>
                        <a:pt x="168" y="1248"/>
                      </a:lnTo>
                      <a:lnTo>
                        <a:pt x="174" y="1248"/>
                      </a:lnTo>
                      <a:lnTo>
                        <a:pt x="180" y="1254"/>
                      </a:lnTo>
                      <a:lnTo>
                        <a:pt x="204" y="1266"/>
                      </a:lnTo>
                      <a:lnTo>
                        <a:pt x="216" y="1290"/>
                      </a:lnTo>
                      <a:lnTo>
                        <a:pt x="216" y="1314"/>
                      </a:lnTo>
                      <a:lnTo>
                        <a:pt x="210" y="1338"/>
                      </a:lnTo>
                      <a:lnTo>
                        <a:pt x="216" y="1344"/>
                      </a:lnTo>
                      <a:lnTo>
                        <a:pt x="360" y="1338"/>
                      </a:lnTo>
                      <a:lnTo>
                        <a:pt x="354" y="1344"/>
                      </a:lnTo>
                      <a:lnTo>
                        <a:pt x="354" y="1350"/>
                      </a:lnTo>
                      <a:lnTo>
                        <a:pt x="360" y="1350"/>
                      </a:lnTo>
                      <a:lnTo>
                        <a:pt x="570" y="1446"/>
                      </a:lnTo>
                      <a:lnTo>
                        <a:pt x="774" y="1446"/>
                      </a:lnTo>
                      <a:lnTo>
                        <a:pt x="774" y="1440"/>
                      </a:lnTo>
                      <a:lnTo>
                        <a:pt x="780" y="1428"/>
                      </a:lnTo>
                      <a:lnTo>
                        <a:pt x="780" y="1410"/>
                      </a:lnTo>
                      <a:lnTo>
                        <a:pt x="786" y="1404"/>
                      </a:lnTo>
                      <a:lnTo>
                        <a:pt x="900" y="1404"/>
                      </a:lnTo>
                      <a:lnTo>
                        <a:pt x="912" y="1416"/>
                      </a:lnTo>
                      <a:lnTo>
                        <a:pt x="912" y="1440"/>
                      </a:lnTo>
                      <a:lnTo>
                        <a:pt x="942" y="1452"/>
                      </a:lnTo>
                      <a:lnTo>
                        <a:pt x="948" y="1482"/>
                      </a:lnTo>
                      <a:lnTo>
                        <a:pt x="960" y="1482"/>
                      </a:lnTo>
                      <a:lnTo>
                        <a:pt x="972" y="1488"/>
                      </a:lnTo>
                      <a:lnTo>
                        <a:pt x="984" y="1500"/>
                      </a:lnTo>
                      <a:lnTo>
                        <a:pt x="990" y="1512"/>
                      </a:lnTo>
                      <a:lnTo>
                        <a:pt x="990" y="1554"/>
                      </a:lnTo>
                      <a:lnTo>
                        <a:pt x="984" y="1566"/>
                      </a:lnTo>
                      <a:lnTo>
                        <a:pt x="984" y="1578"/>
                      </a:lnTo>
                      <a:lnTo>
                        <a:pt x="1014" y="1608"/>
                      </a:lnTo>
                      <a:lnTo>
                        <a:pt x="1026" y="1614"/>
                      </a:lnTo>
                      <a:lnTo>
                        <a:pt x="1044" y="1626"/>
                      </a:lnTo>
                      <a:lnTo>
                        <a:pt x="1056" y="1626"/>
                      </a:lnTo>
                      <a:lnTo>
                        <a:pt x="1080" y="1614"/>
                      </a:lnTo>
                      <a:lnTo>
                        <a:pt x="1092" y="1602"/>
                      </a:lnTo>
                      <a:lnTo>
                        <a:pt x="1104" y="1578"/>
                      </a:lnTo>
                      <a:lnTo>
                        <a:pt x="1116" y="1566"/>
                      </a:lnTo>
                      <a:lnTo>
                        <a:pt x="1134" y="1566"/>
                      </a:lnTo>
                      <a:lnTo>
                        <a:pt x="1134" y="1560"/>
                      </a:lnTo>
                      <a:lnTo>
                        <a:pt x="1152" y="1566"/>
                      </a:lnTo>
                      <a:lnTo>
                        <a:pt x="1194" y="1566"/>
                      </a:lnTo>
                      <a:lnTo>
                        <a:pt x="1200" y="1578"/>
                      </a:lnTo>
                      <a:lnTo>
                        <a:pt x="1206" y="1584"/>
                      </a:lnTo>
                      <a:lnTo>
                        <a:pt x="1212" y="1596"/>
                      </a:lnTo>
                      <a:lnTo>
                        <a:pt x="1224" y="1608"/>
                      </a:lnTo>
                      <a:lnTo>
                        <a:pt x="1230" y="1620"/>
                      </a:lnTo>
                      <a:lnTo>
                        <a:pt x="1242" y="1632"/>
                      </a:lnTo>
                      <a:lnTo>
                        <a:pt x="1242" y="1656"/>
                      </a:lnTo>
                      <a:lnTo>
                        <a:pt x="1236" y="1668"/>
                      </a:lnTo>
                      <a:lnTo>
                        <a:pt x="1236" y="1680"/>
                      </a:lnTo>
                      <a:lnTo>
                        <a:pt x="1242" y="1692"/>
                      </a:lnTo>
                      <a:lnTo>
                        <a:pt x="1254" y="1698"/>
                      </a:lnTo>
                      <a:lnTo>
                        <a:pt x="1254" y="1722"/>
                      </a:lnTo>
                      <a:lnTo>
                        <a:pt x="1260" y="1728"/>
                      </a:lnTo>
                      <a:lnTo>
                        <a:pt x="1272" y="1734"/>
                      </a:lnTo>
                      <a:lnTo>
                        <a:pt x="1284" y="1746"/>
                      </a:lnTo>
                      <a:lnTo>
                        <a:pt x="1284" y="1752"/>
                      </a:lnTo>
                      <a:lnTo>
                        <a:pt x="1278" y="1758"/>
                      </a:lnTo>
                      <a:lnTo>
                        <a:pt x="1272" y="1758"/>
                      </a:lnTo>
                      <a:lnTo>
                        <a:pt x="1272" y="1794"/>
                      </a:lnTo>
                      <a:lnTo>
                        <a:pt x="1284" y="1806"/>
                      </a:lnTo>
                      <a:lnTo>
                        <a:pt x="1284" y="1836"/>
                      </a:lnTo>
                      <a:lnTo>
                        <a:pt x="1296" y="1848"/>
                      </a:lnTo>
                      <a:lnTo>
                        <a:pt x="1314" y="1854"/>
                      </a:lnTo>
                      <a:lnTo>
                        <a:pt x="1326" y="1854"/>
                      </a:lnTo>
                      <a:lnTo>
                        <a:pt x="1338" y="1866"/>
                      </a:lnTo>
                      <a:lnTo>
                        <a:pt x="1380" y="1866"/>
                      </a:lnTo>
                      <a:lnTo>
                        <a:pt x="1380" y="1872"/>
                      </a:lnTo>
                      <a:lnTo>
                        <a:pt x="1386" y="1884"/>
                      </a:lnTo>
                      <a:lnTo>
                        <a:pt x="1410" y="1884"/>
                      </a:lnTo>
                      <a:lnTo>
                        <a:pt x="1410" y="1878"/>
                      </a:lnTo>
                      <a:lnTo>
                        <a:pt x="1398" y="1806"/>
                      </a:lnTo>
                      <a:lnTo>
                        <a:pt x="1416" y="1788"/>
                      </a:lnTo>
                      <a:lnTo>
                        <a:pt x="1398" y="1776"/>
                      </a:lnTo>
                      <a:lnTo>
                        <a:pt x="1398" y="1758"/>
                      </a:lnTo>
                      <a:lnTo>
                        <a:pt x="1404" y="1764"/>
                      </a:lnTo>
                      <a:lnTo>
                        <a:pt x="1422" y="1764"/>
                      </a:lnTo>
                      <a:lnTo>
                        <a:pt x="1428" y="1758"/>
                      </a:lnTo>
                      <a:lnTo>
                        <a:pt x="1428" y="1728"/>
                      </a:lnTo>
                      <a:lnTo>
                        <a:pt x="1452" y="1722"/>
                      </a:lnTo>
                      <a:lnTo>
                        <a:pt x="1458" y="1698"/>
                      </a:lnTo>
                      <a:lnTo>
                        <a:pt x="1476" y="1704"/>
                      </a:lnTo>
                      <a:lnTo>
                        <a:pt x="1494" y="1692"/>
                      </a:lnTo>
                      <a:lnTo>
                        <a:pt x="1488" y="1668"/>
                      </a:lnTo>
                      <a:lnTo>
                        <a:pt x="1500" y="1680"/>
                      </a:lnTo>
                      <a:lnTo>
                        <a:pt x="1500" y="1668"/>
                      </a:lnTo>
                      <a:lnTo>
                        <a:pt x="1506" y="1656"/>
                      </a:lnTo>
                      <a:lnTo>
                        <a:pt x="1512" y="1650"/>
                      </a:lnTo>
                      <a:lnTo>
                        <a:pt x="1518" y="1650"/>
                      </a:lnTo>
                      <a:lnTo>
                        <a:pt x="1524" y="1656"/>
                      </a:lnTo>
                      <a:lnTo>
                        <a:pt x="1524" y="1668"/>
                      </a:lnTo>
                      <a:lnTo>
                        <a:pt x="1542" y="1668"/>
                      </a:lnTo>
                      <a:lnTo>
                        <a:pt x="1554" y="1662"/>
                      </a:lnTo>
                      <a:lnTo>
                        <a:pt x="1572" y="1656"/>
                      </a:lnTo>
                      <a:lnTo>
                        <a:pt x="1596" y="1644"/>
                      </a:lnTo>
                      <a:lnTo>
                        <a:pt x="1602" y="1638"/>
                      </a:lnTo>
                      <a:lnTo>
                        <a:pt x="1608" y="1626"/>
                      </a:lnTo>
                      <a:lnTo>
                        <a:pt x="1620" y="1620"/>
                      </a:lnTo>
                      <a:lnTo>
                        <a:pt x="1626" y="1608"/>
                      </a:lnTo>
                      <a:lnTo>
                        <a:pt x="1632" y="1602"/>
                      </a:lnTo>
                      <a:lnTo>
                        <a:pt x="1632" y="1590"/>
                      </a:lnTo>
                      <a:lnTo>
                        <a:pt x="1626" y="1584"/>
                      </a:lnTo>
                      <a:lnTo>
                        <a:pt x="1626" y="1566"/>
                      </a:lnTo>
                      <a:lnTo>
                        <a:pt x="1632" y="1566"/>
                      </a:lnTo>
                      <a:lnTo>
                        <a:pt x="1656" y="1578"/>
                      </a:lnTo>
                      <a:lnTo>
                        <a:pt x="1662" y="1584"/>
                      </a:lnTo>
                      <a:lnTo>
                        <a:pt x="1674" y="1590"/>
                      </a:lnTo>
                      <a:lnTo>
                        <a:pt x="1686" y="1590"/>
                      </a:lnTo>
                      <a:lnTo>
                        <a:pt x="1692" y="1584"/>
                      </a:lnTo>
                      <a:lnTo>
                        <a:pt x="1710" y="1548"/>
                      </a:lnTo>
                      <a:lnTo>
                        <a:pt x="1716" y="1548"/>
                      </a:lnTo>
                      <a:lnTo>
                        <a:pt x="1734" y="1566"/>
                      </a:lnTo>
                      <a:lnTo>
                        <a:pt x="1746" y="1566"/>
                      </a:lnTo>
                      <a:lnTo>
                        <a:pt x="1752" y="1560"/>
                      </a:lnTo>
                      <a:lnTo>
                        <a:pt x="1758" y="1548"/>
                      </a:lnTo>
                      <a:lnTo>
                        <a:pt x="1764" y="1542"/>
                      </a:lnTo>
                      <a:lnTo>
                        <a:pt x="1770" y="1554"/>
                      </a:lnTo>
                      <a:lnTo>
                        <a:pt x="1776" y="1560"/>
                      </a:lnTo>
                      <a:lnTo>
                        <a:pt x="1782" y="1572"/>
                      </a:lnTo>
                      <a:lnTo>
                        <a:pt x="1794" y="1578"/>
                      </a:lnTo>
                      <a:lnTo>
                        <a:pt x="1800" y="1584"/>
                      </a:lnTo>
                      <a:lnTo>
                        <a:pt x="1818" y="1584"/>
                      </a:lnTo>
                      <a:lnTo>
                        <a:pt x="1824" y="1578"/>
                      </a:lnTo>
                      <a:lnTo>
                        <a:pt x="1830" y="1566"/>
                      </a:lnTo>
                      <a:lnTo>
                        <a:pt x="1842" y="1554"/>
                      </a:lnTo>
                      <a:lnTo>
                        <a:pt x="1848" y="1554"/>
                      </a:lnTo>
                      <a:lnTo>
                        <a:pt x="1860" y="1560"/>
                      </a:lnTo>
                      <a:lnTo>
                        <a:pt x="1872" y="1572"/>
                      </a:lnTo>
                      <a:lnTo>
                        <a:pt x="1872" y="1584"/>
                      </a:lnTo>
                      <a:lnTo>
                        <a:pt x="1878" y="1596"/>
                      </a:lnTo>
                      <a:lnTo>
                        <a:pt x="1878" y="1614"/>
                      </a:lnTo>
                      <a:lnTo>
                        <a:pt x="1914" y="1614"/>
                      </a:lnTo>
                      <a:lnTo>
                        <a:pt x="1920" y="1620"/>
                      </a:lnTo>
                      <a:lnTo>
                        <a:pt x="1926" y="1620"/>
                      </a:lnTo>
                      <a:lnTo>
                        <a:pt x="1926" y="1608"/>
                      </a:lnTo>
                      <a:lnTo>
                        <a:pt x="1932" y="1602"/>
                      </a:lnTo>
                      <a:lnTo>
                        <a:pt x="1932" y="1608"/>
                      </a:lnTo>
                      <a:lnTo>
                        <a:pt x="1956" y="1632"/>
                      </a:lnTo>
                      <a:lnTo>
                        <a:pt x="1962" y="1626"/>
                      </a:lnTo>
                      <a:lnTo>
                        <a:pt x="1968" y="1614"/>
                      </a:lnTo>
                      <a:lnTo>
                        <a:pt x="1968" y="1596"/>
                      </a:lnTo>
                      <a:lnTo>
                        <a:pt x="1962" y="1584"/>
                      </a:lnTo>
                      <a:lnTo>
                        <a:pt x="1980" y="1590"/>
                      </a:lnTo>
                      <a:lnTo>
                        <a:pt x="1992" y="1608"/>
                      </a:lnTo>
                      <a:lnTo>
                        <a:pt x="2004" y="1614"/>
                      </a:lnTo>
                      <a:lnTo>
                        <a:pt x="2004" y="1626"/>
                      </a:lnTo>
                      <a:lnTo>
                        <a:pt x="2010" y="1626"/>
                      </a:lnTo>
                      <a:lnTo>
                        <a:pt x="2016" y="1632"/>
                      </a:lnTo>
                      <a:lnTo>
                        <a:pt x="2028" y="1632"/>
                      </a:lnTo>
                      <a:lnTo>
                        <a:pt x="2034" y="1626"/>
                      </a:lnTo>
                      <a:lnTo>
                        <a:pt x="2034" y="1620"/>
                      </a:lnTo>
                      <a:lnTo>
                        <a:pt x="2028" y="1608"/>
                      </a:lnTo>
                      <a:lnTo>
                        <a:pt x="2022" y="1602"/>
                      </a:lnTo>
                      <a:lnTo>
                        <a:pt x="2010" y="1596"/>
                      </a:lnTo>
                      <a:lnTo>
                        <a:pt x="2004" y="1590"/>
                      </a:lnTo>
                      <a:lnTo>
                        <a:pt x="1998" y="1578"/>
                      </a:lnTo>
                      <a:lnTo>
                        <a:pt x="2010" y="1578"/>
                      </a:lnTo>
                      <a:lnTo>
                        <a:pt x="2022" y="1566"/>
                      </a:lnTo>
                      <a:lnTo>
                        <a:pt x="2022" y="1554"/>
                      </a:lnTo>
                      <a:lnTo>
                        <a:pt x="2016" y="1548"/>
                      </a:lnTo>
                      <a:lnTo>
                        <a:pt x="1968" y="1548"/>
                      </a:lnTo>
                      <a:lnTo>
                        <a:pt x="1962" y="1542"/>
                      </a:lnTo>
                      <a:lnTo>
                        <a:pt x="1962" y="1530"/>
                      </a:lnTo>
                      <a:lnTo>
                        <a:pt x="1968" y="1524"/>
                      </a:lnTo>
                      <a:lnTo>
                        <a:pt x="1986" y="1524"/>
                      </a:lnTo>
                      <a:lnTo>
                        <a:pt x="1998" y="1530"/>
                      </a:lnTo>
                      <a:lnTo>
                        <a:pt x="2004" y="1530"/>
                      </a:lnTo>
                      <a:lnTo>
                        <a:pt x="2016" y="1536"/>
                      </a:lnTo>
                      <a:lnTo>
                        <a:pt x="2028" y="1536"/>
                      </a:lnTo>
                      <a:lnTo>
                        <a:pt x="2064" y="1518"/>
                      </a:lnTo>
                      <a:lnTo>
                        <a:pt x="2070" y="1512"/>
                      </a:lnTo>
                      <a:lnTo>
                        <a:pt x="2082" y="1512"/>
                      </a:lnTo>
                      <a:lnTo>
                        <a:pt x="2082" y="1518"/>
                      </a:lnTo>
                      <a:lnTo>
                        <a:pt x="2106" y="1518"/>
                      </a:lnTo>
                      <a:lnTo>
                        <a:pt x="2118" y="1512"/>
                      </a:lnTo>
                      <a:lnTo>
                        <a:pt x="2124" y="1512"/>
                      </a:lnTo>
                      <a:lnTo>
                        <a:pt x="2130" y="1506"/>
                      </a:lnTo>
                      <a:lnTo>
                        <a:pt x="2130" y="1500"/>
                      </a:lnTo>
                      <a:lnTo>
                        <a:pt x="2136" y="1488"/>
                      </a:lnTo>
                      <a:lnTo>
                        <a:pt x="2136" y="1482"/>
                      </a:lnTo>
                      <a:lnTo>
                        <a:pt x="2142" y="1482"/>
                      </a:lnTo>
                      <a:lnTo>
                        <a:pt x="2142" y="1488"/>
                      </a:lnTo>
                      <a:lnTo>
                        <a:pt x="2148" y="1500"/>
                      </a:lnTo>
                      <a:lnTo>
                        <a:pt x="2148" y="1524"/>
                      </a:lnTo>
                      <a:lnTo>
                        <a:pt x="2154" y="1524"/>
                      </a:lnTo>
                      <a:lnTo>
                        <a:pt x="2160" y="1518"/>
                      </a:lnTo>
                      <a:lnTo>
                        <a:pt x="2172" y="1512"/>
                      </a:lnTo>
                      <a:lnTo>
                        <a:pt x="2190" y="1512"/>
                      </a:lnTo>
                      <a:lnTo>
                        <a:pt x="2202" y="1506"/>
                      </a:lnTo>
                      <a:lnTo>
                        <a:pt x="2214" y="1506"/>
                      </a:lnTo>
                      <a:lnTo>
                        <a:pt x="2226" y="1512"/>
                      </a:lnTo>
                      <a:lnTo>
                        <a:pt x="2232" y="1524"/>
                      </a:lnTo>
                      <a:lnTo>
                        <a:pt x="2232" y="1506"/>
                      </a:lnTo>
                      <a:lnTo>
                        <a:pt x="2244" y="1506"/>
                      </a:lnTo>
                      <a:lnTo>
                        <a:pt x="2256" y="1518"/>
                      </a:lnTo>
                      <a:lnTo>
                        <a:pt x="2256" y="1530"/>
                      </a:lnTo>
                      <a:lnTo>
                        <a:pt x="2286" y="1524"/>
                      </a:lnTo>
                      <a:lnTo>
                        <a:pt x="2280" y="1536"/>
                      </a:lnTo>
                      <a:lnTo>
                        <a:pt x="2280" y="1548"/>
                      </a:lnTo>
                      <a:lnTo>
                        <a:pt x="2286" y="1554"/>
                      </a:lnTo>
                      <a:lnTo>
                        <a:pt x="2286" y="1566"/>
                      </a:lnTo>
                      <a:lnTo>
                        <a:pt x="2298" y="1578"/>
                      </a:lnTo>
                      <a:lnTo>
                        <a:pt x="2310" y="1578"/>
                      </a:lnTo>
                      <a:lnTo>
                        <a:pt x="2328" y="1572"/>
                      </a:lnTo>
                      <a:lnTo>
                        <a:pt x="2352" y="1548"/>
                      </a:lnTo>
                      <a:lnTo>
                        <a:pt x="2370" y="1542"/>
                      </a:lnTo>
                      <a:lnTo>
                        <a:pt x="2382" y="1542"/>
                      </a:lnTo>
                      <a:lnTo>
                        <a:pt x="2394" y="1548"/>
                      </a:lnTo>
                      <a:lnTo>
                        <a:pt x="2400" y="1554"/>
                      </a:lnTo>
                      <a:lnTo>
                        <a:pt x="2418" y="1590"/>
                      </a:lnTo>
                      <a:lnTo>
                        <a:pt x="2418" y="1602"/>
                      </a:lnTo>
                      <a:lnTo>
                        <a:pt x="2424" y="1608"/>
                      </a:lnTo>
                      <a:lnTo>
                        <a:pt x="2436" y="1614"/>
                      </a:lnTo>
                      <a:lnTo>
                        <a:pt x="2466" y="1614"/>
                      </a:lnTo>
                      <a:lnTo>
                        <a:pt x="2460" y="1656"/>
                      </a:lnTo>
                      <a:lnTo>
                        <a:pt x="2460" y="1662"/>
                      </a:lnTo>
                      <a:lnTo>
                        <a:pt x="2454" y="1668"/>
                      </a:lnTo>
                      <a:lnTo>
                        <a:pt x="2436" y="1704"/>
                      </a:lnTo>
                      <a:lnTo>
                        <a:pt x="2436" y="1710"/>
                      </a:lnTo>
                      <a:lnTo>
                        <a:pt x="2448" y="1722"/>
                      </a:lnTo>
                      <a:lnTo>
                        <a:pt x="2454" y="1722"/>
                      </a:lnTo>
                      <a:lnTo>
                        <a:pt x="2460" y="1734"/>
                      </a:lnTo>
                      <a:lnTo>
                        <a:pt x="2436" y="1758"/>
                      </a:lnTo>
                      <a:lnTo>
                        <a:pt x="2454" y="1806"/>
                      </a:lnTo>
                      <a:lnTo>
                        <a:pt x="2472" y="1788"/>
                      </a:lnTo>
                      <a:lnTo>
                        <a:pt x="2478" y="1788"/>
                      </a:lnTo>
                      <a:lnTo>
                        <a:pt x="2478" y="1794"/>
                      </a:lnTo>
                      <a:lnTo>
                        <a:pt x="2472" y="1800"/>
                      </a:lnTo>
                      <a:lnTo>
                        <a:pt x="2466" y="1812"/>
                      </a:lnTo>
                      <a:lnTo>
                        <a:pt x="2466" y="1818"/>
                      </a:lnTo>
                      <a:lnTo>
                        <a:pt x="2460" y="1830"/>
                      </a:lnTo>
                      <a:lnTo>
                        <a:pt x="2478" y="1830"/>
                      </a:lnTo>
                      <a:lnTo>
                        <a:pt x="2478" y="1878"/>
                      </a:lnTo>
                      <a:lnTo>
                        <a:pt x="2496" y="1878"/>
                      </a:lnTo>
                      <a:lnTo>
                        <a:pt x="2502" y="1884"/>
                      </a:lnTo>
                      <a:lnTo>
                        <a:pt x="2508" y="1884"/>
                      </a:lnTo>
                      <a:lnTo>
                        <a:pt x="2508" y="1896"/>
                      </a:lnTo>
                      <a:lnTo>
                        <a:pt x="2502" y="1908"/>
                      </a:lnTo>
                      <a:lnTo>
                        <a:pt x="2502" y="1920"/>
                      </a:lnTo>
                      <a:lnTo>
                        <a:pt x="2526" y="1944"/>
                      </a:lnTo>
                      <a:lnTo>
                        <a:pt x="2532" y="1944"/>
                      </a:lnTo>
                      <a:lnTo>
                        <a:pt x="2538" y="1938"/>
                      </a:lnTo>
                      <a:lnTo>
                        <a:pt x="2550" y="1932"/>
                      </a:lnTo>
                      <a:lnTo>
                        <a:pt x="2556" y="1932"/>
                      </a:lnTo>
                      <a:lnTo>
                        <a:pt x="2562" y="1926"/>
                      </a:lnTo>
                      <a:lnTo>
                        <a:pt x="2568" y="1914"/>
                      </a:lnTo>
                      <a:lnTo>
                        <a:pt x="2568" y="1896"/>
                      </a:lnTo>
                      <a:lnTo>
                        <a:pt x="2586" y="1896"/>
                      </a:lnTo>
                      <a:lnTo>
                        <a:pt x="2586" y="1872"/>
                      </a:lnTo>
                      <a:lnTo>
                        <a:pt x="2604" y="1836"/>
                      </a:lnTo>
                      <a:lnTo>
                        <a:pt x="2604" y="1818"/>
                      </a:lnTo>
                      <a:lnTo>
                        <a:pt x="2610" y="1806"/>
                      </a:lnTo>
                      <a:lnTo>
                        <a:pt x="2610" y="1794"/>
                      </a:lnTo>
                      <a:lnTo>
                        <a:pt x="2604" y="1782"/>
                      </a:lnTo>
                      <a:lnTo>
                        <a:pt x="2604" y="1770"/>
                      </a:lnTo>
                      <a:lnTo>
                        <a:pt x="2598" y="1752"/>
                      </a:lnTo>
                      <a:lnTo>
                        <a:pt x="2592" y="1740"/>
                      </a:lnTo>
                      <a:lnTo>
                        <a:pt x="2586" y="1722"/>
                      </a:lnTo>
                      <a:lnTo>
                        <a:pt x="2586" y="1704"/>
                      </a:lnTo>
                      <a:lnTo>
                        <a:pt x="2592" y="1686"/>
                      </a:lnTo>
                      <a:lnTo>
                        <a:pt x="2598" y="1674"/>
                      </a:lnTo>
                      <a:lnTo>
                        <a:pt x="2598" y="1644"/>
                      </a:lnTo>
                      <a:lnTo>
                        <a:pt x="2592" y="1626"/>
                      </a:lnTo>
                      <a:lnTo>
                        <a:pt x="2586" y="1614"/>
                      </a:lnTo>
                      <a:lnTo>
                        <a:pt x="2580" y="1596"/>
                      </a:lnTo>
                      <a:lnTo>
                        <a:pt x="2574" y="1584"/>
                      </a:lnTo>
                      <a:lnTo>
                        <a:pt x="2574" y="1518"/>
                      </a:lnTo>
                      <a:lnTo>
                        <a:pt x="2580" y="1488"/>
                      </a:lnTo>
                      <a:lnTo>
                        <a:pt x="2586" y="1470"/>
                      </a:lnTo>
                      <a:lnTo>
                        <a:pt x="2598" y="1452"/>
                      </a:lnTo>
                      <a:lnTo>
                        <a:pt x="2604" y="1440"/>
                      </a:lnTo>
                      <a:lnTo>
                        <a:pt x="2610" y="1422"/>
                      </a:lnTo>
                      <a:lnTo>
                        <a:pt x="2616" y="1416"/>
                      </a:lnTo>
                      <a:lnTo>
                        <a:pt x="2616" y="1410"/>
                      </a:lnTo>
                      <a:lnTo>
                        <a:pt x="2628" y="1398"/>
                      </a:lnTo>
                      <a:lnTo>
                        <a:pt x="2652" y="1380"/>
                      </a:lnTo>
                      <a:lnTo>
                        <a:pt x="2658" y="1356"/>
                      </a:lnTo>
                      <a:lnTo>
                        <a:pt x="2670" y="1368"/>
                      </a:lnTo>
                      <a:lnTo>
                        <a:pt x="2676" y="1344"/>
                      </a:lnTo>
                      <a:lnTo>
                        <a:pt x="2730" y="1344"/>
                      </a:lnTo>
                      <a:lnTo>
                        <a:pt x="2730" y="1314"/>
                      </a:lnTo>
                      <a:lnTo>
                        <a:pt x="2748" y="1320"/>
                      </a:lnTo>
                      <a:lnTo>
                        <a:pt x="2754" y="1308"/>
                      </a:lnTo>
                      <a:lnTo>
                        <a:pt x="2772" y="1308"/>
                      </a:lnTo>
                      <a:lnTo>
                        <a:pt x="2796" y="1278"/>
                      </a:lnTo>
                      <a:lnTo>
                        <a:pt x="2796" y="1272"/>
                      </a:lnTo>
                      <a:lnTo>
                        <a:pt x="2802" y="1266"/>
                      </a:lnTo>
                      <a:lnTo>
                        <a:pt x="2814" y="1242"/>
                      </a:lnTo>
                      <a:lnTo>
                        <a:pt x="2832" y="1236"/>
                      </a:lnTo>
                      <a:lnTo>
                        <a:pt x="2862" y="1236"/>
                      </a:lnTo>
                      <a:lnTo>
                        <a:pt x="2874" y="1242"/>
                      </a:lnTo>
                      <a:lnTo>
                        <a:pt x="2886" y="1242"/>
                      </a:lnTo>
                      <a:lnTo>
                        <a:pt x="2892" y="1236"/>
                      </a:lnTo>
                      <a:lnTo>
                        <a:pt x="2904" y="1212"/>
                      </a:lnTo>
                      <a:lnTo>
                        <a:pt x="2910" y="1206"/>
                      </a:lnTo>
                      <a:lnTo>
                        <a:pt x="2916" y="1194"/>
                      </a:lnTo>
                      <a:lnTo>
                        <a:pt x="2928" y="1200"/>
                      </a:lnTo>
                      <a:lnTo>
                        <a:pt x="2934" y="1176"/>
                      </a:lnTo>
                      <a:lnTo>
                        <a:pt x="3018" y="1170"/>
                      </a:lnTo>
                      <a:lnTo>
                        <a:pt x="3024" y="1146"/>
                      </a:lnTo>
                      <a:lnTo>
                        <a:pt x="2982" y="1152"/>
                      </a:lnTo>
                      <a:lnTo>
                        <a:pt x="2988" y="1146"/>
                      </a:lnTo>
                      <a:lnTo>
                        <a:pt x="3000" y="1140"/>
                      </a:lnTo>
                      <a:lnTo>
                        <a:pt x="3006" y="1140"/>
                      </a:lnTo>
                      <a:lnTo>
                        <a:pt x="3006" y="1134"/>
                      </a:lnTo>
                      <a:lnTo>
                        <a:pt x="3000" y="1128"/>
                      </a:lnTo>
                      <a:lnTo>
                        <a:pt x="2994" y="1116"/>
                      </a:lnTo>
                      <a:lnTo>
                        <a:pt x="2988" y="1110"/>
                      </a:lnTo>
                      <a:lnTo>
                        <a:pt x="3024" y="1104"/>
                      </a:lnTo>
                      <a:lnTo>
                        <a:pt x="3048" y="1116"/>
                      </a:lnTo>
                      <a:lnTo>
                        <a:pt x="3078" y="1080"/>
                      </a:lnTo>
                      <a:lnTo>
                        <a:pt x="3024" y="1074"/>
                      </a:lnTo>
                      <a:lnTo>
                        <a:pt x="3024" y="1050"/>
                      </a:lnTo>
                      <a:lnTo>
                        <a:pt x="3036" y="1062"/>
                      </a:lnTo>
                      <a:lnTo>
                        <a:pt x="3078" y="1050"/>
                      </a:lnTo>
                      <a:lnTo>
                        <a:pt x="3084" y="990"/>
                      </a:lnTo>
                      <a:lnTo>
                        <a:pt x="3054" y="1002"/>
                      </a:lnTo>
                      <a:lnTo>
                        <a:pt x="3048" y="972"/>
                      </a:lnTo>
                      <a:lnTo>
                        <a:pt x="3024" y="960"/>
                      </a:lnTo>
                      <a:lnTo>
                        <a:pt x="3072" y="978"/>
                      </a:lnTo>
                      <a:lnTo>
                        <a:pt x="3078" y="972"/>
                      </a:lnTo>
                      <a:lnTo>
                        <a:pt x="3060" y="954"/>
                      </a:lnTo>
                      <a:lnTo>
                        <a:pt x="3090" y="954"/>
                      </a:lnTo>
                      <a:lnTo>
                        <a:pt x="3084" y="948"/>
                      </a:lnTo>
                      <a:lnTo>
                        <a:pt x="3078" y="936"/>
                      </a:lnTo>
                      <a:lnTo>
                        <a:pt x="3060" y="918"/>
                      </a:lnTo>
                      <a:lnTo>
                        <a:pt x="3054" y="906"/>
                      </a:lnTo>
                      <a:lnTo>
                        <a:pt x="3054" y="894"/>
                      </a:lnTo>
                      <a:lnTo>
                        <a:pt x="3060" y="888"/>
                      </a:lnTo>
                      <a:lnTo>
                        <a:pt x="3042" y="870"/>
                      </a:lnTo>
                      <a:lnTo>
                        <a:pt x="3042" y="864"/>
                      </a:lnTo>
                      <a:lnTo>
                        <a:pt x="3048" y="864"/>
                      </a:lnTo>
                      <a:lnTo>
                        <a:pt x="3066" y="846"/>
                      </a:lnTo>
                      <a:lnTo>
                        <a:pt x="3072" y="846"/>
                      </a:lnTo>
                      <a:lnTo>
                        <a:pt x="3066" y="870"/>
                      </a:lnTo>
                      <a:lnTo>
                        <a:pt x="3096" y="894"/>
                      </a:lnTo>
                      <a:lnTo>
                        <a:pt x="3096" y="888"/>
                      </a:lnTo>
                      <a:lnTo>
                        <a:pt x="3102" y="882"/>
                      </a:lnTo>
                      <a:lnTo>
                        <a:pt x="3102" y="864"/>
                      </a:lnTo>
                      <a:lnTo>
                        <a:pt x="3108" y="852"/>
                      </a:lnTo>
                      <a:lnTo>
                        <a:pt x="3108" y="834"/>
                      </a:lnTo>
                      <a:lnTo>
                        <a:pt x="3114" y="822"/>
                      </a:lnTo>
                      <a:lnTo>
                        <a:pt x="3144" y="792"/>
                      </a:lnTo>
                      <a:lnTo>
                        <a:pt x="3156" y="786"/>
                      </a:lnTo>
                      <a:lnTo>
                        <a:pt x="3162" y="786"/>
                      </a:lnTo>
                      <a:lnTo>
                        <a:pt x="3162" y="792"/>
                      </a:lnTo>
                      <a:lnTo>
                        <a:pt x="3150" y="816"/>
                      </a:lnTo>
                      <a:lnTo>
                        <a:pt x="3132" y="834"/>
                      </a:lnTo>
                      <a:lnTo>
                        <a:pt x="3126" y="846"/>
                      </a:lnTo>
                      <a:lnTo>
                        <a:pt x="3120" y="882"/>
                      </a:lnTo>
                      <a:lnTo>
                        <a:pt x="3138" y="882"/>
                      </a:lnTo>
                      <a:lnTo>
                        <a:pt x="3138" y="894"/>
                      </a:lnTo>
                      <a:lnTo>
                        <a:pt x="3132" y="906"/>
                      </a:lnTo>
                      <a:lnTo>
                        <a:pt x="3132" y="918"/>
                      </a:lnTo>
                      <a:lnTo>
                        <a:pt x="3114" y="936"/>
                      </a:lnTo>
                      <a:lnTo>
                        <a:pt x="3102" y="960"/>
                      </a:lnTo>
                      <a:lnTo>
                        <a:pt x="3102" y="978"/>
                      </a:lnTo>
                      <a:lnTo>
                        <a:pt x="3126" y="954"/>
                      </a:lnTo>
                      <a:lnTo>
                        <a:pt x="3132" y="942"/>
                      </a:lnTo>
                      <a:lnTo>
                        <a:pt x="3144" y="930"/>
                      </a:lnTo>
                      <a:lnTo>
                        <a:pt x="3168" y="918"/>
                      </a:lnTo>
                      <a:lnTo>
                        <a:pt x="3180" y="906"/>
                      </a:lnTo>
                      <a:lnTo>
                        <a:pt x="3192" y="882"/>
                      </a:lnTo>
                      <a:lnTo>
                        <a:pt x="3192" y="798"/>
                      </a:lnTo>
                      <a:lnTo>
                        <a:pt x="3198" y="780"/>
                      </a:lnTo>
                      <a:lnTo>
                        <a:pt x="3198" y="768"/>
                      </a:lnTo>
                      <a:lnTo>
                        <a:pt x="3204" y="756"/>
                      </a:lnTo>
                      <a:lnTo>
                        <a:pt x="3210" y="756"/>
                      </a:lnTo>
                      <a:lnTo>
                        <a:pt x="3210" y="768"/>
                      </a:lnTo>
                      <a:lnTo>
                        <a:pt x="3204" y="780"/>
                      </a:lnTo>
                      <a:lnTo>
                        <a:pt x="3204" y="798"/>
                      </a:lnTo>
                      <a:lnTo>
                        <a:pt x="3210" y="798"/>
                      </a:lnTo>
                      <a:lnTo>
                        <a:pt x="3216" y="804"/>
                      </a:lnTo>
                      <a:lnTo>
                        <a:pt x="3216" y="840"/>
                      </a:lnTo>
                      <a:lnTo>
                        <a:pt x="3234" y="822"/>
                      </a:lnTo>
                      <a:lnTo>
                        <a:pt x="3240" y="810"/>
                      </a:lnTo>
                      <a:lnTo>
                        <a:pt x="3288" y="762"/>
                      </a:lnTo>
                      <a:lnTo>
                        <a:pt x="3300" y="756"/>
                      </a:lnTo>
                      <a:lnTo>
                        <a:pt x="3324" y="732"/>
                      </a:lnTo>
                      <a:lnTo>
                        <a:pt x="3324" y="726"/>
                      </a:lnTo>
                      <a:lnTo>
                        <a:pt x="3318" y="720"/>
                      </a:lnTo>
                      <a:lnTo>
                        <a:pt x="3312" y="720"/>
                      </a:lnTo>
                      <a:lnTo>
                        <a:pt x="3306" y="714"/>
                      </a:lnTo>
                      <a:lnTo>
                        <a:pt x="3306" y="702"/>
                      </a:lnTo>
                      <a:lnTo>
                        <a:pt x="3312" y="696"/>
                      </a:lnTo>
                      <a:lnTo>
                        <a:pt x="3324" y="696"/>
                      </a:lnTo>
                      <a:lnTo>
                        <a:pt x="3330" y="702"/>
                      </a:lnTo>
                      <a:lnTo>
                        <a:pt x="3360" y="702"/>
                      </a:lnTo>
                      <a:lnTo>
                        <a:pt x="3390" y="696"/>
                      </a:lnTo>
                      <a:lnTo>
                        <a:pt x="3450" y="672"/>
                      </a:lnTo>
                      <a:lnTo>
                        <a:pt x="3462" y="666"/>
                      </a:lnTo>
                      <a:lnTo>
                        <a:pt x="3444" y="660"/>
                      </a:lnTo>
                      <a:lnTo>
                        <a:pt x="3438" y="660"/>
                      </a:lnTo>
                      <a:lnTo>
                        <a:pt x="3432" y="666"/>
                      </a:lnTo>
                      <a:lnTo>
                        <a:pt x="3414" y="672"/>
                      </a:lnTo>
                      <a:lnTo>
                        <a:pt x="3402" y="672"/>
                      </a:lnTo>
                      <a:lnTo>
                        <a:pt x="3390" y="678"/>
                      </a:lnTo>
                      <a:lnTo>
                        <a:pt x="3372" y="678"/>
                      </a:lnTo>
                      <a:lnTo>
                        <a:pt x="3360" y="684"/>
                      </a:lnTo>
                      <a:lnTo>
                        <a:pt x="3348" y="684"/>
                      </a:lnTo>
                      <a:lnTo>
                        <a:pt x="3342" y="678"/>
                      </a:lnTo>
                      <a:lnTo>
                        <a:pt x="3342" y="672"/>
                      </a:lnTo>
                      <a:lnTo>
                        <a:pt x="3348" y="666"/>
                      </a:lnTo>
                      <a:lnTo>
                        <a:pt x="3354" y="654"/>
                      </a:lnTo>
                      <a:lnTo>
                        <a:pt x="3366" y="654"/>
                      </a:lnTo>
                      <a:lnTo>
                        <a:pt x="3378" y="648"/>
                      </a:lnTo>
                      <a:lnTo>
                        <a:pt x="3402" y="648"/>
                      </a:lnTo>
                      <a:lnTo>
                        <a:pt x="3492" y="642"/>
                      </a:lnTo>
                      <a:lnTo>
                        <a:pt x="3534" y="606"/>
                      </a:lnTo>
                      <a:lnTo>
                        <a:pt x="3546" y="618"/>
                      </a:lnTo>
                      <a:lnTo>
                        <a:pt x="3570" y="606"/>
                      </a:lnTo>
                      <a:lnTo>
                        <a:pt x="3570" y="642"/>
                      </a:lnTo>
                      <a:lnTo>
                        <a:pt x="3600" y="618"/>
                      </a:lnTo>
                      <a:lnTo>
                        <a:pt x="3624" y="612"/>
                      </a:lnTo>
                      <a:lnTo>
                        <a:pt x="3630" y="582"/>
                      </a:lnTo>
                      <a:lnTo>
                        <a:pt x="3618" y="570"/>
                      </a:lnTo>
                      <a:lnTo>
                        <a:pt x="3612" y="600"/>
                      </a:lnTo>
                      <a:lnTo>
                        <a:pt x="3588" y="600"/>
                      </a:lnTo>
                      <a:lnTo>
                        <a:pt x="3588" y="576"/>
                      </a:lnTo>
                      <a:lnTo>
                        <a:pt x="3570" y="552"/>
                      </a:lnTo>
                      <a:lnTo>
                        <a:pt x="3594" y="540"/>
                      </a:lnTo>
                      <a:lnTo>
                        <a:pt x="3600" y="504"/>
                      </a:lnTo>
                      <a:lnTo>
                        <a:pt x="3612" y="498"/>
                      </a:lnTo>
                      <a:lnTo>
                        <a:pt x="3618" y="486"/>
                      </a:lnTo>
                      <a:lnTo>
                        <a:pt x="3630" y="480"/>
                      </a:lnTo>
                      <a:lnTo>
                        <a:pt x="3636" y="474"/>
                      </a:lnTo>
                      <a:lnTo>
                        <a:pt x="3648" y="468"/>
                      </a:lnTo>
                      <a:lnTo>
                        <a:pt x="3654" y="456"/>
                      </a:lnTo>
                      <a:lnTo>
                        <a:pt x="3654" y="450"/>
                      </a:lnTo>
                      <a:lnTo>
                        <a:pt x="3660" y="444"/>
                      </a:lnTo>
                      <a:lnTo>
                        <a:pt x="3660" y="438"/>
                      </a:lnTo>
                      <a:lnTo>
                        <a:pt x="3690" y="444"/>
                      </a:lnTo>
                      <a:lnTo>
                        <a:pt x="3702" y="426"/>
                      </a:lnTo>
                      <a:lnTo>
                        <a:pt x="3708" y="432"/>
                      </a:lnTo>
                      <a:lnTo>
                        <a:pt x="3720" y="432"/>
                      </a:lnTo>
                      <a:lnTo>
                        <a:pt x="3726" y="426"/>
                      </a:lnTo>
                      <a:lnTo>
                        <a:pt x="3738" y="420"/>
                      </a:lnTo>
                      <a:lnTo>
                        <a:pt x="3744" y="408"/>
                      </a:lnTo>
                      <a:lnTo>
                        <a:pt x="3756" y="402"/>
                      </a:lnTo>
                      <a:lnTo>
                        <a:pt x="3774" y="384"/>
                      </a:lnTo>
                      <a:lnTo>
                        <a:pt x="3774" y="414"/>
                      </a:lnTo>
                      <a:lnTo>
                        <a:pt x="3786" y="408"/>
                      </a:lnTo>
                      <a:lnTo>
                        <a:pt x="3792" y="402"/>
                      </a:lnTo>
                      <a:lnTo>
                        <a:pt x="3828" y="384"/>
                      </a:lnTo>
                      <a:lnTo>
                        <a:pt x="3834" y="378"/>
                      </a:lnTo>
                      <a:lnTo>
                        <a:pt x="3846" y="378"/>
                      </a:lnTo>
                      <a:lnTo>
                        <a:pt x="3858" y="372"/>
                      </a:lnTo>
                      <a:lnTo>
                        <a:pt x="3876" y="372"/>
                      </a:lnTo>
                      <a:lnTo>
                        <a:pt x="3888" y="366"/>
                      </a:lnTo>
                      <a:lnTo>
                        <a:pt x="3900" y="366"/>
                      </a:lnTo>
                      <a:lnTo>
                        <a:pt x="3900" y="330"/>
                      </a:lnTo>
                      <a:lnTo>
                        <a:pt x="3876" y="330"/>
                      </a:lnTo>
                      <a:lnTo>
                        <a:pt x="3876" y="324"/>
                      </a:lnTo>
                      <a:lnTo>
                        <a:pt x="3882" y="312"/>
                      </a:lnTo>
                      <a:lnTo>
                        <a:pt x="3894" y="300"/>
                      </a:lnTo>
                      <a:lnTo>
                        <a:pt x="3888" y="294"/>
                      </a:lnTo>
                      <a:lnTo>
                        <a:pt x="3882" y="294"/>
                      </a:lnTo>
                      <a:lnTo>
                        <a:pt x="3876" y="288"/>
                      </a:lnTo>
                      <a:lnTo>
                        <a:pt x="3876" y="276"/>
                      </a:lnTo>
                      <a:lnTo>
                        <a:pt x="3888" y="252"/>
                      </a:lnTo>
                      <a:lnTo>
                        <a:pt x="3900" y="222"/>
                      </a:lnTo>
                      <a:lnTo>
                        <a:pt x="3912" y="198"/>
                      </a:lnTo>
                      <a:lnTo>
                        <a:pt x="3918" y="174"/>
                      </a:lnTo>
                      <a:lnTo>
                        <a:pt x="3918" y="168"/>
                      </a:lnTo>
                      <a:lnTo>
                        <a:pt x="3912" y="162"/>
                      </a:lnTo>
                      <a:lnTo>
                        <a:pt x="3876" y="162"/>
                      </a:lnTo>
                      <a:lnTo>
                        <a:pt x="3864" y="168"/>
                      </a:lnTo>
                      <a:lnTo>
                        <a:pt x="3858" y="168"/>
                      </a:lnTo>
                      <a:close/>
                      <a:moveTo>
                        <a:pt x="2718" y="366"/>
                      </a:moveTo>
                      <a:lnTo>
                        <a:pt x="2712" y="366"/>
                      </a:lnTo>
                      <a:lnTo>
                        <a:pt x="2712" y="354"/>
                      </a:lnTo>
                      <a:lnTo>
                        <a:pt x="2718" y="348"/>
                      </a:lnTo>
                      <a:lnTo>
                        <a:pt x="2718" y="336"/>
                      </a:lnTo>
                      <a:lnTo>
                        <a:pt x="2712" y="336"/>
                      </a:lnTo>
                      <a:lnTo>
                        <a:pt x="2700" y="342"/>
                      </a:lnTo>
                      <a:lnTo>
                        <a:pt x="2694" y="348"/>
                      </a:lnTo>
                      <a:lnTo>
                        <a:pt x="2682" y="354"/>
                      </a:lnTo>
                      <a:lnTo>
                        <a:pt x="2676" y="372"/>
                      </a:lnTo>
                      <a:lnTo>
                        <a:pt x="2664" y="366"/>
                      </a:lnTo>
                      <a:lnTo>
                        <a:pt x="2664" y="378"/>
                      </a:lnTo>
                      <a:lnTo>
                        <a:pt x="2652" y="402"/>
                      </a:lnTo>
                      <a:lnTo>
                        <a:pt x="2628" y="414"/>
                      </a:lnTo>
                      <a:lnTo>
                        <a:pt x="2628" y="426"/>
                      </a:lnTo>
                      <a:lnTo>
                        <a:pt x="2634" y="432"/>
                      </a:lnTo>
                      <a:lnTo>
                        <a:pt x="2628" y="432"/>
                      </a:lnTo>
                      <a:lnTo>
                        <a:pt x="2598" y="462"/>
                      </a:lnTo>
                      <a:lnTo>
                        <a:pt x="2598" y="468"/>
                      </a:lnTo>
                      <a:lnTo>
                        <a:pt x="2604" y="474"/>
                      </a:lnTo>
                      <a:lnTo>
                        <a:pt x="2610" y="474"/>
                      </a:lnTo>
                      <a:lnTo>
                        <a:pt x="2616" y="480"/>
                      </a:lnTo>
                      <a:lnTo>
                        <a:pt x="2616" y="492"/>
                      </a:lnTo>
                      <a:lnTo>
                        <a:pt x="2610" y="498"/>
                      </a:lnTo>
                      <a:lnTo>
                        <a:pt x="2604" y="498"/>
                      </a:lnTo>
                      <a:lnTo>
                        <a:pt x="2604" y="510"/>
                      </a:lnTo>
                      <a:lnTo>
                        <a:pt x="2592" y="534"/>
                      </a:lnTo>
                      <a:lnTo>
                        <a:pt x="2580" y="552"/>
                      </a:lnTo>
                      <a:lnTo>
                        <a:pt x="2550" y="582"/>
                      </a:lnTo>
                      <a:lnTo>
                        <a:pt x="2478" y="618"/>
                      </a:lnTo>
                      <a:lnTo>
                        <a:pt x="2484" y="588"/>
                      </a:lnTo>
                      <a:lnTo>
                        <a:pt x="2478" y="582"/>
                      </a:lnTo>
                      <a:lnTo>
                        <a:pt x="2478" y="576"/>
                      </a:lnTo>
                      <a:lnTo>
                        <a:pt x="2472" y="570"/>
                      </a:lnTo>
                      <a:lnTo>
                        <a:pt x="2472" y="564"/>
                      </a:lnTo>
                      <a:lnTo>
                        <a:pt x="2478" y="552"/>
                      </a:lnTo>
                      <a:lnTo>
                        <a:pt x="2496" y="534"/>
                      </a:lnTo>
                      <a:lnTo>
                        <a:pt x="2502" y="522"/>
                      </a:lnTo>
                      <a:lnTo>
                        <a:pt x="2502" y="516"/>
                      </a:lnTo>
                      <a:lnTo>
                        <a:pt x="2496" y="510"/>
                      </a:lnTo>
                      <a:lnTo>
                        <a:pt x="2496" y="492"/>
                      </a:lnTo>
                      <a:lnTo>
                        <a:pt x="2502" y="480"/>
                      </a:lnTo>
                      <a:lnTo>
                        <a:pt x="2508" y="474"/>
                      </a:lnTo>
                      <a:lnTo>
                        <a:pt x="2514" y="462"/>
                      </a:lnTo>
                      <a:lnTo>
                        <a:pt x="2526" y="456"/>
                      </a:lnTo>
                      <a:lnTo>
                        <a:pt x="2532" y="450"/>
                      </a:lnTo>
                      <a:lnTo>
                        <a:pt x="2532" y="432"/>
                      </a:lnTo>
                      <a:lnTo>
                        <a:pt x="2538" y="432"/>
                      </a:lnTo>
                      <a:lnTo>
                        <a:pt x="2622" y="348"/>
                      </a:lnTo>
                      <a:lnTo>
                        <a:pt x="2592" y="354"/>
                      </a:lnTo>
                      <a:lnTo>
                        <a:pt x="2580" y="360"/>
                      </a:lnTo>
                      <a:lnTo>
                        <a:pt x="2574" y="366"/>
                      </a:lnTo>
                      <a:lnTo>
                        <a:pt x="2562" y="372"/>
                      </a:lnTo>
                      <a:lnTo>
                        <a:pt x="2556" y="378"/>
                      </a:lnTo>
                      <a:lnTo>
                        <a:pt x="2550" y="378"/>
                      </a:lnTo>
                      <a:lnTo>
                        <a:pt x="2550" y="372"/>
                      </a:lnTo>
                      <a:lnTo>
                        <a:pt x="2556" y="366"/>
                      </a:lnTo>
                      <a:lnTo>
                        <a:pt x="2568" y="360"/>
                      </a:lnTo>
                      <a:lnTo>
                        <a:pt x="2592" y="336"/>
                      </a:lnTo>
                      <a:lnTo>
                        <a:pt x="2604" y="330"/>
                      </a:lnTo>
                      <a:lnTo>
                        <a:pt x="2658" y="276"/>
                      </a:lnTo>
                      <a:lnTo>
                        <a:pt x="2670" y="288"/>
                      </a:lnTo>
                      <a:lnTo>
                        <a:pt x="2682" y="276"/>
                      </a:lnTo>
                      <a:lnTo>
                        <a:pt x="2682" y="288"/>
                      </a:lnTo>
                      <a:lnTo>
                        <a:pt x="2694" y="288"/>
                      </a:lnTo>
                      <a:lnTo>
                        <a:pt x="2700" y="282"/>
                      </a:lnTo>
                      <a:lnTo>
                        <a:pt x="2700" y="270"/>
                      </a:lnTo>
                      <a:lnTo>
                        <a:pt x="2724" y="276"/>
                      </a:lnTo>
                      <a:lnTo>
                        <a:pt x="2736" y="270"/>
                      </a:lnTo>
                      <a:lnTo>
                        <a:pt x="2742" y="270"/>
                      </a:lnTo>
                      <a:lnTo>
                        <a:pt x="2754" y="264"/>
                      </a:lnTo>
                      <a:lnTo>
                        <a:pt x="2772" y="264"/>
                      </a:lnTo>
                      <a:lnTo>
                        <a:pt x="2784" y="270"/>
                      </a:lnTo>
                      <a:lnTo>
                        <a:pt x="2790" y="276"/>
                      </a:lnTo>
                      <a:lnTo>
                        <a:pt x="2796" y="288"/>
                      </a:lnTo>
                      <a:lnTo>
                        <a:pt x="2772" y="294"/>
                      </a:lnTo>
                      <a:lnTo>
                        <a:pt x="2772" y="318"/>
                      </a:lnTo>
                      <a:lnTo>
                        <a:pt x="2742" y="318"/>
                      </a:lnTo>
                      <a:lnTo>
                        <a:pt x="2736" y="324"/>
                      </a:lnTo>
                      <a:lnTo>
                        <a:pt x="2736" y="360"/>
                      </a:lnTo>
                      <a:lnTo>
                        <a:pt x="2730" y="366"/>
                      </a:lnTo>
                      <a:lnTo>
                        <a:pt x="2718" y="36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2" name="Canada">
                  <a:extLst>
                    <a:ext uri="{FF2B5EF4-FFF2-40B4-BE49-F238E27FC236}">
                      <a16:creationId xmlns:a16="http://schemas.microsoft.com/office/drawing/2014/main" id="{94EDDCC3-1931-4146-B3D9-F5EBC7297126}"/>
                    </a:ext>
                  </a:extLst>
                </p:cNvPr>
                <p:cNvSpPr>
                  <a:spLocks noEditPoints="1"/>
                </p:cNvSpPr>
                <p:nvPr/>
              </p:nvSpPr>
              <p:spPr bwMode="gray">
                <a:xfrm>
                  <a:off x="1261145" y="1020458"/>
                  <a:ext cx="2101877" cy="1087302"/>
                </a:xfrm>
                <a:custGeom>
                  <a:avLst/>
                  <a:gdLst>
                    <a:gd name="T0" fmla="*/ 2147483647 w 5574"/>
                    <a:gd name="T1" fmla="*/ 2147483647 h 2886"/>
                    <a:gd name="T2" fmla="*/ 2147483647 w 5574"/>
                    <a:gd name="T3" fmla="*/ 2147483647 h 2886"/>
                    <a:gd name="T4" fmla="*/ 2147483647 w 5574"/>
                    <a:gd name="T5" fmla="*/ 2147483647 h 2886"/>
                    <a:gd name="T6" fmla="*/ 2147483647 w 5574"/>
                    <a:gd name="T7" fmla="*/ 2147483647 h 2886"/>
                    <a:gd name="T8" fmla="*/ 2147483647 w 5574"/>
                    <a:gd name="T9" fmla="*/ 2147483647 h 2886"/>
                    <a:gd name="T10" fmla="*/ 2147483647 w 5574"/>
                    <a:gd name="T11" fmla="*/ 2147483647 h 2886"/>
                    <a:gd name="T12" fmla="*/ 2147483647 w 5574"/>
                    <a:gd name="T13" fmla="*/ 2147483647 h 2886"/>
                    <a:gd name="T14" fmla="*/ 2147483647 w 5574"/>
                    <a:gd name="T15" fmla="*/ 2147483647 h 2886"/>
                    <a:gd name="T16" fmla="*/ 2147483647 w 5574"/>
                    <a:gd name="T17" fmla="*/ 2147483647 h 2886"/>
                    <a:gd name="T18" fmla="*/ 2147483647 w 5574"/>
                    <a:gd name="T19" fmla="*/ 2147483647 h 2886"/>
                    <a:gd name="T20" fmla="*/ 2147483647 w 5574"/>
                    <a:gd name="T21" fmla="*/ 2147483647 h 2886"/>
                    <a:gd name="T22" fmla="*/ 2147483647 w 5574"/>
                    <a:gd name="T23" fmla="*/ 2147483647 h 2886"/>
                    <a:gd name="T24" fmla="*/ 2147483647 w 5574"/>
                    <a:gd name="T25" fmla="*/ 2147483647 h 2886"/>
                    <a:gd name="T26" fmla="*/ 2147483647 w 5574"/>
                    <a:gd name="T27" fmla="*/ 2147483647 h 2886"/>
                    <a:gd name="T28" fmla="*/ 2147483647 w 5574"/>
                    <a:gd name="T29" fmla="*/ 2147483647 h 2886"/>
                    <a:gd name="T30" fmla="*/ 2147483647 w 5574"/>
                    <a:gd name="T31" fmla="*/ 2147483647 h 2886"/>
                    <a:gd name="T32" fmla="*/ 2147483647 w 5574"/>
                    <a:gd name="T33" fmla="*/ 2147483647 h 2886"/>
                    <a:gd name="T34" fmla="*/ 2147483647 w 5574"/>
                    <a:gd name="T35" fmla="*/ 2147483647 h 2886"/>
                    <a:gd name="T36" fmla="*/ 2147483647 w 5574"/>
                    <a:gd name="T37" fmla="*/ 2147483647 h 2886"/>
                    <a:gd name="T38" fmla="*/ 2147483647 w 5574"/>
                    <a:gd name="T39" fmla="*/ 2147483647 h 2886"/>
                    <a:gd name="T40" fmla="*/ 2147483647 w 5574"/>
                    <a:gd name="T41" fmla="*/ 2147483647 h 2886"/>
                    <a:gd name="T42" fmla="*/ 2147483647 w 5574"/>
                    <a:gd name="T43" fmla="*/ 2147483647 h 2886"/>
                    <a:gd name="T44" fmla="*/ 2147483647 w 5574"/>
                    <a:gd name="T45" fmla="*/ 2147483647 h 2886"/>
                    <a:gd name="T46" fmla="*/ 2147483647 w 5574"/>
                    <a:gd name="T47" fmla="*/ 2147483647 h 2886"/>
                    <a:gd name="T48" fmla="*/ 2147483647 w 5574"/>
                    <a:gd name="T49" fmla="*/ 2147483647 h 2886"/>
                    <a:gd name="T50" fmla="*/ 2147483647 w 5574"/>
                    <a:gd name="T51" fmla="*/ 2147483647 h 2886"/>
                    <a:gd name="T52" fmla="*/ 2147483647 w 5574"/>
                    <a:gd name="T53" fmla="*/ 2147483647 h 2886"/>
                    <a:gd name="T54" fmla="*/ 2147483647 w 5574"/>
                    <a:gd name="T55" fmla="*/ 2147483647 h 2886"/>
                    <a:gd name="T56" fmla="*/ 2147483647 w 5574"/>
                    <a:gd name="T57" fmla="*/ 2147483647 h 2886"/>
                    <a:gd name="T58" fmla="*/ 2147483647 w 5574"/>
                    <a:gd name="T59" fmla="*/ 2147483647 h 2886"/>
                    <a:gd name="T60" fmla="*/ 2147483647 w 5574"/>
                    <a:gd name="T61" fmla="*/ 2147483647 h 2886"/>
                    <a:gd name="T62" fmla="*/ 2147483647 w 5574"/>
                    <a:gd name="T63" fmla="*/ 2147483647 h 2886"/>
                    <a:gd name="T64" fmla="*/ 2147483647 w 5574"/>
                    <a:gd name="T65" fmla="*/ 2147483647 h 2886"/>
                    <a:gd name="T66" fmla="*/ 2147483647 w 5574"/>
                    <a:gd name="T67" fmla="*/ 2147483647 h 2886"/>
                    <a:gd name="T68" fmla="*/ 2147483647 w 5574"/>
                    <a:gd name="T69" fmla="*/ 2147483647 h 2886"/>
                    <a:gd name="T70" fmla="*/ 2147483647 w 5574"/>
                    <a:gd name="T71" fmla="*/ 2147483647 h 2886"/>
                    <a:gd name="T72" fmla="*/ 2147483647 w 5574"/>
                    <a:gd name="T73" fmla="*/ 2147483647 h 2886"/>
                    <a:gd name="T74" fmla="*/ 2147483647 w 5574"/>
                    <a:gd name="T75" fmla="*/ 2147483647 h 2886"/>
                    <a:gd name="T76" fmla="*/ 2147483647 w 5574"/>
                    <a:gd name="T77" fmla="*/ 2147483647 h 2886"/>
                    <a:gd name="T78" fmla="*/ 2147483647 w 5574"/>
                    <a:gd name="T79" fmla="*/ 2147483647 h 2886"/>
                    <a:gd name="T80" fmla="*/ 2147483647 w 5574"/>
                    <a:gd name="T81" fmla="*/ 2147483647 h 2886"/>
                    <a:gd name="T82" fmla="*/ 2147483647 w 5574"/>
                    <a:gd name="T83" fmla="*/ 2147483647 h 2886"/>
                    <a:gd name="T84" fmla="*/ 2147483647 w 5574"/>
                    <a:gd name="T85" fmla="*/ 2147483647 h 2886"/>
                    <a:gd name="T86" fmla="*/ 2147483647 w 5574"/>
                    <a:gd name="T87" fmla="*/ 2147483647 h 2886"/>
                    <a:gd name="T88" fmla="*/ 2147483647 w 5574"/>
                    <a:gd name="T89" fmla="*/ 2147483647 h 2886"/>
                    <a:gd name="T90" fmla="*/ 2147483647 w 5574"/>
                    <a:gd name="T91" fmla="*/ 2147483647 h 2886"/>
                    <a:gd name="T92" fmla="*/ 2147483647 w 5574"/>
                    <a:gd name="T93" fmla="*/ 2147483647 h 2886"/>
                    <a:gd name="T94" fmla="*/ 2147483647 w 5574"/>
                    <a:gd name="T95" fmla="*/ 2147483647 h 2886"/>
                    <a:gd name="T96" fmla="*/ 2147483647 w 5574"/>
                    <a:gd name="T97" fmla="*/ 2147483647 h 2886"/>
                    <a:gd name="T98" fmla="*/ 2147483647 w 5574"/>
                    <a:gd name="T99" fmla="*/ 2147483647 h 2886"/>
                    <a:gd name="T100" fmla="*/ 2147483647 w 5574"/>
                    <a:gd name="T101" fmla="*/ 2147483647 h 2886"/>
                    <a:gd name="T102" fmla="*/ 2147483647 w 5574"/>
                    <a:gd name="T103" fmla="*/ 2147483647 h 2886"/>
                    <a:gd name="T104" fmla="*/ 2147483647 w 5574"/>
                    <a:gd name="T105" fmla="*/ 2147483647 h 2886"/>
                    <a:gd name="T106" fmla="*/ 2147483647 w 5574"/>
                    <a:gd name="T107" fmla="*/ 2147483647 h 2886"/>
                    <a:gd name="T108" fmla="*/ 2147483647 w 5574"/>
                    <a:gd name="T109" fmla="*/ 2147483647 h 2886"/>
                    <a:gd name="T110" fmla="*/ 2147483647 w 5574"/>
                    <a:gd name="T111" fmla="*/ 2147483647 h 2886"/>
                    <a:gd name="T112" fmla="*/ 2147483647 w 5574"/>
                    <a:gd name="T113" fmla="*/ 2147483647 h 2886"/>
                    <a:gd name="T114" fmla="*/ 2147483647 w 5574"/>
                    <a:gd name="T115" fmla="*/ 2147483647 h 2886"/>
                    <a:gd name="T116" fmla="*/ 2147483647 w 5574"/>
                    <a:gd name="T117" fmla="*/ 2147483647 h 2886"/>
                    <a:gd name="T118" fmla="*/ 2147483647 w 5574"/>
                    <a:gd name="T119" fmla="*/ 2147483647 h 2886"/>
                    <a:gd name="T120" fmla="*/ 2147483647 w 5574"/>
                    <a:gd name="T121" fmla="*/ 2147483647 h 2886"/>
                    <a:gd name="T122" fmla="*/ 2147483647 w 5574"/>
                    <a:gd name="T123" fmla="*/ 2147483647 h 2886"/>
                    <a:gd name="T124" fmla="*/ 2147483647 w 5574"/>
                    <a:gd name="T125" fmla="*/ 2147483647 h 28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74"/>
                    <a:gd name="T190" fmla="*/ 0 h 2886"/>
                    <a:gd name="T191" fmla="*/ 5574 w 5574"/>
                    <a:gd name="T192" fmla="*/ 2886 h 28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74" h="2886">
                      <a:moveTo>
                        <a:pt x="3114" y="252"/>
                      </a:moveTo>
                      <a:lnTo>
                        <a:pt x="3138" y="252"/>
                      </a:lnTo>
                      <a:lnTo>
                        <a:pt x="3150" y="258"/>
                      </a:lnTo>
                      <a:lnTo>
                        <a:pt x="3168" y="258"/>
                      </a:lnTo>
                      <a:lnTo>
                        <a:pt x="3174" y="252"/>
                      </a:lnTo>
                      <a:lnTo>
                        <a:pt x="3174" y="246"/>
                      </a:lnTo>
                      <a:lnTo>
                        <a:pt x="3168" y="234"/>
                      </a:lnTo>
                      <a:lnTo>
                        <a:pt x="3156" y="228"/>
                      </a:lnTo>
                      <a:lnTo>
                        <a:pt x="3108" y="228"/>
                      </a:lnTo>
                      <a:lnTo>
                        <a:pt x="3066" y="234"/>
                      </a:lnTo>
                      <a:lnTo>
                        <a:pt x="3036" y="246"/>
                      </a:lnTo>
                      <a:lnTo>
                        <a:pt x="3018" y="246"/>
                      </a:lnTo>
                      <a:lnTo>
                        <a:pt x="3060" y="246"/>
                      </a:lnTo>
                      <a:lnTo>
                        <a:pt x="3096" y="252"/>
                      </a:lnTo>
                      <a:lnTo>
                        <a:pt x="3114" y="252"/>
                      </a:lnTo>
                      <a:close/>
                      <a:moveTo>
                        <a:pt x="2988" y="318"/>
                      </a:moveTo>
                      <a:lnTo>
                        <a:pt x="3036" y="318"/>
                      </a:lnTo>
                      <a:lnTo>
                        <a:pt x="3048" y="312"/>
                      </a:lnTo>
                      <a:lnTo>
                        <a:pt x="3060" y="312"/>
                      </a:lnTo>
                      <a:lnTo>
                        <a:pt x="3072" y="300"/>
                      </a:lnTo>
                      <a:lnTo>
                        <a:pt x="3072" y="294"/>
                      </a:lnTo>
                      <a:lnTo>
                        <a:pt x="3066" y="282"/>
                      </a:lnTo>
                      <a:lnTo>
                        <a:pt x="3138" y="270"/>
                      </a:lnTo>
                      <a:lnTo>
                        <a:pt x="3120" y="264"/>
                      </a:lnTo>
                      <a:lnTo>
                        <a:pt x="3054" y="264"/>
                      </a:lnTo>
                      <a:lnTo>
                        <a:pt x="3042" y="276"/>
                      </a:lnTo>
                      <a:lnTo>
                        <a:pt x="3030" y="276"/>
                      </a:lnTo>
                      <a:lnTo>
                        <a:pt x="2994" y="270"/>
                      </a:lnTo>
                      <a:lnTo>
                        <a:pt x="2958" y="270"/>
                      </a:lnTo>
                      <a:lnTo>
                        <a:pt x="2940" y="282"/>
                      </a:lnTo>
                      <a:lnTo>
                        <a:pt x="2940" y="294"/>
                      </a:lnTo>
                      <a:lnTo>
                        <a:pt x="2946" y="300"/>
                      </a:lnTo>
                      <a:lnTo>
                        <a:pt x="2970" y="312"/>
                      </a:lnTo>
                      <a:lnTo>
                        <a:pt x="2976" y="318"/>
                      </a:lnTo>
                      <a:lnTo>
                        <a:pt x="2988" y="318"/>
                      </a:lnTo>
                      <a:close/>
                      <a:moveTo>
                        <a:pt x="2682" y="384"/>
                      </a:moveTo>
                      <a:lnTo>
                        <a:pt x="2628" y="408"/>
                      </a:lnTo>
                      <a:lnTo>
                        <a:pt x="2634" y="408"/>
                      </a:lnTo>
                      <a:lnTo>
                        <a:pt x="2646" y="414"/>
                      </a:lnTo>
                      <a:lnTo>
                        <a:pt x="2652" y="414"/>
                      </a:lnTo>
                      <a:lnTo>
                        <a:pt x="2658" y="420"/>
                      </a:lnTo>
                      <a:lnTo>
                        <a:pt x="2658" y="426"/>
                      </a:lnTo>
                      <a:lnTo>
                        <a:pt x="2622" y="426"/>
                      </a:lnTo>
                      <a:lnTo>
                        <a:pt x="2586" y="432"/>
                      </a:lnTo>
                      <a:lnTo>
                        <a:pt x="2556" y="438"/>
                      </a:lnTo>
                      <a:lnTo>
                        <a:pt x="2544" y="438"/>
                      </a:lnTo>
                      <a:lnTo>
                        <a:pt x="2520" y="456"/>
                      </a:lnTo>
                      <a:lnTo>
                        <a:pt x="2580" y="450"/>
                      </a:lnTo>
                      <a:lnTo>
                        <a:pt x="2586" y="450"/>
                      </a:lnTo>
                      <a:lnTo>
                        <a:pt x="2592" y="456"/>
                      </a:lnTo>
                      <a:lnTo>
                        <a:pt x="2610" y="456"/>
                      </a:lnTo>
                      <a:lnTo>
                        <a:pt x="2628" y="462"/>
                      </a:lnTo>
                      <a:lnTo>
                        <a:pt x="2658" y="462"/>
                      </a:lnTo>
                      <a:lnTo>
                        <a:pt x="2694" y="450"/>
                      </a:lnTo>
                      <a:lnTo>
                        <a:pt x="2730" y="444"/>
                      </a:lnTo>
                      <a:lnTo>
                        <a:pt x="2742" y="438"/>
                      </a:lnTo>
                      <a:lnTo>
                        <a:pt x="2742" y="450"/>
                      </a:lnTo>
                      <a:lnTo>
                        <a:pt x="2760" y="450"/>
                      </a:lnTo>
                      <a:lnTo>
                        <a:pt x="2796" y="444"/>
                      </a:lnTo>
                      <a:lnTo>
                        <a:pt x="2856" y="444"/>
                      </a:lnTo>
                      <a:lnTo>
                        <a:pt x="2850" y="444"/>
                      </a:lnTo>
                      <a:lnTo>
                        <a:pt x="2844" y="450"/>
                      </a:lnTo>
                      <a:lnTo>
                        <a:pt x="2832" y="450"/>
                      </a:lnTo>
                      <a:lnTo>
                        <a:pt x="2790" y="456"/>
                      </a:lnTo>
                      <a:lnTo>
                        <a:pt x="2730" y="468"/>
                      </a:lnTo>
                      <a:lnTo>
                        <a:pt x="2706" y="468"/>
                      </a:lnTo>
                      <a:lnTo>
                        <a:pt x="2688" y="474"/>
                      </a:lnTo>
                      <a:lnTo>
                        <a:pt x="2670" y="474"/>
                      </a:lnTo>
                      <a:lnTo>
                        <a:pt x="2652" y="480"/>
                      </a:lnTo>
                      <a:lnTo>
                        <a:pt x="2646" y="486"/>
                      </a:lnTo>
                      <a:lnTo>
                        <a:pt x="2640" y="486"/>
                      </a:lnTo>
                      <a:lnTo>
                        <a:pt x="2658" y="486"/>
                      </a:lnTo>
                      <a:lnTo>
                        <a:pt x="2694" y="492"/>
                      </a:lnTo>
                      <a:lnTo>
                        <a:pt x="2760" y="498"/>
                      </a:lnTo>
                      <a:lnTo>
                        <a:pt x="2808" y="492"/>
                      </a:lnTo>
                      <a:lnTo>
                        <a:pt x="2850" y="480"/>
                      </a:lnTo>
                      <a:lnTo>
                        <a:pt x="2874" y="474"/>
                      </a:lnTo>
                      <a:lnTo>
                        <a:pt x="2886" y="468"/>
                      </a:lnTo>
                      <a:lnTo>
                        <a:pt x="2958" y="450"/>
                      </a:lnTo>
                      <a:lnTo>
                        <a:pt x="3000" y="450"/>
                      </a:lnTo>
                      <a:lnTo>
                        <a:pt x="3054" y="444"/>
                      </a:lnTo>
                      <a:lnTo>
                        <a:pt x="3096" y="438"/>
                      </a:lnTo>
                      <a:lnTo>
                        <a:pt x="3120" y="432"/>
                      </a:lnTo>
                      <a:lnTo>
                        <a:pt x="3138" y="420"/>
                      </a:lnTo>
                      <a:lnTo>
                        <a:pt x="3156" y="414"/>
                      </a:lnTo>
                      <a:lnTo>
                        <a:pt x="3168" y="408"/>
                      </a:lnTo>
                      <a:lnTo>
                        <a:pt x="3168" y="396"/>
                      </a:lnTo>
                      <a:lnTo>
                        <a:pt x="3156" y="384"/>
                      </a:lnTo>
                      <a:lnTo>
                        <a:pt x="3144" y="378"/>
                      </a:lnTo>
                      <a:lnTo>
                        <a:pt x="3120" y="378"/>
                      </a:lnTo>
                      <a:lnTo>
                        <a:pt x="3114" y="384"/>
                      </a:lnTo>
                      <a:lnTo>
                        <a:pt x="3108" y="384"/>
                      </a:lnTo>
                      <a:lnTo>
                        <a:pt x="3108" y="396"/>
                      </a:lnTo>
                      <a:lnTo>
                        <a:pt x="3072" y="396"/>
                      </a:lnTo>
                      <a:lnTo>
                        <a:pt x="3078" y="390"/>
                      </a:lnTo>
                      <a:lnTo>
                        <a:pt x="3078" y="378"/>
                      </a:lnTo>
                      <a:lnTo>
                        <a:pt x="3102" y="354"/>
                      </a:lnTo>
                      <a:lnTo>
                        <a:pt x="3102" y="342"/>
                      </a:lnTo>
                      <a:lnTo>
                        <a:pt x="3096" y="342"/>
                      </a:lnTo>
                      <a:lnTo>
                        <a:pt x="3054" y="348"/>
                      </a:lnTo>
                      <a:lnTo>
                        <a:pt x="2988" y="372"/>
                      </a:lnTo>
                      <a:lnTo>
                        <a:pt x="2976" y="378"/>
                      </a:lnTo>
                      <a:lnTo>
                        <a:pt x="3024" y="378"/>
                      </a:lnTo>
                      <a:lnTo>
                        <a:pt x="3018" y="408"/>
                      </a:lnTo>
                      <a:lnTo>
                        <a:pt x="2898" y="420"/>
                      </a:lnTo>
                      <a:lnTo>
                        <a:pt x="2898" y="414"/>
                      </a:lnTo>
                      <a:lnTo>
                        <a:pt x="2892" y="408"/>
                      </a:lnTo>
                      <a:lnTo>
                        <a:pt x="2892" y="372"/>
                      </a:lnTo>
                      <a:lnTo>
                        <a:pt x="2886" y="366"/>
                      </a:lnTo>
                      <a:lnTo>
                        <a:pt x="2874" y="366"/>
                      </a:lnTo>
                      <a:lnTo>
                        <a:pt x="2856" y="360"/>
                      </a:lnTo>
                      <a:lnTo>
                        <a:pt x="2814" y="360"/>
                      </a:lnTo>
                      <a:lnTo>
                        <a:pt x="2682" y="384"/>
                      </a:lnTo>
                      <a:close/>
                      <a:moveTo>
                        <a:pt x="2832" y="342"/>
                      </a:moveTo>
                      <a:lnTo>
                        <a:pt x="2844" y="330"/>
                      </a:lnTo>
                      <a:lnTo>
                        <a:pt x="2844" y="318"/>
                      </a:lnTo>
                      <a:lnTo>
                        <a:pt x="2838" y="312"/>
                      </a:lnTo>
                      <a:lnTo>
                        <a:pt x="2814" y="312"/>
                      </a:lnTo>
                      <a:lnTo>
                        <a:pt x="2802" y="318"/>
                      </a:lnTo>
                      <a:lnTo>
                        <a:pt x="2796" y="324"/>
                      </a:lnTo>
                      <a:lnTo>
                        <a:pt x="2796" y="330"/>
                      </a:lnTo>
                      <a:lnTo>
                        <a:pt x="2802" y="336"/>
                      </a:lnTo>
                      <a:lnTo>
                        <a:pt x="2814" y="336"/>
                      </a:lnTo>
                      <a:lnTo>
                        <a:pt x="2820" y="342"/>
                      </a:lnTo>
                      <a:lnTo>
                        <a:pt x="2832" y="342"/>
                      </a:lnTo>
                      <a:close/>
                      <a:moveTo>
                        <a:pt x="3012" y="564"/>
                      </a:moveTo>
                      <a:lnTo>
                        <a:pt x="2988" y="540"/>
                      </a:lnTo>
                      <a:lnTo>
                        <a:pt x="2958" y="540"/>
                      </a:lnTo>
                      <a:lnTo>
                        <a:pt x="2952" y="534"/>
                      </a:lnTo>
                      <a:lnTo>
                        <a:pt x="2946" y="534"/>
                      </a:lnTo>
                      <a:lnTo>
                        <a:pt x="2934" y="528"/>
                      </a:lnTo>
                      <a:lnTo>
                        <a:pt x="2916" y="528"/>
                      </a:lnTo>
                      <a:lnTo>
                        <a:pt x="2898" y="534"/>
                      </a:lnTo>
                      <a:lnTo>
                        <a:pt x="2892" y="540"/>
                      </a:lnTo>
                      <a:lnTo>
                        <a:pt x="2892" y="552"/>
                      </a:lnTo>
                      <a:lnTo>
                        <a:pt x="2928" y="570"/>
                      </a:lnTo>
                      <a:lnTo>
                        <a:pt x="2934" y="576"/>
                      </a:lnTo>
                      <a:lnTo>
                        <a:pt x="2946" y="582"/>
                      </a:lnTo>
                      <a:lnTo>
                        <a:pt x="3012" y="564"/>
                      </a:lnTo>
                      <a:close/>
                      <a:moveTo>
                        <a:pt x="2460" y="414"/>
                      </a:moveTo>
                      <a:lnTo>
                        <a:pt x="2442" y="420"/>
                      </a:lnTo>
                      <a:lnTo>
                        <a:pt x="2430" y="426"/>
                      </a:lnTo>
                      <a:lnTo>
                        <a:pt x="2430" y="438"/>
                      </a:lnTo>
                      <a:lnTo>
                        <a:pt x="2442" y="438"/>
                      </a:lnTo>
                      <a:lnTo>
                        <a:pt x="2472" y="432"/>
                      </a:lnTo>
                      <a:lnTo>
                        <a:pt x="2490" y="426"/>
                      </a:lnTo>
                      <a:lnTo>
                        <a:pt x="2502" y="420"/>
                      </a:lnTo>
                      <a:lnTo>
                        <a:pt x="2502" y="414"/>
                      </a:lnTo>
                      <a:lnTo>
                        <a:pt x="2496" y="408"/>
                      </a:lnTo>
                      <a:lnTo>
                        <a:pt x="2484" y="408"/>
                      </a:lnTo>
                      <a:lnTo>
                        <a:pt x="2460" y="414"/>
                      </a:lnTo>
                      <a:close/>
                      <a:moveTo>
                        <a:pt x="2970" y="858"/>
                      </a:moveTo>
                      <a:lnTo>
                        <a:pt x="2988" y="858"/>
                      </a:lnTo>
                      <a:lnTo>
                        <a:pt x="3006" y="864"/>
                      </a:lnTo>
                      <a:lnTo>
                        <a:pt x="3018" y="870"/>
                      </a:lnTo>
                      <a:lnTo>
                        <a:pt x="3036" y="876"/>
                      </a:lnTo>
                      <a:lnTo>
                        <a:pt x="3060" y="882"/>
                      </a:lnTo>
                      <a:lnTo>
                        <a:pt x="3096" y="882"/>
                      </a:lnTo>
                      <a:lnTo>
                        <a:pt x="3126" y="876"/>
                      </a:lnTo>
                      <a:lnTo>
                        <a:pt x="3138" y="876"/>
                      </a:lnTo>
                      <a:lnTo>
                        <a:pt x="3120" y="810"/>
                      </a:lnTo>
                      <a:lnTo>
                        <a:pt x="3018" y="792"/>
                      </a:lnTo>
                      <a:lnTo>
                        <a:pt x="2988" y="828"/>
                      </a:lnTo>
                      <a:lnTo>
                        <a:pt x="2958" y="828"/>
                      </a:lnTo>
                      <a:lnTo>
                        <a:pt x="2952" y="834"/>
                      </a:lnTo>
                      <a:lnTo>
                        <a:pt x="2952" y="846"/>
                      </a:lnTo>
                      <a:lnTo>
                        <a:pt x="2958" y="852"/>
                      </a:lnTo>
                      <a:lnTo>
                        <a:pt x="2970" y="858"/>
                      </a:lnTo>
                      <a:close/>
                      <a:moveTo>
                        <a:pt x="168" y="2034"/>
                      </a:moveTo>
                      <a:lnTo>
                        <a:pt x="168" y="2040"/>
                      </a:lnTo>
                      <a:lnTo>
                        <a:pt x="174" y="2046"/>
                      </a:lnTo>
                      <a:lnTo>
                        <a:pt x="192" y="2046"/>
                      </a:lnTo>
                      <a:lnTo>
                        <a:pt x="186" y="2070"/>
                      </a:lnTo>
                      <a:lnTo>
                        <a:pt x="216" y="2052"/>
                      </a:lnTo>
                      <a:lnTo>
                        <a:pt x="216" y="2028"/>
                      </a:lnTo>
                      <a:lnTo>
                        <a:pt x="174" y="2028"/>
                      </a:lnTo>
                      <a:lnTo>
                        <a:pt x="168" y="2034"/>
                      </a:lnTo>
                      <a:close/>
                      <a:moveTo>
                        <a:pt x="252" y="2298"/>
                      </a:moveTo>
                      <a:lnTo>
                        <a:pt x="252" y="2292"/>
                      </a:lnTo>
                      <a:lnTo>
                        <a:pt x="246" y="2286"/>
                      </a:lnTo>
                      <a:lnTo>
                        <a:pt x="246" y="2268"/>
                      </a:lnTo>
                      <a:lnTo>
                        <a:pt x="252" y="2256"/>
                      </a:lnTo>
                      <a:lnTo>
                        <a:pt x="252" y="2238"/>
                      </a:lnTo>
                      <a:lnTo>
                        <a:pt x="246" y="2226"/>
                      </a:lnTo>
                      <a:lnTo>
                        <a:pt x="228" y="2226"/>
                      </a:lnTo>
                      <a:lnTo>
                        <a:pt x="216" y="2220"/>
                      </a:lnTo>
                      <a:lnTo>
                        <a:pt x="204" y="2220"/>
                      </a:lnTo>
                      <a:lnTo>
                        <a:pt x="192" y="2214"/>
                      </a:lnTo>
                      <a:lnTo>
                        <a:pt x="186" y="2208"/>
                      </a:lnTo>
                      <a:lnTo>
                        <a:pt x="174" y="2202"/>
                      </a:lnTo>
                      <a:lnTo>
                        <a:pt x="150" y="2178"/>
                      </a:lnTo>
                      <a:lnTo>
                        <a:pt x="138" y="2172"/>
                      </a:lnTo>
                      <a:lnTo>
                        <a:pt x="126" y="2172"/>
                      </a:lnTo>
                      <a:lnTo>
                        <a:pt x="102" y="2184"/>
                      </a:lnTo>
                      <a:lnTo>
                        <a:pt x="96" y="2196"/>
                      </a:lnTo>
                      <a:lnTo>
                        <a:pt x="96" y="2202"/>
                      </a:lnTo>
                      <a:lnTo>
                        <a:pt x="108" y="2208"/>
                      </a:lnTo>
                      <a:lnTo>
                        <a:pt x="114" y="2214"/>
                      </a:lnTo>
                      <a:lnTo>
                        <a:pt x="120" y="2214"/>
                      </a:lnTo>
                      <a:lnTo>
                        <a:pt x="132" y="2202"/>
                      </a:lnTo>
                      <a:lnTo>
                        <a:pt x="144" y="2208"/>
                      </a:lnTo>
                      <a:lnTo>
                        <a:pt x="132" y="2220"/>
                      </a:lnTo>
                      <a:lnTo>
                        <a:pt x="120" y="2220"/>
                      </a:lnTo>
                      <a:lnTo>
                        <a:pt x="114" y="2226"/>
                      </a:lnTo>
                      <a:lnTo>
                        <a:pt x="102" y="2232"/>
                      </a:lnTo>
                      <a:lnTo>
                        <a:pt x="102" y="2244"/>
                      </a:lnTo>
                      <a:lnTo>
                        <a:pt x="108" y="2250"/>
                      </a:lnTo>
                      <a:lnTo>
                        <a:pt x="126" y="2250"/>
                      </a:lnTo>
                      <a:lnTo>
                        <a:pt x="138" y="2244"/>
                      </a:lnTo>
                      <a:lnTo>
                        <a:pt x="132" y="2262"/>
                      </a:lnTo>
                      <a:lnTo>
                        <a:pt x="150" y="2262"/>
                      </a:lnTo>
                      <a:lnTo>
                        <a:pt x="132" y="2280"/>
                      </a:lnTo>
                      <a:lnTo>
                        <a:pt x="168" y="2274"/>
                      </a:lnTo>
                      <a:lnTo>
                        <a:pt x="156" y="2280"/>
                      </a:lnTo>
                      <a:lnTo>
                        <a:pt x="144" y="2292"/>
                      </a:lnTo>
                      <a:lnTo>
                        <a:pt x="138" y="2292"/>
                      </a:lnTo>
                      <a:lnTo>
                        <a:pt x="138" y="2298"/>
                      </a:lnTo>
                      <a:lnTo>
                        <a:pt x="150" y="2298"/>
                      </a:lnTo>
                      <a:lnTo>
                        <a:pt x="162" y="2286"/>
                      </a:lnTo>
                      <a:lnTo>
                        <a:pt x="168" y="2286"/>
                      </a:lnTo>
                      <a:lnTo>
                        <a:pt x="174" y="2292"/>
                      </a:lnTo>
                      <a:lnTo>
                        <a:pt x="174" y="2304"/>
                      </a:lnTo>
                      <a:lnTo>
                        <a:pt x="162" y="2316"/>
                      </a:lnTo>
                      <a:lnTo>
                        <a:pt x="162" y="2328"/>
                      </a:lnTo>
                      <a:lnTo>
                        <a:pt x="210" y="2328"/>
                      </a:lnTo>
                      <a:lnTo>
                        <a:pt x="228" y="2316"/>
                      </a:lnTo>
                      <a:lnTo>
                        <a:pt x="210" y="2340"/>
                      </a:lnTo>
                      <a:lnTo>
                        <a:pt x="192" y="2340"/>
                      </a:lnTo>
                      <a:lnTo>
                        <a:pt x="186" y="2346"/>
                      </a:lnTo>
                      <a:lnTo>
                        <a:pt x="186" y="2352"/>
                      </a:lnTo>
                      <a:lnTo>
                        <a:pt x="210" y="2364"/>
                      </a:lnTo>
                      <a:lnTo>
                        <a:pt x="216" y="2364"/>
                      </a:lnTo>
                      <a:lnTo>
                        <a:pt x="228" y="2370"/>
                      </a:lnTo>
                      <a:lnTo>
                        <a:pt x="234" y="2376"/>
                      </a:lnTo>
                      <a:lnTo>
                        <a:pt x="246" y="2376"/>
                      </a:lnTo>
                      <a:lnTo>
                        <a:pt x="258" y="2382"/>
                      </a:lnTo>
                      <a:lnTo>
                        <a:pt x="270" y="2376"/>
                      </a:lnTo>
                      <a:lnTo>
                        <a:pt x="288" y="2358"/>
                      </a:lnTo>
                      <a:lnTo>
                        <a:pt x="294" y="2346"/>
                      </a:lnTo>
                      <a:lnTo>
                        <a:pt x="294" y="2340"/>
                      </a:lnTo>
                      <a:lnTo>
                        <a:pt x="288" y="2334"/>
                      </a:lnTo>
                      <a:lnTo>
                        <a:pt x="282" y="2322"/>
                      </a:lnTo>
                      <a:lnTo>
                        <a:pt x="270" y="2316"/>
                      </a:lnTo>
                      <a:lnTo>
                        <a:pt x="264" y="2304"/>
                      </a:lnTo>
                      <a:lnTo>
                        <a:pt x="252" y="2298"/>
                      </a:lnTo>
                      <a:close/>
                      <a:moveTo>
                        <a:pt x="2304" y="372"/>
                      </a:moveTo>
                      <a:lnTo>
                        <a:pt x="2316" y="372"/>
                      </a:lnTo>
                      <a:lnTo>
                        <a:pt x="2328" y="366"/>
                      </a:lnTo>
                      <a:lnTo>
                        <a:pt x="2376" y="366"/>
                      </a:lnTo>
                      <a:lnTo>
                        <a:pt x="2388" y="378"/>
                      </a:lnTo>
                      <a:lnTo>
                        <a:pt x="2388" y="390"/>
                      </a:lnTo>
                      <a:lnTo>
                        <a:pt x="2424" y="390"/>
                      </a:lnTo>
                      <a:lnTo>
                        <a:pt x="2442" y="384"/>
                      </a:lnTo>
                      <a:lnTo>
                        <a:pt x="2454" y="384"/>
                      </a:lnTo>
                      <a:lnTo>
                        <a:pt x="2466" y="390"/>
                      </a:lnTo>
                      <a:lnTo>
                        <a:pt x="2472" y="396"/>
                      </a:lnTo>
                      <a:lnTo>
                        <a:pt x="2490" y="396"/>
                      </a:lnTo>
                      <a:lnTo>
                        <a:pt x="2514" y="384"/>
                      </a:lnTo>
                      <a:lnTo>
                        <a:pt x="2520" y="372"/>
                      </a:lnTo>
                      <a:lnTo>
                        <a:pt x="2520" y="354"/>
                      </a:lnTo>
                      <a:lnTo>
                        <a:pt x="2550" y="354"/>
                      </a:lnTo>
                      <a:lnTo>
                        <a:pt x="2616" y="336"/>
                      </a:lnTo>
                      <a:lnTo>
                        <a:pt x="2580" y="366"/>
                      </a:lnTo>
                      <a:lnTo>
                        <a:pt x="2634" y="378"/>
                      </a:lnTo>
                      <a:lnTo>
                        <a:pt x="2688" y="354"/>
                      </a:lnTo>
                      <a:lnTo>
                        <a:pt x="2784" y="312"/>
                      </a:lnTo>
                      <a:lnTo>
                        <a:pt x="2778" y="312"/>
                      </a:lnTo>
                      <a:lnTo>
                        <a:pt x="2772" y="306"/>
                      </a:lnTo>
                      <a:lnTo>
                        <a:pt x="2754" y="300"/>
                      </a:lnTo>
                      <a:lnTo>
                        <a:pt x="2736" y="300"/>
                      </a:lnTo>
                      <a:lnTo>
                        <a:pt x="2724" y="294"/>
                      </a:lnTo>
                      <a:lnTo>
                        <a:pt x="2706" y="288"/>
                      </a:lnTo>
                      <a:lnTo>
                        <a:pt x="2676" y="288"/>
                      </a:lnTo>
                      <a:lnTo>
                        <a:pt x="2646" y="282"/>
                      </a:lnTo>
                      <a:lnTo>
                        <a:pt x="2604" y="282"/>
                      </a:lnTo>
                      <a:lnTo>
                        <a:pt x="2526" y="294"/>
                      </a:lnTo>
                      <a:lnTo>
                        <a:pt x="2526" y="318"/>
                      </a:lnTo>
                      <a:lnTo>
                        <a:pt x="2406" y="324"/>
                      </a:lnTo>
                      <a:lnTo>
                        <a:pt x="2400" y="324"/>
                      </a:lnTo>
                      <a:lnTo>
                        <a:pt x="2394" y="318"/>
                      </a:lnTo>
                      <a:lnTo>
                        <a:pt x="2334" y="318"/>
                      </a:lnTo>
                      <a:lnTo>
                        <a:pt x="2322" y="324"/>
                      </a:lnTo>
                      <a:lnTo>
                        <a:pt x="2310" y="324"/>
                      </a:lnTo>
                      <a:lnTo>
                        <a:pt x="2304" y="330"/>
                      </a:lnTo>
                      <a:lnTo>
                        <a:pt x="2304" y="372"/>
                      </a:lnTo>
                      <a:close/>
                      <a:moveTo>
                        <a:pt x="150" y="1980"/>
                      </a:moveTo>
                      <a:lnTo>
                        <a:pt x="162" y="2004"/>
                      </a:lnTo>
                      <a:lnTo>
                        <a:pt x="174" y="2010"/>
                      </a:lnTo>
                      <a:lnTo>
                        <a:pt x="186" y="1980"/>
                      </a:lnTo>
                      <a:lnTo>
                        <a:pt x="180" y="1974"/>
                      </a:lnTo>
                      <a:lnTo>
                        <a:pt x="174" y="1974"/>
                      </a:lnTo>
                      <a:lnTo>
                        <a:pt x="162" y="1968"/>
                      </a:lnTo>
                      <a:lnTo>
                        <a:pt x="156" y="1968"/>
                      </a:lnTo>
                      <a:lnTo>
                        <a:pt x="150" y="1974"/>
                      </a:lnTo>
                      <a:lnTo>
                        <a:pt x="150" y="1980"/>
                      </a:lnTo>
                      <a:close/>
                      <a:moveTo>
                        <a:pt x="126" y="1932"/>
                      </a:moveTo>
                      <a:lnTo>
                        <a:pt x="120" y="1932"/>
                      </a:lnTo>
                      <a:lnTo>
                        <a:pt x="108" y="1938"/>
                      </a:lnTo>
                      <a:lnTo>
                        <a:pt x="96" y="1938"/>
                      </a:lnTo>
                      <a:lnTo>
                        <a:pt x="84" y="1944"/>
                      </a:lnTo>
                      <a:lnTo>
                        <a:pt x="78" y="1944"/>
                      </a:lnTo>
                      <a:lnTo>
                        <a:pt x="78" y="1950"/>
                      </a:lnTo>
                      <a:lnTo>
                        <a:pt x="72" y="1962"/>
                      </a:lnTo>
                      <a:lnTo>
                        <a:pt x="66" y="1968"/>
                      </a:lnTo>
                      <a:lnTo>
                        <a:pt x="48" y="1968"/>
                      </a:lnTo>
                      <a:lnTo>
                        <a:pt x="42" y="1962"/>
                      </a:lnTo>
                      <a:lnTo>
                        <a:pt x="48" y="1956"/>
                      </a:lnTo>
                      <a:lnTo>
                        <a:pt x="60" y="1956"/>
                      </a:lnTo>
                      <a:lnTo>
                        <a:pt x="66" y="1950"/>
                      </a:lnTo>
                      <a:lnTo>
                        <a:pt x="72" y="1950"/>
                      </a:lnTo>
                      <a:lnTo>
                        <a:pt x="78" y="1944"/>
                      </a:lnTo>
                      <a:lnTo>
                        <a:pt x="84" y="1944"/>
                      </a:lnTo>
                      <a:lnTo>
                        <a:pt x="78" y="1938"/>
                      </a:lnTo>
                      <a:lnTo>
                        <a:pt x="54" y="1938"/>
                      </a:lnTo>
                      <a:lnTo>
                        <a:pt x="48" y="1944"/>
                      </a:lnTo>
                      <a:lnTo>
                        <a:pt x="48" y="1932"/>
                      </a:lnTo>
                      <a:lnTo>
                        <a:pt x="36" y="1932"/>
                      </a:lnTo>
                      <a:lnTo>
                        <a:pt x="24" y="1944"/>
                      </a:lnTo>
                      <a:lnTo>
                        <a:pt x="6" y="1980"/>
                      </a:lnTo>
                      <a:lnTo>
                        <a:pt x="6" y="2004"/>
                      </a:lnTo>
                      <a:lnTo>
                        <a:pt x="12" y="2004"/>
                      </a:lnTo>
                      <a:lnTo>
                        <a:pt x="12" y="2010"/>
                      </a:lnTo>
                      <a:lnTo>
                        <a:pt x="18" y="2016"/>
                      </a:lnTo>
                      <a:lnTo>
                        <a:pt x="0" y="2022"/>
                      </a:lnTo>
                      <a:lnTo>
                        <a:pt x="12" y="2076"/>
                      </a:lnTo>
                      <a:lnTo>
                        <a:pt x="12" y="2082"/>
                      </a:lnTo>
                      <a:lnTo>
                        <a:pt x="6" y="2082"/>
                      </a:lnTo>
                      <a:lnTo>
                        <a:pt x="12" y="2088"/>
                      </a:lnTo>
                      <a:lnTo>
                        <a:pt x="12" y="2094"/>
                      </a:lnTo>
                      <a:lnTo>
                        <a:pt x="30" y="2094"/>
                      </a:lnTo>
                      <a:lnTo>
                        <a:pt x="30" y="2070"/>
                      </a:lnTo>
                      <a:lnTo>
                        <a:pt x="24" y="2058"/>
                      </a:lnTo>
                      <a:lnTo>
                        <a:pt x="24" y="2040"/>
                      </a:lnTo>
                      <a:lnTo>
                        <a:pt x="36" y="2028"/>
                      </a:lnTo>
                      <a:lnTo>
                        <a:pt x="42" y="2028"/>
                      </a:lnTo>
                      <a:lnTo>
                        <a:pt x="48" y="2016"/>
                      </a:lnTo>
                      <a:lnTo>
                        <a:pt x="54" y="2010"/>
                      </a:lnTo>
                      <a:lnTo>
                        <a:pt x="54" y="1986"/>
                      </a:lnTo>
                      <a:lnTo>
                        <a:pt x="84" y="1956"/>
                      </a:lnTo>
                      <a:lnTo>
                        <a:pt x="108" y="1944"/>
                      </a:lnTo>
                      <a:lnTo>
                        <a:pt x="114" y="1944"/>
                      </a:lnTo>
                      <a:lnTo>
                        <a:pt x="126" y="1938"/>
                      </a:lnTo>
                      <a:lnTo>
                        <a:pt x="126" y="1932"/>
                      </a:lnTo>
                      <a:close/>
                      <a:moveTo>
                        <a:pt x="1896" y="678"/>
                      </a:moveTo>
                      <a:lnTo>
                        <a:pt x="1896" y="690"/>
                      </a:lnTo>
                      <a:lnTo>
                        <a:pt x="1884" y="702"/>
                      </a:lnTo>
                      <a:lnTo>
                        <a:pt x="1884" y="714"/>
                      </a:lnTo>
                      <a:lnTo>
                        <a:pt x="1902" y="714"/>
                      </a:lnTo>
                      <a:lnTo>
                        <a:pt x="1926" y="708"/>
                      </a:lnTo>
                      <a:lnTo>
                        <a:pt x="1944" y="708"/>
                      </a:lnTo>
                      <a:lnTo>
                        <a:pt x="1980" y="696"/>
                      </a:lnTo>
                      <a:lnTo>
                        <a:pt x="1986" y="690"/>
                      </a:lnTo>
                      <a:lnTo>
                        <a:pt x="1992" y="690"/>
                      </a:lnTo>
                      <a:lnTo>
                        <a:pt x="2034" y="702"/>
                      </a:lnTo>
                      <a:lnTo>
                        <a:pt x="2112" y="642"/>
                      </a:lnTo>
                      <a:lnTo>
                        <a:pt x="2244" y="600"/>
                      </a:lnTo>
                      <a:lnTo>
                        <a:pt x="2370" y="564"/>
                      </a:lnTo>
                      <a:lnTo>
                        <a:pt x="2466" y="546"/>
                      </a:lnTo>
                      <a:lnTo>
                        <a:pt x="2454" y="540"/>
                      </a:lnTo>
                      <a:lnTo>
                        <a:pt x="2448" y="528"/>
                      </a:lnTo>
                      <a:lnTo>
                        <a:pt x="2436" y="522"/>
                      </a:lnTo>
                      <a:lnTo>
                        <a:pt x="2424" y="510"/>
                      </a:lnTo>
                      <a:lnTo>
                        <a:pt x="2412" y="504"/>
                      </a:lnTo>
                      <a:lnTo>
                        <a:pt x="2400" y="492"/>
                      </a:lnTo>
                      <a:lnTo>
                        <a:pt x="2352" y="492"/>
                      </a:lnTo>
                      <a:lnTo>
                        <a:pt x="2340" y="498"/>
                      </a:lnTo>
                      <a:lnTo>
                        <a:pt x="2328" y="498"/>
                      </a:lnTo>
                      <a:lnTo>
                        <a:pt x="2262" y="504"/>
                      </a:lnTo>
                      <a:lnTo>
                        <a:pt x="2226" y="480"/>
                      </a:lnTo>
                      <a:lnTo>
                        <a:pt x="2142" y="486"/>
                      </a:lnTo>
                      <a:lnTo>
                        <a:pt x="2094" y="504"/>
                      </a:lnTo>
                      <a:lnTo>
                        <a:pt x="2076" y="522"/>
                      </a:lnTo>
                      <a:lnTo>
                        <a:pt x="2064" y="552"/>
                      </a:lnTo>
                      <a:lnTo>
                        <a:pt x="2010" y="564"/>
                      </a:lnTo>
                      <a:lnTo>
                        <a:pt x="1944" y="588"/>
                      </a:lnTo>
                      <a:lnTo>
                        <a:pt x="1962" y="600"/>
                      </a:lnTo>
                      <a:lnTo>
                        <a:pt x="1842" y="654"/>
                      </a:lnTo>
                      <a:lnTo>
                        <a:pt x="1854" y="654"/>
                      </a:lnTo>
                      <a:lnTo>
                        <a:pt x="1890" y="672"/>
                      </a:lnTo>
                      <a:lnTo>
                        <a:pt x="1896" y="678"/>
                      </a:lnTo>
                      <a:close/>
                      <a:moveTo>
                        <a:pt x="198" y="1968"/>
                      </a:moveTo>
                      <a:lnTo>
                        <a:pt x="192" y="1992"/>
                      </a:lnTo>
                      <a:lnTo>
                        <a:pt x="192" y="2010"/>
                      </a:lnTo>
                      <a:lnTo>
                        <a:pt x="216" y="1998"/>
                      </a:lnTo>
                      <a:lnTo>
                        <a:pt x="198" y="1968"/>
                      </a:lnTo>
                      <a:close/>
                      <a:moveTo>
                        <a:pt x="4182" y="600"/>
                      </a:moveTo>
                      <a:lnTo>
                        <a:pt x="4194" y="606"/>
                      </a:lnTo>
                      <a:lnTo>
                        <a:pt x="4206" y="600"/>
                      </a:lnTo>
                      <a:lnTo>
                        <a:pt x="4218" y="600"/>
                      </a:lnTo>
                      <a:lnTo>
                        <a:pt x="4242" y="588"/>
                      </a:lnTo>
                      <a:lnTo>
                        <a:pt x="4308" y="588"/>
                      </a:lnTo>
                      <a:lnTo>
                        <a:pt x="4314" y="594"/>
                      </a:lnTo>
                      <a:lnTo>
                        <a:pt x="4350" y="594"/>
                      </a:lnTo>
                      <a:lnTo>
                        <a:pt x="4356" y="588"/>
                      </a:lnTo>
                      <a:lnTo>
                        <a:pt x="4356" y="582"/>
                      </a:lnTo>
                      <a:lnTo>
                        <a:pt x="4344" y="558"/>
                      </a:lnTo>
                      <a:lnTo>
                        <a:pt x="4338" y="552"/>
                      </a:lnTo>
                      <a:lnTo>
                        <a:pt x="4326" y="546"/>
                      </a:lnTo>
                      <a:lnTo>
                        <a:pt x="4230" y="546"/>
                      </a:lnTo>
                      <a:lnTo>
                        <a:pt x="4224" y="540"/>
                      </a:lnTo>
                      <a:lnTo>
                        <a:pt x="4212" y="540"/>
                      </a:lnTo>
                      <a:lnTo>
                        <a:pt x="4200" y="534"/>
                      </a:lnTo>
                      <a:lnTo>
                        <a:pt x="4188" y="534"/>
                      </a:lnTo>
                      <a:lnTo>
                        <a:pt x="4176" y="540"/>
                      </a:lnTo>
                      <a:lnTo>
                        <a:pt x="4158" y="558"/>
                      </a:lnTo>
                      <a:lnTo>
                        <a:pt x="4158" y="564"/>
                      </a:lnTo>
                      <a:lnTo>
                        <a:pt x="4176" y="576"/>
                      </a:lnTo>
                      <a:lnTo>
                        <a:pt x="4170" y="582"/>
                      </a:lnTo>
                      <a:lnTo>
                        <a:pt x="4170" y="594"/>
                      </a:lnTo>
                      <a:lnTo>
                        <a:pt x="4176" y="594"/>
                      </a:lnTo>
                      <a:lnTo>
                        <a:pt x="4182" y="600"/>
                      </a:lnTo>
                      <a:close/>
                      <a:moveTo>
                        <a:pt x="3708" y="516"/>
                      </a:moveTo>
                      <a:lnTo>
                        <a:pt x="3678" y="516"/>
                      </a:lnTo>
                      <a:lnTo>
                        <a:pt x="3624" y="510"/>
                      </a:lnTo>
                      <a:lnTo>
                        <a:pt x="3564" y="504"/>
                      </a:lnTo>
                      <a:lnTo>
                        <a:pt x="3468" y="504"/>
                      </a:lnTo>
                      <a:lnTo>
                        <a:pt x="3468" y="516"/>
                      </a:lnTo>
                      <a:lnTo>
                        <a:pt x="3462" y="522"/>
                      </a:lnTo>
                      <a:lnTo>
                        <a:pt x="3426" y="540"/>
                      </a:lnTo>
                      <a:lnTo>
                        <a:pt x="3396" y="546"/>
                      </a:lnTo>
                      <a:lnTo>
                        <a:pt x="3378" y="552"/>
                      </a:lnTo>
                      <a:lnTo>
                        <a:pt x="3372" y="552"/>
                      </a:lnTo>
                      <a:lnTo>
                        <a:pt x="3372" y="558"/>
                      </a:lnTo>
                      <a:lnTo>
                        <a:pt x="3384" y="570"/>
                      </a:lnTo>
                      <a:lnTo>
                        <a:pt x="3390" y="582"/>
                      </a:lnTo>
                      <a:lnTo>
                        <a:pt x="3390" y="594"/>
                      </a:lnTo>
                      <a:lnTo>
                        <a:pt x="3372" y="618"/>
                      </a:lnTo>
                      <a:lnTo>
                        <a:pt x="3402" y="636"/>
                      </a:lnTo>
                      <a:lnTo>
                        <a:pt x="3480" y="606"/>
                      </a:lnTo>
                      <a:lnTo>
                        <a:pt x="3474" y="600"/>
                      </a:lnTo>
                      <a:lnTo>
                        <a:pt x="3468" y="600"/>
                      </a:lnTo>
                      <a:lnTo>
                        <a:pt x="3468" y="594"/>
                      </a:lnTo>
                      <a:lnTo>
                        <a:pt x="3474" y="588"/>
                      </a:lnTo>
                      <a:lnTo>
                        <a:pt x="3486" y="582"/>
                      </a:lnTo>
                      <a:lnTo>
                        <a:pt x="3522" y="582"/>
                      </a:lnTo>
                      <a:lnTo>
                        <a:pt x="3546" y="594"/>
                      </a:lnTo>
                      <a:lnTo>
                        <a:pt x="3552" y="600"/>
                      </a:lnTo>
                      <a:lnTo>
                        <a:pt x="3606" y="594"/>
                      </a:lnTo>
                      <a:lnTo>
                        <a:pt x="3600" y="570"/>
                      </a:lnTo>
                      <a:lnTo>
                        <a:pt x="3630" y="570"/>
                      </a:lnTo>
                      <a:lnTo>
                        <a:pt x="3648" y="564"/>
                      </a:lnTo>
                      <a:lnTo>
                        <a:pt x="3666" y="564"/>
                      </a:lnTo>
                      <a:lnTo>
                        <a:pt x="3690" y="552"/>
                      </a:lnTo>
                      <a:lnTo>
                        <a:pt x="3696" y="546"/>
                      </a:lnTo>
                      <a:lnTo>
                        <a:pt x="3702" y="534"/>
                      </a:lnTo>
                      <a:lnTo>
                        <a:pt x="3714" y="522"/>
                      </a:lnTo>
                      <a:lnTo>
                        <a:pt x="3720" y="522"/>
                      </a:lnTo>
                      <a:lnTo>
                        <a:pt x="3714" y="516"/>
                      </a:lnTo>
                      <a:lnTo>
                        <a:pt x="3708" y="516"/>
                      </a:lnTo>
                      <a:close/>
                      <a:moveTo>
                        <a:pt x="3792" y="150"/>
                      </a:moveTo>
                      <a:lnTo>
                        <a:pt x="3738" y="156"/>
                      </a:lnTo>
                      <a:lnTo>
                        <a:pt x="3756" y="180"/>
                      </a:lnTo>
                      <a:lnTo>
                        <a:pt x="3792" y="150"/>
                      </a:lnTo>
                      <a:close/>
                      <a:moveTo>
                        <a:pt x="3612" y="480"/>
                      </a:moveTo>
                      <a:lnTo>
                        <a:pt x="3636" y="468"/>
                      </a:lnTo>
                      <a:lnTo>
                        <a:pt x="3642" y="456"/>
                      </a:lnTo>
                      <a:lnTo>
                        <a:pt x="3654" y="450"/>
                      </a:lnTo>
                      <a:lnTo>
                        <a:pt x="3660" y="438"/>
                      </a:lnTo>
                      <a:lnTo>
                        <a:pt x="3660" y="432"/>
                      </a:lnTo>
                      <a:lnTo>
                        <a:pt x="3654" y="426"/>
                      </a:lnTo>
                      <a:lnTo>
                        <a:pt x="3642" y="426"/>
                      </a:lnTo>
                      <a:lnTo>
                        <a:pt x="3630" y="420"/>
                      </a:lnTo>
                      <a:lnTo>
                        <a:pt x="3588" y="420"/>
                      </a:lnTo>
                      <a:lnTo>
                        <a:pt x="3570" y="426"/>
                      </a:lnTo>
                      <a:lnTo>
                        <a:pt x="3552" y="426"/>
                      </a:lnTo>
                      <a:lnTo>
                        <a:pt x="3534" y="438"/>
                      </a:lnTo>
                      <a:lnTo>
                        <a:pt x="3516" y="444"/>
                      </a:lnTo>
                      <a:lnTo>
                        <a:pt x="3504" y="450"/>
                      </a:lnTo>
                      <a:lnTo>
                        <a:pt x="3504" y="462"/>
                      </a:lnTo>
                      <a:lnTo>
                        <a:pt x="3528" y="468"/>
                      </a:lnTo>
                      <a:lnTo>
                        <a:pt x="3600" y="480"/>
                      </a:lnTo>
                      <a:lnTo>
                        <a:pt x="3612" y="480"/>
                      </a:lnTo>
                      <a:close/>
                      <a:moveTo>
                        <a:pt x="3954" y="180"/>
                      </a:moveTo>
                      <a:lnTo>
                        <a:pt x="3900" y="192"/>
                      </a:lnTo>
                      <a:lnTo>
                        <a:pt x="3936" y="210"/>
                      </a:lnTo>
                      <a:lnTo>
                        <a:pt x="3924" y="216"/>
                      </a:lnTo>
                      <a:lnTo>
                        <a:pt x="3918" y="222"/>
                      </a:lnTo>
                      <a:lnTo>
                        <a:pt x="3918" y="228"/>
                      </a:lnTo>
                      <a:lnTo>
                        <a:pt x="3924" y="234"/>
                      </a:lnTo>
                      <a:lnTo>
                        <a:pt x="3936" y="240"/>
                      </a:lnTo>
                      <a:lnTo>
                        <a:pt x="3966" y="240"/>
                      </a:lnTo>
                      <a:lnTo>
                        <a:pt x="3942" y="252"/>
                      </a:lnTo>
                      <a:lnTo>
                        <a:pt x="3954" y="252"/>
                      </a:lnTo>
                      <a:lnTo>
                        <a:pt x="4002" y="276"/>
                      </a:lnTo>
                      <a:lnTo>
                        <a:pt x="4014" y="276"/>
                      </a:lnTo>
                      <a:lnTo>
                        <a:pt x="4026" y="270"/>
                      </a:lnTo>
                      <a:lnTo>
                        <a:pt x="4032" y="264"/>
                      </a:lnTo>
                      <a:lnTo>
                        <a:pt x="4044" y="258"/>
                      </a:lnTo>
                      <a:lnTo>
                        <a:pt x="4050" y="252"/>
                      </a:lnTo>
                      <a:lnTo>
                        <a:pt x="4074" y="246"/>
                      </a:lnTo>
                      <a:lnTo>
                        <a:pt x="4086" y="258"/>
                      </a:lnTo>
                      <a:lnTo>
                        <a:pt x="4092" y="270"/>
                      </a:lnTo>
                      <a:lnTo>
                        <a:pt x="4098" y="276"/>
                      </a:lnTo>
                      <a:lnTo>
                        <a:pt x="4104" y="270"/>
                      </a:lnTo>
                      <a:lnTo>
                        <a:pt x="4116" y="270"/>
                      </a:lnTo>
                      <a:lnTo>
                        <a:pt x="4128" y="264"/>
                      </a:lnTo>
                      <a:lnTo>
                        <a:pt x="4134" y="258"/>
                      </a:lnTo>
                      <a:lnTo>
                        <a:pt x="4146" y="258"/>
                      </a:lnTo>
                      <a:lnTo>
                        <a:pt x="4152" y="252"/>
                      </a:lnTo>
                      <a:lnTo>
                        <a:pt x="4158" y="252"/>
                      </a:lnTo>
                      <a:lnTo>
                        <a:pt x="4170" y="246"/>
                      </a:lnTo>
                      <a:lnTo>
                        <a:pt x="4176" y="234"/>
                      </a:lnTo>
                      <a:lnTo>
                        <a:pt x="4182" y="228"/>
                      </a:lnTo>
                      <a:lnTo>
                        <a:pt x="4194" y="246"/>
                      </a:lnTo>
                      <a:lnTo>
                        <a:pt x="4218" y="222"/>
                      </a:lnTo>
                      <a:lnTo>
                        <a:pt x="4218" y="216"/>
                      </a:lnTo>
                      <a:lnTo>
                        <a:pt x="4236" y="210"/>
                      </a:lnTo>
                      <a:lnTo>
                        <a:pt x="4326" y="210"/>
                      </a:lnTo>
                      <a:lnTo>
                        <a:pt x="4332" y="204"/>
                      </a:lnTo>
                      <a:lnTo>
                        <a:pt x="4332" y="192"/>
                      </a:lnTo>
                      <a:lnTo>
                        <a:pt x="4266" y="186"/>
                      </a:lnTo>
                      <a:lnTo>
                        <a:pt x="4302" y="174"/>
                      </a:lnTo>
                      <a:lnTo>
                        <a:pt x="4302" y="132"/>
                      </a:lnTo>
                      <a:lnTo>
                        <a:pt x="4278" y="132"/>
                      </a:lnTo>
                      <a:lnTo>
                        <a:pt x="4266" y="138"/>
                      </a:lnTo>
                      <a:lnTo>
                        <a:pt x="4260" y="144"/>
                      </a:lnTo>
                      <a:lnTo>
                        <a:pt x="4248" y="150"/>
                      </a:lnTo>
                      <a:lnTo>
                        <a:pt x="4242" y="126"/>
                      </a:lnTo>
                      <a:lnTo>
                        <a:pt x="4194" y="132"/>
                      </a:lnTo>
                      <a:lnTo>
                        <a:pt x="4194" y="120"/>
                      </a:lnTo>
                      <a:lnTo>
                        <a:pt x="4176" y="84"/>
                      </a:lnTo>
                      <a:lnTo>
                        <a:pt x="4140" y="84"/>
                      </a:lnTo>
                      <a:lnTo>
                        <a:pt x="4122" y="90"/>
                      </a:lnTo>
                      <a:lnTo>
                        <a:pt x="4110" y="96"/>
                      </a:lnTo>
                      <a:lnTo>
                        <a:pt x="4104" y="102"/>
                      </a:lnTo>
                      <a:lnTo>
                        <a:pt x="4098" y="102"/>
                      </a:lnTo>
                      <a:lnTo>
                        <a:pt x="4020" y="108"/>
                      </a:lnTo>
                      <a:lnTo>
                        <a:pt x="4044" y="126"/>
                      </a:lnTo>
                      <a:lnTo>
                        <a:pt x="3996" y="126"/>
                      </a:lnTo>
                      <a:lnTo>
                        <a:pt x="3984" y="132"/>
                      </a:lnTo>
                      <a:lnTo>
                        <a:pt x="3972" y="132"/>
                      </a:lnTo>
                      <a:lnTo>
                        <a:pt x="3966" y="138"/>
                      </a:lnTo>
                      <a:lnTo>
                        <a:pt x="3984" y="156"/>
                      </a:lnTo>
                      <a:lnTo>
                        <a:pt x="3972" y="156"/>
                      </a:lnTo>
                      <a:lnTo>
                        <a:pt x="3936" y="150"/>
                      </a:lnTo>
                      <a:lnTo>
                        <a:pt x="3906" y="156"/>
                      </a:lnTo>
                      <a:lnTo>
                        <a:pt x="3888" y="168"/>
                      </a:lnTo>
                      <a:lnTo>
                        <a:pt x="3888" y="174"/>
                      </a:lnTo>
                      <a:lnTo>
                        <a:pt x="3894" y="180"/>
                      </a:lnTo>
                      <a:lnTo>
                        <a:pt x="3954" y="180"/>
                      </a:lnTo>
                      <a:close/>
                      <a:moveTo>
                        <a:pt x="3972" y="294"/>
                      </a:moveTo>
                      <a:lnTo>
                        <a:pt x="3954" y="300"/>
                      </a:lnTo>
                      <a:lnTo>
                        <a:pt x="3942" y="306"/>
                      </a:lnTo>
                      <a:lnTo>
                        <a:pt x="3936" y="312"/>
                      </a:lnTo>
                      <a:lnTo>
                        <a:pt x="3936" y="318"/>
                      </a:lnTo>
                      <a:lnTo>
                        <a:pt x="3966" y="324"/>
                      </a:lnTo>
                      <a:lnTo>
                        <a:pt x="3972" y="324"/>
                      </a:lnTo>
                      <a:lnTo>
                        <a:pt x="3990" y="306"/>
                      </a:lnTo>
                      <a:lnTo>
                        <a:pt x="3990" y="300"/>
                      </a:lnTo>
                      <a:lnTo>
                        <a:pt x="3984" y="294"/>
                      </a:lnTo>
                      <a:lnTo>
                        <a:pt x="3972" y="294"/>
                      </a:lnTo>
                      <a:close/>
                      <a:moveTo>
                        <a:pt x="3738" y="336"/>
                      </a:moveTo>
                      <a:lnTo>
                        <a:pt x="3726" y="336"/>
                      </a:lnTo>
                      <a:lnTo>
                        <a:pt x="3720" y="330"/>
                      </a:lnTo>
                      <a:lnTo>
                        <a:pt x="3672" y="330"/>
                      </a:lnTo>
                      <a:lnTo>
                        <a:pt x="3636" y="336"/>
                      </a:lnTo>
                      <a:lnTo>
                        <a:pt x="3624" y="342"/>
                      </a:lnTo>
                      <a:lnTo>
                        <a:pt x="3642" y="360"/>
                      </a:lnTo>
                      <a:lnTo>
                        <a:pt x="3654" y="360"/>
                      </a:lnTo>
                      <a:lnTo>
                        <a:pt x="3660" y="378"/>
                      </a:lnTo>
                      <a:lnTo>
                        <a:pt x="3768" y="378"/>
                      </a:lnTo>
                      <a:lnTo>
                        <a:pt x="3768" y="390"/>
                      </a:lnTo>
                      <a:lnTo>
                        <a:pt x="3762" y="396"/>
                      </a:lnTo>
                      <a:lnTo>
                        <a:pt x="3762" y="408"/>
                      </a:lnTo>
                      <a:lnTo>
                        <a:pt x="3708" y="450"/>
                      </a:lnTo>
                      <a:lnTo>
                        <a:pt x="3732" y="456"/>
                      </a:lnTo>
                      <a:lnTo>
                        <a:pt x="3720" y="468"/>
                      </a:lnTo>
                      <a:lnTo>
                        <a:pt x="3714" y="468"/>
                      </a:lnTo>
                      <a:lnTo>
                        <a:pt x="3708" y="474"/>
                      </a:lnTo>
                      <a:lnTo>
                        <a:pt x="3708" y="480"/>
                      </a:lnTo>
                      <a:lnTo>
                        <a:pt x="3726" y="480"/>
                      </a:lnTo>
                      <a:lnTo>
                        <a:pt x="3738" y="474"/>
                      </a:lnTo>
                      <a:lnTo>
                        <a:pt x="3744" y="474"/>
                      </a:lnTo>
                      <a:lnTo>
                        <a:pt x="3756" y="468"/>
                      </a:lnTo>
                      <a:lnTo>
                        <a:pt x="3756" y="480"/>
                      </a:lnTo>
                      <a:lnTo>
                        <a:pt x="3792" y="480"/>
                      </a:lnTo>
                      <a:lnTo>
                        <a:pt x="3810" y="474"/>
                      </a:lnTo>
                      <a:lnTo>
                        <a:pt x="3822" y="468"/>
                      </a:lnTo>
                      <a:lnTo>
                        <a:pt x="3840" y="468"/>
                      </a:lnTo>
                      <a:lnTo>
                        <a:pt x="3846" y="462"/>
                      </a:lnTo>
                      <a:lnTo>
                        <a:pt x="3852" y="462"/>
                      </a:lnTo>
                      <a:lnTo>
                        <a:pt x="3858" y="486"/>
                      </a:lnTo>
                      <a:lnTo>
                        <a:pt x="3924" y="480"/>
                      </a:lnTo>
                      <a:lnTo>
                        <a:pt x="4002" y="498"/>
                      </a:lnTo>
                      <a:lnTo>
                        <a:pt x="4098" y="486"/>
                      </a:lnTo>
                      <a:lnTo>
                        <a:pt x="4128" y="468"/>
                      </a:lnTo>
                      <a:lnTo>
                        <a:pt x="4122" y="474"/>
                      </a:lnTo>
                      <a:lnTo>
                        <a:pt x="4122" y="486"/>
                      </a:lnTo>
                      <a:lnTo>
                        <a:pt x="4260" y="486"/>
                      </a:lnTo>
                      <a:lnTo>
                        <a:pt x="4272" y="468"/>
                      </a:lnTo>
                      <a:lnTo>
                        <a:pt x="4338" y="438"/>
                      </a:lnTo>
                      <a:lnTo>
                        <a:pt x="4320" y="432"/>
                      </a:lnTo>
                      <a:lnTo>
                        <a:pt x="4320" y="420"/>
                      </a:lnTo>
                      <a:lnTo>
                        <a:pt x="4314" y="420"/>
                      </a:lnTo>
                      <a:lnTo>
                        <a:pt x="4308" y="414"/>
                      </a:lnTo>
                      <a:lnTo>
                        <a:pt x="4290" y="414"/>
                      </a:lnTo>
                      <a:lnTo>
                        <a:pt x="4278" y="408"/>
                      </a:lnTo>
                      <a:lnTo>
                        <a:pt x="4260" y="408"/>
                      </a:lnTo>
                      <a:lnTo>
                        <a:pt x="4242" y="402"/>
                      </a:lnTo>
                      <a:lnTo>
                        <a:pt x="4206" y="402"/>
                      </a:lnTo>
                      <a:lnTo>
                        <a:pt x="4164" y="414"/>
                      </a:lnTo>
                      <a:lnTo>
                        <a:pt x="4116" y="420"/>
                      </a:lnTo>
                      <a:lnTo>
                        <a:pt x="4074" y="426"/>
                      </a:lnTo>
                      <a:lnTo>
                        <a:pt x="4038" y="438"/>
                      </a:lnTo>
                      <a:lnTo>
                        <a:pt x="4026" y="438"/>
                      </a:lnTo>
                      <a:lnTo>
                        <a:pt x="4014" y="432"/>
                      </a:lnTo>
                      <a:lnTo>
                        <a:pt x="4008" y="426"/>
                      </a:lnTo>
                      <a:lnTo>
                        <a:pt x="3996" y="420"/>
                      </a:lnTo>
                      <a:lnTo>
                        <a:pt x="3984" y="420"/>
                      </a:lnTo>
                      <a:lnTo>
                        <a:pt x="3972" y="426"/>
                      </a:lnTo>
                      <a:lnTo>
                        <a:pt x="3960" y="426"/>
                      </a:lnTo>
                      <a:lnTo>
                        <a:pt x="3948" y="432"/>
                      </a:lnTo>
                      <a:lnTo>
                        <a:pt x="3942" y="438"/>
                      </a:lnTo>
                      <a:lnTo>
                        <a:pt x="3936" y="438"/>
                      </a:lnTo>
                      <a:lnTo>
                        <a:pt x="3912" y="414"/>
                      </a:lnTo>
                      <a:lnTo>
                        <a:pt x="3894" y="426"/>
                      </a:lnTo>
                      <a:lnTo>
                        <a:pt x="3864" y="420"/>
                      </a:lnTo>
                      <a:lnTo>
                        <a:pt x="3894" y="408"/>
                      </a:lnTo>
                      <a:lnTo>
                        <a:pt x="3876" y="396"/>
                      </a:lnTo>
                      <a:lnTo>
                        <a:pt x="3822" y="408"/>
                      </a:lnTo>
                      <a:lnTo>
                        <a:pt x="3858" y="396"/>
                      </a:lnTo>
                      <a:lnTo>
                        <a:pt x="3858" y="390"/>
                      </a:lnTo>
                      <a:lnTo>
                        <a:pt x="3924" y="384"/>
                      </a:lnTo>
                      <a:lnTo>
                        <a:pt x="3888" y="372"/>
                      </a:lnTo>
                      <a:lnTo>
                        <a:pt x="3870" y="372"/>
                      </a:lnTo>
                      <a:lnTo>
                        <a:pt x="3876" y="366"/>
                      </a:lnTo>
                      <a:lnTo>
                        <a:pt x="3876" y="360"/>
                      </a:lnTo>
                      <a:lnTo>
                        <a:pt x="3870" y="354"/>
                      </a:lnTo>
                      <a:lnTo>
                        <a:pt x="3840" y="354"/>
                      </a:lnTo>
                      <a:lnTo>
                        <a:pt x="3822" y="360"/>
                      </a:lnTo>
                      <a:lnTo>
                        <a:pt x="3804" y="360"/>
                      </a:lnTo>
                      <a:lnTo>
                        <a:pt x="3786" y="366"/>
                      </a:lnTo>
                      <a:lnTo>
                        <a:pt x="3774" y="354"/>
                      </a:lnTo>
                      <a:lnTo>
                        <a:pt x="3762" y="348"/>
                      </a:lnTo>
                      <a:lnTo>
                        <a:pt x="3756" y="342"/>
                      </a:lnTo>
                      <a:lnTo>
                        <a:pt x="3744" y="336"/>
                      </a:lnTo>
                      <a:lnTo>
                        <a:pt x="3738" y="336"/>
                      </a:lnTo>
                      <a:close/>
                      <a:moveTo>
                        <a:pt x="3264" y="420"/>
                      </a:moveTo>
                      <a:lnTo>
                        <a:pt x="3282" y="420"/>
                      </a:lnTo>
                      <a:lnTo>
                        <a:pt x="3300" y="426"/>
                      </a:lnTo>
                      <a:lnTo>
                        <a:pt x="3318" y="426"/>
                      </a:lnTo>
                      <a:lnTo>
                        <a:pt x="3330" y="432"/>
                      </a:lnTo>
                      <a:lnTo>
                        <a:pt x="3342" y="432"/>
                      </a:lnTo>
                      <a:lnTo>
                        <a:pt x="3330" y="444"/>
                      </a:lnTo>
                      <a:lnTo>
                        <a:pt x="3324" y="444"/>
                      </a:lnTo>
                      <a:lnTo>
                        <a:pt x="3324" y="456"/>
                      </a:lnTo>
                      <a:lnTo>
                        <a:pt x="3438" y="456"/>
                      </a:lnTo>
                      <a:lnTo>
                        <a:pt x="3462" y="444"/>
                      </a:lnTo>
                      <a:lnTo>
                        <a:pt x="3462" y="432"/>
                      </a:lnTo>
                      <a:lnTo>
                        <a:pt x="3468" y="426"/>
                      </a:lnTo>
                      <a:lnTo>
                        <a:pt x="3480" y="426"/>
                      </a:lnTo>
                      <a:lnTo>
                        <a:pt x="3492" y="420"/>
                      </a:lnTo>
                      <a:lnTo>
                        <a:pt x="3504" y="420"/>
                      </a:lnTo>
                      <a:lnTo>
                        <a:pt x="3510" y="414"/>
                      </a:lnTo>
                      <a:lnTo>
                        <a:pt x="3510" y="408"/>
                      </a:lnTo>
                      <a:lnTo>
                        <a:pt x="3522" y="396"/>
                      </a:lnTo>
                      <a:lnTo>
                        <a:pt x="3534" y="390"/>
                      </a:lnTo>
                      <a:lnTo>
                        <a:pt x="3540" y="384"/>
                      </a:lnTo>
                      <a:lnTo>
                        <a:pt x="3552" y="378"/>
                      </a:lnTo>
                      <a:lnTo>
                        <a:pt x="3552" y="372"/>
                      </a:lnTo>
                      <a:lnTo>
                        <a:pt x="3546" y="366"/>
                      </a:lnTo>
                      <a:lnTo>
                        <a:pt x="3534" y="360"/>
                      </a:lnTo>
                      <a:lnTo>
                        <a:pt x="3510" y="360"/>
                      </a:lnTo>
                      <a:lnTo>
                        <a:pt x="3504" y="366"/>
                      </a:lnTo>
                      <a:lnTo>
                        <a:pt x="3492" y="366"/>
                      </a:lnTo>
                      <a:lnTo>
                        <a:pt x="3486" y="360"/>
                      </a:lnTo>
                      <a:lnTo>
                        <a:pt x="3474" y="360"/>
                      </a:lnTo>
                      <a:lnTo>
                        <a:pt x="3462" y="354"/>
                      </a:lnTo>
                      <a:lnTo>
                        <a:pt x="3450" y="354"/>
                      </a:lnTo>
                      <a:lnTo>
                        <a:pt x="3432" y="348"/>
                      </a:lnTo>
                      <a:lnTo>
                        <a:pt x="3426" y="354"/>
                      </a:lnTo>
                      <a:lnTo>
                        <a:pt x="3420" y="354"/>
                      </a:lnTo>
                      <a:lnTo>
                        <a:pt x="3414" y="366"/>
                      </a:lnTo>
                      <a:lnTo>
                        <a:pt x="3414" y="396"/>
                      </a:lnTo>
                      <a:lnTo>
                        <a:pt x="3396" y="378"/>
                      </a:lnTo>
                      <a:lnTo>
                        <a:pt x="3384" y="372"/>
                      </a:lnTo>
                      <a:lnTo>
                        <a:pt x="3366" y="372"/>
                      </a:lnTo>
                      <a:lnTo>
                        <a:pt x="3354" y="384"/>
                      </a:lnTo>
                      <a:lnTo>
                        <a:pt x="3348" y="396"/>
                      </a:lnTo>
                      <a:lnTo>
                        <a:pt x="3330" y="414"/>
                      </a:lnTo>
                      <a:lnTo>
                        <a:pt x="3324" y="414"/>
                      </a:lnTo>
                      <a:lnTo>
                        <a:pt x="3300" y="366"/>
                      </a:lnTo>
                      <a:lnTo>
                        <a:pt x="3288" y="360"/>
                      </a:lnTo>
                      <a:lnTo>
                        <a:pt x="3258" y="360"/>
                      </a:lnTo>
                      <a:lnTo>
                        <a:pt x="3246" y="366"/>
                      </a:lnTo>
                      <a:lnTo>
                        <a:pt x="3240" y="372"/>
                      </a:lnTo>
                      <a:lnTo>
                        <a:pt x="3240" y="396"/>
                      </a:lnTo>
                      <a:lnTo>
                        <a:pt x="3246" y="408"/>
                      </a:lnTo>
                      <a:lnTo>
                        <a:pt x="3258" y="414"/>
                      </a:lnTo>
                      <a:lnTo>
                        <a:pt x="3264" y="420"/>
                      </a:lnTo>
                      <a:close/>
                      <a:moveTo>
                        <a:pt x="3720" y="288"/>
                      </a:moveTo>
                      <a:lnTo>
                        <a:pt x="3726" y="288"/>
                      </a:lnTo>
                      <a:lnTo>
                        <a:pt x="3732" y="294"/>
                      </a:lnTo>
                      <a:lnTo>
                        <a:pt x="3738" y="306"/>
                      </a:lnTo>
                      <a:lnTo>
                        <a:pt x="3768" y="306"/>
                      </a:lnTo>
                      <a:lnTo>
                        <a:pt x="3780" y="300"/>
                      </a:lnTo>
                      <a:lnTo>
                        <a:pt x="3834" y="300"/>
                      </a:lnTo>
                      <a:lnTo>
                        <a:pt x="3834" y="294"/>
                      </a:lnTo>
                      <a:lnTo>
                        <a:pt x="3828" y="294"/>
                      </a:lnTo>
                      <a:lnTo>
                        <a:pt x="3822" y="288"/>
                      </a:lnTo>
                      <a:lnTo>
                        <a:pt x="3810" y="288"/>
                      </a:lnTo>
                      <a:lnTo>
                        <a:pt x="3804" y="282"/>
                      </a:lnTo>
                      <a:lnTo>
                        <a:pt x="3792" y="282"/>
                      </a:lnTo>
                      <a:lnTo>
                        <a:pt x="3804" y="270"/>
                      </a:lnTo>
                      <a:lnTo>
                        <a:pt x="3816" y="264"/>
                      </a:lnTo>
                      <a:lnTo>
                        <a:pt x="3822" y="264"/>
                      </a:lnTo>
                      <a:lnTo>
                        <a:pt x="3828" y="258"/>
                      </a:lnTo>
                      <a:lnTo>
                        <a:pt x="3822" y="258"/>
                      </a:lnTo>
                      <a:lnTo>
                        <a:pt x="3810" y="252"/>
                      </a:lnTo>
                      <a:lnTo>
                        <a:pt x="3738" y="228"/>
                      </a:lnTo>
                      <a:lnTo>
                        <a:pt x="3732" y="228"/>
                      </a:lnTo>
                      <a:lnTo>
                        <a:pt x="3726" y="234"/>
                      </a:lnTo>
                      <a:lnTo>
                        <a:pt x="3714" y="240"/>
                      </a:lnTo>
                      <a:lnTo>
                        <a:pt x="3702" y="240"/>
                      </a:lnTo>
                      <a:lnTo>
                        <a:pt x="3690" y="252"/>
                      </a:lnTo>
                      <a:lnTo>
                        <a:pt x="3690" y="258"/>
                      </a:lnTo>
                      <a:lnTo>
                        <a:pt x="3696" y="264"/>
                      </a:lnTo>
                      <a:lnTo>
                        <a:pt x="3702" y="276"/>
                      </a:lnTo>
                      <a:lnTo>
                        <a:pt x="3714" y="282"/>
                      </a:lnTo>
                      <a:lnTo>
                        <a:pt x="3720" y="288"/>
                      </a:lnTo>
                      <a:close/>
                      <a:moveTo>
                        <a:pt x="3288" y="504"/>
                      </a:moveTo>
                      <a:lnTo>
                        <a:pt x="3270" y="504"/>
                      </a:lnTo>
                      <a:lnTo>
                        <a:pt x="3234" y="510"/>
                      </a:lnTo>
                      <a:lnTo>
                        <a:pt x="3186" y="516"/>
                      </a:lnTo>
                      <a:lnTo>
                        <a:pt x="3144" y="528"/>
                      </a:lnTo>
                      <a:lnTo>
                        <a:pt x="3132" y="534"/>
                      </a:lnTo>
                      <a:lnTo>
                        <a:pt x="3126" y="540"/>
                      </a:lnTo>
                      <a:lnTo>
                        <a:pt x="3132" y="540"/>
                      </a:lnTo>
                      <a:lnTo>
                        <a:pt x="3150" y="558"/>
                      </a:lnTo>
                      <a:lnTo>
                        <a:pt x="3156" y="570"/>
                      </a:lnTo>
                      <a:lnTo>
                        <a:pt x="3156" y="576"/>
                      </a:lnTo>
                      <a:lnTo>
                        <a:pt x="3138" y="582"/>
                      </a:lnTo>
                      <a:lnTo>
                        <a:pt x="3120" y="570"/>
                      </a:lnTo>
                      <a:lnTo>
                        <a:pt x="3090" y="564"/>
                      </a:lnTo>
                      <a:lnTo>
                        <a:pt x="3048" y="570"/>
                      </a:lnTo>
                      <a:lnTo>
                        <a:pt x="3066" y="606"/>
                      </a:lnTo>
                      <a:lnTo>
                        <a:pt x="3072" y="612"/>
                      </a:lnTo>
                      <a:lnTo>
                        <a:pt x="3084" y="618"/>
                      </a:lnTo>
                      <a:lnTo>
                        <a:pt x="3102" y="624"/>
                      </a:lnTo>
                      <a:lnTo>
                        <a:pt x="3114" y="630"/>
                      </a:lnTo>
                      <a:lnTo>
                        <a:pt x="3120" y="642"/>
                      </a:lnTo>
                      <a:lnTo>
                        <a:pt x="3120" y="654"/>
                      </a:lnTo>
                      <a:lnTo>
                        <a:pt x="3126" y="666"/>
                      </a:lnTo>
                      <a:lnTo>
                        <a:pt x="3126" y="678"/>
                      </a:lnTo>
                      <a:lnTo>
                        <a:pt x="3144" y="678"/>
                      </a:lnTo>
                      <a:lnTo>
                        <a:pt x="3228" y="666"/>
                      </a:lnTo>
                      <a:lnTo>
                        <a:pt x="3264" y="660"/>
                      </a:lnTo>
                      <a:lnTo>
                        <a:pt x="3276" y="654"/>
                      </a:lnTo>
                      <a:lnTo>
                        <a:pt x="3282" y="642"/>
                      </a:lnTo>
                      <a:lnTo>
                        <a:pt x="3288" y="624"/>
                      </a:lnTo>
                      <a:lnTo>
                        <a:pt x="3300" y="600"/>
                      </a:lnTo>
                      <a:lnTo>
                        <a:pt x="3300" y="588"/>
                      </a:lnTo>
                      <a:lnTo>
                        <a:pt x="3228" y="576"/>
                      </a:lnTo>
                      <a:lnTo>
                        <a:pt x="3240" y="570"/>
                      </a:lnTo>
                      <a:lnTo>
                        <a:pt x="3348" y="534"/>
                      </a:lnTo>
                      <a:lnTo>
                        <a:pt x="3360" y="528"/>
                      </a:lnTo>
                      <a:lnTo>
                        <a:pt x="3354" y="522"/>
                      </a:lnTo>
                      <a:lnTo>
                        <a:pt x="3342" y="516"/>
                      </a:lnTo>
                      <a:lnTo>
                        <a:pt x="3324" y="510"/>
                      </a:lnTo>
                      <a:lnTo>
                        <a:pt x="3312" y="510"/>
                      </a:lnTo>
                      <a:lnTo>
                        <a:pt x="3300" y="504"/>
                      </a:lnTo>
                      <a:lnTo>
                        <a:pt x="3288" y="504"/>
                      </a:lnTo>
                      <a:close/>
                      <a:moveTo>
                        <a:pt x="2898" y="744"/>
                      </a:moveTo>
                      <a:lnTo>
                        <a:pt x="2880" y="738"/>
                      </a:lnTo>
                      <a:lnTo>
                        <a:pt x="2796" y="738"/>
                      </a:lnTo>
                      <a:lnTo>
                        <a:pt x="2874" y="696"/>
                      </a:lnTo>
                      <a:lnTo>
                        <a:pt x="2880" y="684"/>
                      </a:lnTo>
                      <a:lnTo>
                        <a:pt x="2886" y="654"/>
                      </a:lnTo>
                      <a:lnTo>
                        <a:pt x="2898" y="624"/>
                      </a:lnTo>
                      <a:lnTo>
                        <a:pt x="2898" y="588"/>
                      </a:lnTo>
                      <a:lnTo>
                        <a:pt x="2880" y="570"/>
                      </a:lnTo>
                      <a:lnTo>
                        <a:pt x="2850" y="570"/>
                      </a:lnTo>
                      <a:lnTo>
                        <a:pt x="2814" y="576"/>
                      </a:lnTo>
                      <a:lnTo>
                        <a:pt x="2796" y="582"/>
                      </a:lnTo>
                      <a:lnTo>
                        <a:pt x="2784" y="588"/>
                      </a:lnTo>
                      <a:lnTo>
                        <a:pt x="2784" y="594"/>
                      </a:lnTo>
                      <a:lnTo>
                        <a:pt x="2766" y="612"/>
                      </a:lnTo>
                      <a:lnTo>
                        <a:pt x="2760" y="630"/>
                      </a:lnTo>
                      <a:lnTo>
                        <a:pt x="2736" y="654"/>
                      </a:lnTo>
                      <a:lnTo>
                        <a:pt x="2718" y="666"/>
                      </a:lnTo>
                      <a:lnTo>
                        <a:pt x="2706" y="672"/>
                      </a:lnTo>
                      <a:lnTo>
                        <a:pt x="2700" y="672"/>
                      </a:lnTo>
                      <a:lnTo>
                        <a:pt x="2694" y="666"/>
                      </a:lnTo>
                      <a:lnTo>
                        <a:pt x="2694" y="660"/>
                      </a:lnTo>
                      <a:lnTo>
                        <a:pt x="2700" y="654"/>
                      </a:lnTo>
                      <a:lnTo>
                        <a:pt x="2706" y="642"/>
                      </a:lnTo>
                      <a:lnTo>
                        <a:pt x="2712" y="636"/>
                      </a:lnTo>
                      <a:lnTo>
                        <a:pt x="2718" y="624"/>
                      </a:lnTo>
                      <a:lnTo>
                        <a:pt x="2718" y="612"/>
                      </a:lnTo>
                      <a:lnTo>
                        <a:pt x="2724" y="606"/>
                      </a:lnTo>
                      <a:lnTo>
                        <a:pt x="2724" y="600"/>
                      </a:lnTo>
                      <a:lnTo>
                        <a:pt x="2706" y="594"/>
                      </a:lnTo>
                      <a:lnTo>
                        <a:pt x="2676" y="588"/>
                      </a:lnTo>
                      <a:lnTo>
                        <a:pt x="2628" y="588"/>
                      </a:lnTo>
                      <a:lnTo>
                        <a:pt x="2622" y="606"/>
                      </a:lnTo>
                      <a:lnTo>
                        <a:pt x="2610" y="612"/>
                      </a:lnTo>
                      <a:lnTo>
                        <a:pt x="2586" y="618"/>
                      </a:lnTo>
                      <a:lnTo>
                        <a:pt x="2550" y="624"/>
                      </a:lnTo>
                      <a:lnTo>
                        <a:pt x="2508" y="630"/>
                      </a:lnTo>
                      <a:lnTo>
                        <a:pt x="2490" y="630"/>
                      </a:lnTo>
                      <a:lnTo>
                        <a:pt x="2496" y="624"/>
                      </a:lnTo>
                      <a:lnTo>
                        <a:pt x="2508" y="618"/>
                      </a:lnTo>
                      <a:lnTo>
                        <a:pt x="2520" y="618"/>
                      </a:lnTo>
                      <a:lnTo>
                        <a:pt x="2538" y="612"/>
                      </a:lnTo>
                      <a:lnTo>
                        <a:pt x="2550" y="606"/>
                      </a:lnTo>
                      <a:lnTo>
                        <a:pt x="2586" y="594"/>
                      </a:lnTo>
                      <a:lnTo>
                        <a:pt x="2598" y="588"/>
                      </a:lnTo>
                      <a:lnTo>
                        <a:pt x="2604" y="588"/>
                      </a:lnTo>
                      <a:lnTo>
                        <a:pt x="2604" y="582"/>
                      </a:lnTo>
                      <a:lnTo>
                        <a:pt x="2592" y="576"/>
                      </a:lnTo>
                      <a:lnTo>
                        <a:pt x="2556" y="576"/>
                      </a:lnTo>
                      <a:lnTo>
                        <a:pt x="2496" y="594"/>
                      </a:lnTo>
                      <a:lnTo>
                        <a:pt x="2460" y="600"/>
                      </a:lnTo>
                      <a:lnTo>
                        <a:pt x="2466" y="594"/>
                      </a:lnTo>
                      <a:lnTo>
                        <a:pt x="2478" y="588"/>
                      </a:lnTo>
                      <a:lnTo>
                        <a:pt x="2490" y="576"/>
                      </a:lnTo>
                      <a:lnTo>
                        <a:pt x="2502" y="570"/>
                      </a:lnTo>
                      <a:lnTo>
                        <a:pt x="2514" y="558"/>
                      </a:lnTo>
                      <a:lnTo>
                        <a:pt x="2508" y="558"/>
                      </a:lnTo>
                      <a:lnTo>
                        <a:pt x="2508" y="552"/>
                      </a:lnTo>
                      <a:lnTo>
                        <a:pt x="2496" y="552"/>
                      </a:lnTo>
                      <a:lnTo>
                        <a:pt x="2346" y="600"/>
                      </a:lnTo>
                      <a:lnTo>
                        <a:pt x="2328" y="600"/>
                      </a:lnTo>
                      <a:lnTo>
                        <a:pt x="2244" y="624"/>
                      </a:lnTo>
                      <a:lnTo>
                        <a:pt x="2250" y="642"/>
                      </a:lnTo>
                      <a:lnTo>
                        <a:pt x="2190" y="660"/>
                      </a:lnTo>
                      <a:lnTo>
                        <a:pt x="2172" y="678"/>
                      </a:lnTo>
                      <a:lnTo>
                        <a:pt x="2202" y="690"/>
                      </a:lnTo>
                      <a:lnTo>
                        <a:pt x="2208" y="684"/>
                      </a:lnTo>
                      <a:lnTo>
                        <a:pt x="2220" y="678"/>
                      </a:lnTo>
                      <a:lnTo>
                        <a:pt x="2238" y="678"/>
                      </a:lnTo>
                      <a:lnTo>
                        <a:pt x="2244" y="684"/>
                      </a:lnTo>
                      <a:lnTo>
                        <a:pt x="2244" y="690"/>
                      </a:lnTo>
                      <a:lnTo>
                        <a:pt x="2238" y="696"/>
                      </a:lnTo>
                      <a:lnTo>
                        <a:pt x="2226" y="696"/>
                      </a:lnTo>
                      <a:lnTo>
                        <a:pt x="2208" y="702"/>
                      </a:lnTo>
                      <a:lnTo>
                        <a:pt x="2196" y="702"/>
                      </a:lnTo>
                      <a:lnTo>
                        <a:pt x="2160" y="720"/>
                      </a:lnTo>
                      <a:lnTo>
                        <a:pt x="2166" y="732"/>
                      </a:lnTo>
                      <a:lnTo>
                        <a:pt x="2196" y="732"/>
                      </a:lnTo>
                      <a:lnTo>
                        <a:pt x="2238" y="738"/>
                      </a:lnTo>
                      <a:lnTo>
                        <a:pt x="2322" y="738"/>
                      </a:lnTo>
                      <a:lnTo>
                        <a:pt x="2352" y="744"/>
                      </a:lnTo>
                      <a:lnTo>
                        <a:pt x="2352" y="750"/>
                      </a:lnTo>
                      <a:lnTo>
                        <a:pt x="2322" y="762"/>
                      </a:lnTo>
                      <a:lnTo>
                        <a:pt x="2280" y="762"/>
                      </a:lnTo>
                      <a:lnTo>
                        <a:pt x="2172" y="774"/>
                      </a:lnTo>
                      <a:lnTo>
                        <a:pt x="2136" y="774"/>
                      </a:lnTo>
                      <a:lnTo>
                        <a:pt x="2112" y="786"/>
                      </a:lnTo>
                      <a:lnTo>
                        <a:pt x="2106" y="792"/>
                      </a:lnTo>
                      <a:lnTo>
                        <a:pt x="2118" y="804"/>
                      </a:lnTo>
                      <a:lnTo>
                        <a:pt x="2130" y="810"/>
                      </a:lnTo>
                      <a:lnTo>
                        <a:pt x="2148" y="810"/>
                      </a:lnTo>
                      <a:lnTo>
                        <a:pt x="2160" y="816"/>
                      </a:lnTo>
                      <a:lnTo>
                        <a:pt x="2178" y="822"/>
                      </a:lnTo>
                      <a:lnTo>
                        <a:pt x="2190" y="828"/>
                      </a:lnTo>
                      <a:lnTo>
                        <a:pt x="2190" y="834"/>
                      </a:lnTo>
                      <a:lnTo>
                        <a:pt x="2184" y="840"/>
                      </a:lnTo>
                      <a:lnTo>
                        <a:pt x="2172" y="840"/>
                      </a:lnTo>
                      <a:lnTo>
                        <a:pt x="2154" y="858"/>
                      </a:lnTo>
                      <a:lnTo>
                        <a:pt x="2166" y="870"/>
                      </a:lnTo>
                      <a:lnTo>
                        <a:pt x="2322" y="870"/>
                      </a:lnTo>
                      <a:lnTo>
                        <a:pt x="2370" y="864"/>
                      </a:lnTo>
                      <a:lnTo>
                        <a:pt x="2436" y="858"/>
                      </a:lnTo>
                      <a:lnTo>
                        <a:pt x="2508" y="846"/>
                      </a:lnTo>
                      <a:lnTo>
                        <a:pt x="2574" y="840"/>
                      </a:lnTo>
                      <a:lnTo>
                        <a:pt x="2616" y="828"/>
                      </a:lnTo>
                      <a:lnTo>
                        <a:pt x="2652" y="828"/>
                      </a:lnTo>
                      <a:lnTo>
                        <a:pt x="2736" y="864"/>
                      </a:lnTo>
                      <a:lnTo>
                        <a:pt x="2778" y="876"/>
                      </a:lnTo>
                      <a:lnTo>
                        <a:pt x="2796" y="876"/>
                      </a:lnTo>
                      <a:lnTo>
                        <a:pt x="2814" y="870"/>
                      </a:lnTo>
                      <a:lnTo>
                        <a:pt x="2832" y="852"/>
                      </a:lnTo>
                      <a:lnTo>
                        <a:pt x="2838" y="840"/>
                      </a:lnTo>
                      <a:lnTo>
                        <a:pt x="2844" y="834"/>
                      </a:lnTo>
                      <a:lnTo>
                        <a:pt x="2844" y="822"/>
                      </a:lnTo>
                      <a:lnTo>
                        <a:pt x="2766" y="822"/>
                      </a:lnTo>
                      <a:lnTo>
                        <a:pt x="2802" y="798"/>
                      </a:lnTo>
                      <a:lnTo>
                        <a:pt x="2850" y="798"/>
                      </a:lnTo>
                      <a:lnTo>
                        <a:pt x="2898" y="792"/>
                      </a:lnTo>
                      <a:lnTo>
                        <a:pt x="2910" y="786"/>
                      </a:lnTo>
                      <a:lnTo>
                        <a:pt x="2916" y="786"/>
                      </a:lnTo>
                      <a:lnTo>
                        <a:pt x="2922" y="780"/>
                      </a:lnTo>
                      <a:lnTo>
                        <a:pt x="2916" y="768"/>
                      </a:lnTo>
                      <a:lnTo>
                        <a:pt x="2898" y="750"/>
                      </a:lnTo>
                      <a:lnTo>
                        <a:pt x="2898" y="744"/>
                      </a:lnTo>
                      <a:close/>
                      <a:moveTo>
                        <a:pt x="2868" y="882"/>
                      </a:moveTo>
                      <a:lnTo>
                        <a:pt x="2886" y="882"/>
                      </a:lnTo>
                      <a:lnTo>
                        <a:pt x="2904" y="876"/>
                      </a:lnTo>
                      <a:lnTo>
                        <a:pt x="2910" y="870"/>
                      </a:lnTo>
                      <a:lnTo>
                        <a:pt x="2910" y="864"/>
                      </a:lnTo>
                      <a:lnTo>
                        <a:pt x="2904" y="858"/>
                      </a:lnTo>
                      <a:lnTo>
                        <a:pt x="2880" y="858"/>
                      </a:lnTo>
                      <a:lnTo>
                        <a:pt x="2868" y="870"/>
                      </a:lnTo>
                      <a:lnTo>
                        <a:pt x="2868" y="882"/>
                      </a:lnTo>
                      <a:close/>
                      <a:moveTo>
                        <a:pt x="3276" y="330"/>
                      </a:moveTo>
                      <a:lnTo>
                        <a:pt x="3288" y="330"/>
                      </a:lnTo>
                      <a:lnTo>
                        <a:pt x="3294" y="324"/>
                      </a:lnTo>
                      <a:lnTo>
                        <a:pt x="3300" y="312"/>
                      </a:lnTo>
                      <a:lnTo>
                        <a:pt x="3300" y="306"/>
                      </a:lnTo>
                      <a:lnTo>
                        <a:pt x="3294" y="294"/>
                      </a:lnTo>
                      <a:lnTo>
                        <a:pt x="3288" y="288"/>
                      </a:lnTo>
                      <a:lnTo>
                        <a:pt x="3276" y="288"/>
                      </a:lnTo>
                      <a:lnTo>
                        <a:pt x="3270" y="300"/>
                      </a:lnTo>
                      <a:lnTo>
                        <a:pt x="3264" y="306"/>
                      </a:lnTo>
                      <a:lnTo>
                        <a:pt x="3264" y="324"/>
                      </a:lnTo>
                      <a:lnTo>
                        <a:pt x="3270" y="330"/>
                      </a:lnTo>
                      <a:lnTo>
                        <a:pt x="3276" y="330"/>
                      </a:lnTo>
                      <a:close/>
                      <a:moveTo>
                        <a:pt x="3462" y="228"/>
                      </a:moveTo>
                      <a:lnTo>
                        <a:pt x="3450" y="240"/>
                      </a:lnTo>
                      <a:lnTo>
                        <a:pt x="3450" y="252"/>
                      </a:lnTo>
                      <a:lnTo>
                        <a:pt x="3456" y="258"/>
                      </a:lnTo>
                      <a:lnTo>
                        <a:pt x="3528" y="258"/>
                      </a:lnTo>
                      <a:lnTo>
                        <a:pt x="3546" y="276"/>
                      </a:lnTo>
                      <a:lnTo>
                        <a:pt x="3558" y="282"/>
                      </a:lnTo>
                      <a:lnTo>
                        <a:pt x="3588" y="282"/>
                      </a:lnTo>
                      <a:lnTo>
                        <a:pt x="3612" y="270"/>
                      </a:lnTo>
                      <a:lnTo>
                        <a:pt x="3618" y="264"/>
                      </a:lnTo>
                      <a:lnTo>
                        <a:pt x="3606" y="252"/>
                      </a:lnTo>
                      <a:lnTo>
                        <a:pt x="3636" y="246"/>
                      </a:lnTo>
                      <a:lnTo>
                        <a:pt x="3594" y="210"/>
                      </a:lnTo>
                      <a:lnTo>
                        <a:pt x="3552" y="216"/>
                      </a:lnTo>
                      <a:lnTo>
                        <a:pt x="3534" y="198"/>
                      </a:lnTo>
                      <a:lnTo>
                        <a:pt x="3450" y="198"/>
                      </a:lnTo>
                      <a:lnTo>
                        <a:pt x="3438" y="204"/>
                      </a:lnTo>
                      <a:lnTo>
                        <a:pt x="3426" y="204"/>
                      </a:lnTo>
                      <a:lnTo>
                        <a:pt x="3420" y="210"/>
                      </a:lnTo>
                      <a:lnTo>
                        <a:pt x="3438" y="228"/>
                      </a:lnTo>
                      <a:lnTo>
                        <a:pt x="3462" y="228"/>
                      </a:lnTo>
                      <a:close/>
                      <a:moveTo>
                        <a:pt x="3432" y="1302"/>
                      </a:moveTo>
                      <a:lnTo>
                        <a:pt x="3408" y="1326"/>
                      </a:lnTo>
                      <a:lnTo>
                        <a:pt x="3408" y="1344"/>
                      </a:lnTo>
                      <a:lnTo>
                        <a:pt x="3438" y="1344"/>
                      </a:lnTo>
                      <a:lnTo>
                        <a:pt x="3462" y="1332"/>
                      </a:lnTo>
                      <a:lnTo>
                        <a:pt x="3468" y="1332"/>
                      </a:lnTo>
                      <a:lnTo>
                        <a:pt x="3480" y="1326"/>
                      </a:lnTo>
                      <a:lnTo>
                        <a:pt x="3486" y="1326"/>
                      </a:lnTo>
                      <a:lnTo>
                        <a:pt x="3504" y="1308"/>
                      </a:lnTo>
                      <a:lnTo>
                        <a:pt x="3516" y="1290"/>
                      </a:lnTo>
                      <a:lnTo>
                        <a:pt x="3516" y="1266"/>
                      </a:lnTo>
                      <a:lnTo>
                        <a:pt x="3510" y="1260"/>
                      </a:lnTo>
                      <a:lnTo>
                        <a:pt x="3498" y="1260"/>
                      </a:lnTo>
                      <a:lnTo>
                        <a:pt x="3480" y="1266"/>
                      </a:lnTo>
                      <a:lnTo>
                        <a:pt x="3432" y="1302"/>
                      </a:lnTo>
                      <a:close/>
                      <a:moveTo>
                        <a:pt x="4416" y="1392"/>
                      </a:moveTo>
                      <a:lnTo>
                        <a:pt x="4428" y="1380"/>
                      </a:lnTo>
                      <a:lnTo>
                        <a:pt x="4428" y="1374"/>
                      </a:lnTo>
                      <a:lnTo>
                        <a:pt x="4386" y="1374"/>
                      </a:lnTo>
                      <a:lnTo>
                        <a:pt x="4386" y="1380"/>
                      </a:lnTo>
                      <a:lnTo>
                        <a:pt x="4404" y="1398"/>
                      </a:lnTo>
                      <a:lnTo>
                        <a:pt x="4416" y="1392"/>
                      </a:lnTo>
                      <a:close/>
                      <a:moveTo>
                        <a:pt x="3120" y="2034"/>
                      </a:moveTo>
                      <a:lnTo>
                        <a:pt x="3132" y="2034"/>
                      </a:lnTo>
                      <a:lnTo>
                        <a:pt x="3138" y="2028"/>
                      </a:lnTo>
                      <a:lnTo>
                        <a:pt x="3132" y="2022"/>
                      </a:lnTo>
                      <a:lnTo>
                        <a:pt x="3120" y="2016"/>
                      </a:lnTo>
                      <a:lnTo>
                        <a:pt x="3114" y="2010"/>
                      </a:lnTo>
                      <a:lnTo>
                        <a:pt x="3108" y="2010"/>
                      </a:lnTo>
                      <a:lnTo>
                        <a:pt x="3090" y="2016"/>
                      </a:lnTo>
                      <a:lnTo>
                        <a:pt x="3078" y="2022"/>
                      </a:lnTo>
                      <a:lnTo>
                        <a:pt x="3072" y="2022"/>
                      </a:lnTo>
                      <a:lnTo>
                        <a:pt x="3072" y="2028"/>
                      </a:lnTo>
                      <a:lnTo>
                        <a:pt x="3078" y="2034"/>
                      </a:lnTo>
                      <a:lnTo>
                        <a:pt x="3120" y="2034"/>
                      </a:lnTo>
                      <a:close/>
                      <a:moveTo>
                        <a:pt x="4758" y="996"/>
                      </a:moveTo>
                      <a:lnTo>
                        <a:pt x="4746" y="996"/>
                      </a:lnTo>
                      <a:lnTo>
                        <a:pt x="4734" y="984"/>
                      </a:lnTo>
                      <a:lnTo>
                        <a:pt x="4704" y="1008"/>
                      </a:lnTo>
                      <a:lnTo>
                        <a:pt x="4704" y="978"/>
                      </a:lnTo>
                      <a:lnTo>
                        <a:pt x="4662" y="978"/>
                      </a:lnTo>
                      <a:lnTo>
                        <a:pt x="4668" y="978"/>
                      </a:lnTo>
                      <a:lnTo>
                        <a:pt x="4674" y="972"/>
                      </a:lnTo>
                      <a:lnTo>
                        <a:pt x="4686" y="972"/>
                      </a:lnTo>
                      <a:lnTo>
                        <a:pt x="4698" y="966"/>
                      </a:lnTo>
                      <a:lnTo>
                        <a:pt x="4704" y="954"/>
                      </a:lnTo>
                      <a:lnTo>
                        <a:pt x="4704" y="948"/>
                      </a:lnTo>
                      <a:lnTo>
                        <a:pt x="4698" y="942"/>
                      </a:lnTo>
                      <a:lnTo>
                        <a:pt x="4680" y="942"/>
                      </a:lnTo>
                      <a:lnTo>
                        <a:pt x="4668" y="936"/>
                      </a:lnTo>
                      <a:lnTo>
                        <a:pt x="4650" y="936"/>
                      </a:lnTo>
                      <a:lnTo>
                        <a:pt x="4632" y="930"/>
                      </a:lnTo>
                      <a:lnTo>
                        <a:pt x="4620" y="930"/>
                      </a:lnTo>
                      <a:lnTo>
                        <a:pt x="4614" y="918"/>
                      </a:lnTo>
                      <a:lnTo>
                        <a:pt x="4566" y="912"/>
                      </a:lnTo>
                      <a:lnTo>
                        <a:pt x="4500" y="870"/>
                      </a:lnTo>
                      <a:lnTo>
                        <a:pt x="4566" y="864"/>
                      </a:lnTo>
                      <a:lnTo>
                        <a:pt x="4536" y="840"/>
                      </a:lnTo>
                      <a:lnTo>
                        <a:pt x="4542" y="840"/>
                      </a:lnTo>
                      <a:lnTo>
                        <a:pt x="4548" y="834"/>
                      </a:lnTo>
                      <a:lnTo>
                        <a:pt x="4584" y="834"/>
                      </a:lnTo>
                      <a:lnTo>
                        <a:pt x="4596" y="840"/>
                      </a:lnTo>
                      <a:lnTo>
                        <a:pt x="4638" y="840"/>
                      </a:lnTo>
                      <a:lnTo>
                        <a:pt x="4638" y="834"/>
                      </a:lnTo>
                      <a:lnTo>
                        <a:pt x="4632" y="828"/>
                      </a:lnTo>
                      <a:lnTo>
                        <a:pt x="4614" y="822"/>
                      </a:lnTo>
                      <a:lnTo>
                        <a:pt x="4596" y="822"/>
                      </a:lnTo>
                      <a:lnTo>
                        <a:pt x="4578" y="816"/>
                      </a:lnTo>
                      <a:lnTo>
                        <a:pt x="4518" y="816"/>
                      </a:lnTo>
                      <a:lnTo>
                        <a:pt x="4536" y="816"/>
                      </a:lnTo>
                      <a:lnTo>
                        <a:pt x="4620" y="804"/>
                      </a:lnTo>
                      <a:lnTo>
                        <a:pt x="4638" y="798"/>
                      </a:lnTo>
                      <a:lnTo>
                        <a:pt x="4638" y="792"/>
                      </a:lnTo>
                      <a:lnTo>
                        <a:pt x="4632" y="792"/>
                      </a:lnTo>
                      <a:lnTo>
                        <a:pt x="4626" y="786"/>
                      </a:lnTo>
                      <a:lnTo>
                        <a:pt x="4608" y="786"/>
                      </a:lnTo>
                      <a:lnTo>
                        <a:pt x="4500" y="798"/>
                      </a:lnTo>
                      <a:lnTo>
                        <a:pt x="4560" y="762"/>
                      </a:lnTo>
                      <a:lnTo>
                        <a:pt x="4620" y="762"/>
                      </a:lnTo>
                      <a:lnTo>
                        <a:pt x="4626" y="756"/>
                      </a:lnTo>
                      <a:lnTo>
                        <a:pt x="4620" y="750"/>
                      </a:lnTo>
                      <a:lnTo>
                        <a:pt x="4584" y="738"/>
                      </a:lnTo>
                      <a:lnTo>
                        <a:pt x="4572" y="732"/>
                      </a:lnTo>
                      <a:lnTo>
                        <a:pt x="4554" y="732"/>
                      </a:lnTo>
                      <a:lnTo>
                        <a:pt x="4518" y="750"/>
                      </a:lnTo>
                      <a:lnTo>
                        <a:pt x="4500" y="744"/>
                      </a:lnTo>
                      <a:lnTo>
                        <a:pt x="4458" y="774"/>
                      </a:lnTo>
                      <a:lnTo>
                        <a:pt x="4464" y="756"/>
                      </a:lnTo>
                      <a:lnTo>
                        <a:pt x="4440" y="774"/>
                      </a:lnTo>
                      <a:lnTo>
                        <a:pt x="4464" y="744"/>
                      </a:lnTo>
                      <a:lnTo>
                        <a:pt x="4500" y="744"/>
                      </a:lnTo>
                      <a:lnTo>
                        <a:pt x="4506" y="738"/>
                      </a:lnTo>
                      <a:lnTo>
                        <a:pt x="4518" y="714"/>
                      </a:lnTo>
                      <a:lnTo>
                        <a:pt x="4518" y="708"/>
                      </a:lnTo>
                      <a:lnTo>
                        <a:pt x="4512" y="702"/>
                      </a:lnTo>
                      <a:lnTo>
                        <a:pt x="4506" y="708"/>
                      </a:lnTo>
                      <a:lnTo>
                        <a:pt x="4494" y="714"/>
                      </a:lnTo>
                      <a:lnTo>
                        <a:pt x="4488" y="726"/>
                      </a:lnTo>
                      <a:lnTo>
                        <a:pt x="4452" y="726"/>
                      </a:lnTo>
                      <a:lnTo>
                        <a:pt x="4428" y="738"/>
                      </a:lnTo>
                      <a:lnTo>
                        <a:pt x="4452" y="708"/>
                      </a:lnTo>
                      <a:lnTo>
                        <a:pt x="4482" y="708"/>
                      </a:lnTo>
                      <a:lnTo>
                        <a:pt x="4494" y="702"/>
                      </a:lnTo>
                      <a:lnTo>
                        <a:pt x="4500" y="702"/>
                      </a:lnTo>
                      <a:lnTo>
                        <a:pt x="4506" y="696"/>
                      </a:lnTo>
                      <a:lnTo>
                        <a:pt x="4506" y="690"/>
                      </a:lnTo>
                      <a:lnTo>
                        <a:pt x="4500" y="684"/>
                      </a:lnTo>
                      <a:lnTo>
                        <a:pt x="4458" y="684"/>
                      </a:lnTo>
                      <a:lnTo>
                        <a:pt x="4446" y="690"/>
                      </a:lnTo>
                      <a:lnTo>
                        <a:pt x="4428" y="696"/>
                      </a:lnTo>
                      <a:lnTo>
                        <a:pt x="4422" y="702"/>
                      </a:lnTo>
                      <a:lnTo>
                        <a:pt x="4416" y="702"/>
                      </a:lnTo>
                      <a:lnTo>
                        <a:pt x="4404" y="684"/>
                      </a:lnTo>
                      <a:lnTo>
                        <a:pt x="4380" y="702"/>
                      </a:lnTo>
                      <a:lnTo>
                        <a:pt x="4398" y="672"/>
                      </a:lnTo>
                      <a:lnTo>
                        <a:pt x="4344" y="696"/>
                      </a:lnTo>
                      <a:lnTo>
                        <a:pt x="4344" y="672"/>
                      </a:lnTo>
                      <a:lnTo>
                        <a:pt x="4350" y="672"/>
                      </a:lnTo>
                      <a:lnTo>
                        <a:pt x="4356" y="666"/>
                      </a:lnTo>
                      <a:lnTo>
                        <a:pt x="4368" y="666"/>
                      </a:lnTo>
                      <a:lnTo>
                        <a:pt x="4386" y="660"/>
                      </a:lnTo>
                      <a:lnTo>
                        <a:pt x="4392" y="660"/>
                      </a:lnTo>
                      <a:lnTo>
                        <a:pt x="4398" y="654"/>
                      </a:lnTo>
                      <a:lnTo>
                        <a:pt x="4356" y="654"/>
                      </a:lnTo>
                      <a:lnTo>
                        <a:pt x="4338" y="660"/>
                      </a:lnTo>
                      <a:lnTo>
                        <a:pt x="4326" y="660"/>
                      </a:lnTo>
                      <a:lnTo>
                        <a:pt x="4320" y="648"/>
                      </a:lnTo>
                      <a:lnTo>
                        <a:pt x="4332" y="648"/>
                      </a:lnTo>
                      <a:lnTo>
                        <a:pt x="4356" y="636"/>
                      </a:lnTo>
                      <a:lnTo>
                        <a:pt x="4368" y="636"/>
                      </a:lnTo>
                      <a:lnTo>
                        <a:pt x="4380" y="630"/>
                      </a:lnTo>
                      <a:lnTo>
                        <a:pt x="4386" y="624"/>
                      </a:lnTo>
                      <a:lnTo>
                        <a:pt x="4368" y="618"/>
                      </a:lnTo>
                      <a:lnTo>
                        <a:pt x="4326" y="612"/>
                      </a:lnTo>
                      <a:lnTo>
                        <a:pt x="4290" y="612"/>
                      </a:lnTo>
                      <a:lnTo>
                        <a:pt x="4266" y="606"/>
                      </a:lnTo>
                      <a:lnTo>
                        <a:pt x="4236" y="606"/>
                      </a:lnTo>
                      <a:lnTo>
                        <a:pt x="4230" y="612"/>
                      </a:lnTo>
                      <a:lnTo>
                        <a:pt x="4230" y="618"/>
                      </a:lnTo>
                      <a:lnTo>
                        <a:pt x="4236" y="624"/>
                      </a:lnTo>
                      <a:lnTo>
                        <a:pt x="4242" y="636"/>
                      </a:lnTo>
                      <a:lnTo>
                        <a:pt x="4206" y="630"/>
                      </a:lnTo>
                      <a:lnTo>
                        <a:pt x="4212" y="660"/>
                      </a:lnTo>
                      <a:lnTo>
                        <a:pt x="4194" y="636"/>
                      </a:lnTo>
                      <a:lnTo>
                        <a:pt x="4152" y="660"/>
                      </a:lnTo>
                      <a:lnTo>
                        <a:pt x="4158" y="654"/>
                      </a:lnTo>
                      <a:lnTo>
                        <a:pt x="4158" y="636"/>
                      </a:lnTo>
                      <a:lnTo>
                        <a:pt x="4152" y="630"/>
                      </a:lnTo>
                      <a:lnTo>
                        <a:pt x="4140" y="630"/>
                      </a:lnTo>
                      <a:lnTo>
                        <a:pt x="4122" y="636"/>
                      </a:lnTo>
                      <a:lnTo>
                        <a:pt x="4110" y="642"/>
                      </a:lnTo>
                      <a:lnTo>
                        <a:pt x="4098" y="642"/>
                      </a:lnTo>
                      <a:lnTo>
                        <a:pt x="4086" y="648"/>
                      </a:lnTo>
                      <a:lnTo>
                        <a:pt x="4080" y="654"/>
                      </a:lnTo>
                      <a:lnTo>
                        <a:pt x="4074" y="654"/>
                      </a:lnTo>
                      <a:lnTo>
                        <a:pt x="4092" y="618"/>
                      </a:lnTo>
                      <a:lnTo>
                        <a:pt x="4110" y="618"/>
                      </a:lnTo>
                      <a:lnTo>
                        <a:pt x="4122" y="612"/>
                      </a:lnTo>
                      <a:lnTo>
                        <a:pt x="4134" y="612"/>
                      </a:lnTo>
                      <a:lnTo>
                        <a:pt x="4146" y="606"/>
                      </a:lnTo>
                      <a:lnTo>
                        <a:pt x="4152" y="600"/>
                      </a:lnTo>
                      <a:lnTo>
                        <a:pt x="4152" y="594"/>
                      </a:lnTo>
                      <a:lnTo>
                        <a:pt x="4146" y="582"/>
                      </a:lnTo>
                      <a:lnTo>
                        <a:pt x="4134" y="570"/>
                      </a:lnTo>
                      <a:lnTo>
                        <a:pt x="4152" y="552"/>
                      </a:lnTo>
                      <a:lnTo>
                        <a:pt x="4152" y="540"/>
                      </a:lnTo>
                      <a:lnTo>
                        <a:pt x="4050" y="540"/>
                      </a:lnTo>
                      <a:lnTo>
                        <a:pt x="4026" y="558"/>
                      </a:lnTo>
                      <a:lnTo>
                        <a:pt x="3942" y="558"/>
                      </a:lnTo>
                      <a:lnTo>
                        <a:pt x="3948" y="576"/>
                      </a:lnTo>
                      <a:lnTo>
                        <a:pt x="3978" y="588"/>
                      </a:lnTo>
                      <a:lnTo>
                        <a:pt x="3936" y="576"/>
                      </a:lnTo>
                      <a:lnTo>
                        <a:pt x="3948" y="600"/>
                      </a:lnTo>
                      <a:lnTo>
                        <a:pt x="3936" y="594"/>
                      </a:lnTo>
                      <a:lnTo>
                        <a:pt x="3930" y="594"/>
                      </a:lnTo>
                      <a:lnTo>
                        <a:pt x="3918" y="588"/>
                      </a:lnTo>
                      <a:lnTo>
                        <a:pt x="3894" y="588"/>
                      </a:lnTo>
                      <a:lnTo>
                        <a:pt x="3882" y="594"/>
                      </a:lnTo>
                      <a:lnTo>
                        <a:pt x="3876" y="606"/>
                      </a:lnTo>
                      <a:lnTo>
                        <a:pt x="3882" y="612"/>
                      </a:lnTo>
                      <a:lnTo>
                        <a:pt x="3888" y="624"/>
                      </a:lnTo>
                      <a:lnTo>
                        <a:pt x="3894" y="630"/>
                      </a:lnTo>
                      <a:lnTo>
                        <a:pt x="3900" y="660"/>
                      </a:lnTo>
                      <a:lnTo>
                        <a:pt x="3894" y="660"/>
                      </a:lnTo>
                      <a:lnTo>
                        <a:pt x="3888" y="654"/>
                      </a:lnTo>
                      <a:lnTo>
                        <a:pt x="3864" y="642"/>
                      </a:lnTo>
                      <a:lnTo>
                        <a:pt x="3852" y="642"/>
                      </a:lnTo>
                      <a:lnTo>
                        <a:pt x="3828" y="666"/>
                      </a:lnTo>
                      <a:lnTo>
                        <a:pt x="3828" y="678"/>
                      </a:lnTo>
                      <a:lnTo>
                        <a:pt x="3846" y="678"/>
                      </a:lnTo>
                      <a:lnTo>
                        <a:pt x="3858" y="690"/>
                      </a:lnTo>
                      <a:lnTo>
                        <a:pt x="3810" y="714"/>
                      </a:lnTo>
                      <a:lnTo>
                        <a:pt x="3750" y="720"/>
                      </a:lnTo>
                      <a:lnTo>
                        <a:pt x="3762" y="720"/>
                      </a:lnTo>
                      <a:lnTo>
                        <a:pt x="3798" y="702"/>
                      </a:lnTo>
                      <a:lnTo>
                        <a:pt x="3810" y="690"/>
                      </a:lnTo>
                      <a:lnTo>
                        <a:pt x="3810" y="684"/>
                      </a:lnTo>
                      <a:lnTo>
                        <a:pt x="3804" y="684"/>
                      </a:lnTo>
                      <a:lnTo>
                        <a:pt x="3792" y="672"/>
                      </a:lnTo>
                      <a:lnTo>
                        <a:pt x="3786" y="672"/>
                      </a:lnTo>
                      <a:lnTo>
                        <a:pt x="3786" y="660"/>
                      </a:lnTo>
                      <a:lnTo>
                        <a:pt x="3804" y="642"/>
                      </a:lnTo>
                      <a:lnTo>
                        <a:pt x="3816" y="636"/>
                      </a:lnTo>
                      <a:lnTo>
                        <a:pt x="3828" y="636"/>
                      </a:lnTo>
                      <a:lnTo>
                        <a:pt x="3828" y="606"/>
                      </a:lnTo>
                      <a:lnTo>
                        <a:pt x="3840" y="600"/>
                      </a:lnTo>
                      <a:lnTo>
                        <a:pt x="3858" y="582"/>
                      </a:lnTo>
                      <a:lnTo>
                        <a:pt x="3876" y="576"/>
                      </a:lnTo>
                      <a:lnTo>
                        <a:pt x="3882" y="570"/>
                      </a:lnTo>
                      <a:lnTo>
                        <a:pt x="3894" y="564"/>
                      </a:lnTo>
                      <a:lnTo>
                        <a:pt x="3906" y="564"/>
                      </a:lnTo>
                      <a:lnTo>
                        <a:pt x="3918" y="558"/>
                      </a:lnTo>
                      <a:lnTo>
                        <a:pt x="3936" y="552"/>
                      </a:lnTo>
                      <a:lnTo>
                        <a:pt x="3954" y="552"/>
                      </a:lnTo>
                      <a:lnTo>
                        <a:pt x="3966" y="546"/>
                      </a:lnTo>
                      <a:lnTo>
                        <a:pt x="3972" y="540"/>
                      </a:lnTo>
                      <a:lnTo>
                        <a:pt x="3942" y="534"/>
                      </a:lnTo>
                      <a:lnTo>
                        <a:pt x="3852" y="534"/>
                      </a:lnTo>
                      <a:lnTo>
                        <a:pt x="3822" y="540"/>
                      </a:lnTo>
                      <a:lnTo>
                        <a:pt x="3786" y="558"/>
                      </a:lnTo>
                      <a:lnTo>
                        <a:pt x="3744" y="576"/>
                      </a:lnTo>
                      <a:lnTo>
                        <a:pt x="3720" y="594"/>
                      </a:lnTo>
                      <a:lnTo>
                        <a:pt x="3708" y="600"/>
                      </a:lnTo>
                      <a:lnTo>
                        <a:pt x="3702" y="600"/>
                      </a:lnTo>
                      <a:lnTo>
                        <a:pt x="3696" y="606"/>
                      </a:lnTo>
                      <a:lnTo>
                        <a:pt x="3684" y="606"/>
                      </a:lnTo>
                      <a:lnTo>
                        <a:pt x="3660" y="618"/>
                      </a:lnTo>
                      <a:lnTo>
                        <a:pt x="3654" y="618"/>
                      </a:lnTo>
                      <a:lnTo>
                        <a:pt x="3642" y="624"/>
                      </a:lnTo>
                      <a:lnTo>
                        <a:pt x="3630" y="636"/>
                      </a:lnTo>
                      <a:lnTo>
                        <a:pt x="3618" y="642"/>
                      </a:lnTo>
                      <a:lnTo>
                        <a:pt x="3600" y="660"/>
                      </a:lnTo>
                      <a:lnTo>
                        <a:pt x="3588" y="666"/>
                      </a:lnTo>
                      <a:lnTo>
                        <a:pt x="3582" y="678"/>
                      </a:lnTo>
                      <a:lnTo>
                        <a:pt x="3582" y="684"/>
                      </a:lnTo>
                      <a:lnTo>
                        <a:pt x="3588" y="690"/>
                      </a:lnTo>
                      <a:lnTo>
                        <a:pt x="3612" y="690"/>
                      </a:lnTo>
                      <a:lnTo>
                        <a:pt x="3648" y="696"/>
                      </a:lnTo>
                      <a:lnTo>
                        <a:pt x="3672" y="696"/>
                      </a:lnTo>
                      <a:lnTo>
                        <a:pt x="3684" y="708"/>
                      </a:lnTo>
                      <a:lnTo>
                        <a:pt x="3666" y="714"/>
                      </a:lnTo>
                      <a:lnTo>
                        <a:pt x="3594" y="726"/>
                      </a:lnTo>
                      <a:lnTo>
                        <a:pt x="3570" y="732"/>
                      </a:lnTo>
                      <a:lnTo>
                        <a:pt x="3576" y="738"/>
                      </a:lnTo>
                      <a:lnTo>
                        <a:pt x="3594" y="750"/>
                      </a:lnTo>
                      <a:lnTo>
                        <a:pt x="3630" y="762"/>
                      </a:lnTo>
                      <a:lnTo>
                        <a:pt x="3642" y="768"/>
                      </a:lnTo>
                      <a:lnTo>
                        <a:pt x="3648" y="768"/>
                      </a:lnTo>
                      <a:lnTo>
                        <a:pt x="3690" y="750"/>
                      </a:lnTo>
                      <a:lnTo>
                        <a:pt x="3690" y="762"/>
                      </a:lnTo>
                      <a:lnTo>
                        <a:pt x="3702" y="774"/>
                      </a:lnTo>
                      <a:lnTo>
                        <a:pt x="3744" y="774"/>
                      </a:lnTo>
                      <a:lnTo>
                        <a:pt x="3786" y="780"/>
                      </a:lnTo>
                      <a:lnTo>
                        <a:pt x="3834" y="786"/>
                      </a:lnTo>
                      <a:lnTo>
                        <a:pt x="3876" y="792"/>
                      </a:lnTo>
                      <a:lnTo>
                        <a:pt x="3894" y="792"/>
                      </a:lnTo>
                      <a:lnTo>
                        <a:pt x="3900" y="786"/>
                      </a:lnTo>
                      <a:lnTo>
                        <a:pt x="3894" y="780"/>
                      </a:lnTo>
                      <a:lnTo>
                        <a:pt x="3882" y="774"/>
                      </a:lnTo>
                      <a:lnTo>
                        <a:pt x="3876" y="768"/>
                      </a:lnTo>
                      <a:lnTo>
                        <a:pt x="3894" y="768"/>
                      </a:lnTo>
                      <a:lnTo>
                        <a:pt x="3930" y="774"/>
                      </a:lnTo>
                      <a:lnTo>
                        <a:pt x="3966" y="774"/>
                      </a:lnTo>
                      <a:lnTo>
                        <a:pt x="3990" y="780"/>
                      </a:lnTo>
                      <a:lnTo>
                        <a:pt x="4002" y="780"/>
                      </a:lnTo>
                      <a:lnTo>
                        <a:pt x="4020" y="786"/>
                      </a:lnTo>
                      <a:lnTo>
                        <a:pt x="4032" y="792"/>
                      </a:lnTo>
                      <a:lnTo>
                        <a:pt x="4050" y="792"/>
                      </a:lnTo>
                      <a:lnTo>
                        <a:pt x="4062" y="786"/>
                      </a:lnTo>
                      <a:lnTo>
                        <a:pt x="4062" y="774"/>
                      </a:lnTo>
                      <a:lnTo>
                        <a:pt x="4056" y="768"/>
                      </a:lnTo>
                      <a:lnTo>
                        <a:pt x="4050" y="756"/>
                      </a:lnTo>
                      <a:lnTo>
                        <a:pt x="4044" y="750"/>
                      </a:lnTo>
                      <a:lnTo>
                        <a:pt x="4092" y="738"/>
                      </a:lnTo>
                      <a:lnTo>
                        <a:pt x="4092" y="744"/>
                      </a:lnTo>
                      <a:lnTo>
                        <a:pt x="4098" y="750"/>
                      </a:lnTo>
                      <a:lnTo>
                        <a:pt x="4104" y="762"/>
                      </a:lnTo>
                      <a:lnTo>
                        <a:pt x="4104" y="768"/>
                      </a:lnTo>
                      <a:lnTo>
                        <a:pt x="4110" y="774"/>
                      </a:lnTo>
                      <a:lnTo>
                        <a:pt x="4116" y="774"/>
                      </a:lnTo>
                      <a:lnTo>
                        <a:pt x="4122" y="780"/>
                      </a:lnTo>
                      <a:lnTo>
                        <a:pt x="4134" y="786"/>
                      </a:lnTo>
                      <a:lnTo>
                        <a:pt x="4140" y="792"/>
                      </a:lnTo>
                      <a:lnTo>
                        <a:pt x="4170" y="786"/>
                      </a:lnTo>
                      <a:lnTo>
                        <a:pt x="4170" y="792"/>
                      </a:lnTo>
                      <a:lnTo>
                        <a:pt x="4164" y="798"/>
                      </a:lnTo>
                      <a:lnTo>
                        <a:pt x="4164" y="816"/>
                      </a:lnTo>
                      <a:lnTo>
                        <a:pt x="4170" y="816"/>
                      </a:lnTo>
                      <a:lnTo>
                        <a:pt x="4182" y="822"/>
                      </a:lnTo>
                      <a:lnTo>
                        <a:pt x="4200" y="822"/>
                      </a:lnTo>
                      <a:lnTo>
                        <a:pt x="4206" y="828"/>
                      </a:lnTo>
                      <a:lnTo>
                        <a:pt x="4212" y="828"/>
                      </a:lnTo>
                      <a:lnTo>
                        <a:pt x="4194" y="846"/>
                      </a:lnTo>
                      <a:lnTo>
                        <a:pt x="4194" y="858"/>
                      </a:lnTo>
                      <a:lnTo>
                        <a:pt x="4230" y="858"/>
                      </a:lnTo>
                      <a:lnTo>
                        <a:pt x="4224" y="882"/>
                      </a:lnTo>
                      <a:lnTo>
                        <a:pt x="4236" y="882"/>
                      </a:lnTo>
                      <a:lnTo>
                        <a:pt x="4248" y="888"/>
                      </a:lnTo>
                      <a:lnTo>
                        <a:pt x="4254" y="888"/>
                      </a:lnTo>
                      <a:lnTo>
                        <a:pt x="4278" y="900"/>
                      </a:lnTo>
                      <a:lnTo>
                        <a:pt x="4278" y="924"/>
                      </a:lnTo>
                      <a:lnTo>
                        <a:pt x="4266" y="948"/>
                      </a:lnTo>
                      <a:lnTo>
                        <a:pt x="4254" y="966"/>
                      </a:lnTo>
                      <a:lnTo>
                        <a:pt x="4248" y="978"/>
                      </a:lnTo>
                      <a:lnTo>
                        <a:pt x="4236" y="990"/>
                      </a:lnTo>
                      <a:lnTo>
                        <a:pt x="4218" y="996"/>
                      </a:lnTo>
                      <a:lnTo>
                        <a:pt x="4182" y="1014"/>
                      </a:lnTo>
                      <a:lnTo>
                        <a:pt x="4140" y="1026"/>
                      </a:lnTo>
                      <a:lnTo>
                        <a:pt x="4092" y="1050"/>
                      </a:lnTo>
                      <a:lnTo>
                        <a:pt x="4098" y="1056"/>
                      </a:lnTo>
                      <a:lnTo>
                        <a:pt x="4110" y="1062"/>
                      </a:lnTo>
                      <a:lnTo>
                        <a:pt x="4122" y="1074"/>
                      </a:lnTo>
                      <a:lnTo>
                        <a:pt x="4122" y="1080"/>
                      </a:lnTo>
                      <a:lnTo>
                        <a:pt x="4116" y="1086"/>
                      </a:lnTo>
                      <a:lnTo>
                        <a:pt x="4080" y="1098"/>
                      </a:lnTo>
                      <a:lnTo>
                        <a:pt x="4062" y="1098"/>
                      </a:lnTo>
                      <a:lnTo>
                        <a:pt x="3984" y="1110"/>
                      </a:lnTo>
                      <a:lnTo>
                        <a:pt x="3978" y="1128"/>
                      </a:lnTo>
                      <a:lnTo>
                        <a:pt x="3960" y="1110"/>
                      </a:lnTo>
                      <a:lnTo>
                        <a:pt x="3954" y="1110"/>
                      </a:lnTo>
                      <a:lnTo>
                        <a:pt x="3948" y="1104"/>
                      </a:lnTo>
                      <a:lnTo>
                        <a:pt x="3930" y="1104"/>
                      </a:lnTo>
                      <a:lnTo>
                        <a:pt x="3918" y="1098"/>
                      </a:lnTo>
                      <a:lnTo>
                        <a:pt x="3900" y="1098"/>
                      </a:lnTo>
                      <a:lnTo>
                        <a:pt x="3888" y="1104"/>
                      </a:lnTo>
                      <a:lnTo>
                        <a:pt x="3882" y="1110"/>
                      </a:lnTo>
                      <a:lnTo>
                        <a:pt x="3882" y="1122"/>
                      </a:lnTo>
                      <a:lnTo>
                        <a:pt x="3870" y="1122"/>
                      </a:lnTo>
                      <a:lnTo>
                        <a:pt x="3858" y="1128"/>
                      </a:lnTo>
                      <a:lnTo>
                        <a:pt x="3840" y="1134"/>
                      </a:lnTo>
                      <a:lnTo>
                        <a:pt x="3828" y="1140"/>
                      </a:lnTo>
                      <a:lnTo>
                        <a:pt x="3822" y="1146"/>
                      </a:lnTo>
                      <a:lnTo>
                        <a:pt x="3816" y="1158"/>
                      </a:lnTo>
                      <a:lnTo>
                        <a:pt x="3816" y="1170"/>
                      </a:lnTo>
                      <a:lnTo>
                        <a:pt x="3822" y="1182"/>
                      </a:lnTo>
                      <a:lnTo>
                        <a:pt x="3834" y="1188"/>
                      </a:lnTo>
                      <a:lnTo>
                        <a:pt x="3864" y="1188"/>
                      </a:lnTo>
                      <a:lnTo>
                        <a:pt x="3876" y="1182"/>
                      </a:lnTo>
                      <a:lnTo>
                        <a:pt x="3894" y="1182"/>
                      </a:lnTo>
                      <a:lnTo>
                        <a:pt x="3906" y="1176"/>
                      </a:lnTo>
                      <a:lnTo>
                        <a:pt x="3924" y="1170"/>
                      </a:lnTo>
                      <a:lnTo>
                        <a:pt x="3936" y="1164"/>
                      </a:lnTo>
                      <a:lnTo>
                        <a:pt x="3966" y="1164"/>
                      </a:lnTo>
                      <a:lnTo>
                        <a:pt x="3978" y="1176"/>
                      </a:lnTo>
                      <a:lnTo>
                        <a:pt x="3996" y="1176"/>
                      </a:lnTo>
                      <a:lnTo>
                        <a:pt x="4002" y="1170"/>
                      </a:lnTo>
                      <a:lnTo>
                        <a:pt x="4002" y="1152"/>
                      </a:lnTo>
                      <a:lnTo>
                        <a:pt x="4026" y="1128"/>
                      </a:lnTo>
                      <a:lnTo>
                        <a:pt x="4014" y="1140"/>
                      </a:lnTo>
                      <a:lnTo>
                        <a:pt x="4014" y="1146"/>
                      </a:lnTo>
                      <a:lnTo>
                        <a:pt x="4020" y="1152"/>
                      </a:lnTo>
                      <a:lnTo>
                        <a:pt x="4086" y="1152"/>
                      </a:lnTo>
                      <a:lnTo>
                        <a:pt x="4080" y="1158"/>
                      </a:lnTo>
                      <a:lnTo>
                        <a:pt x="4068" y="1164"/>
                      </a:lnTo>
                      <a:lnTo>
                        <a:pt x="4062" y="1170"/>
                      </a:lnTo>
                      <a:lnTo>
                        <a:pt x="4062" y="1176"/>
                      </a:lnTo>
                      <a:lnTo>
                        <a:pt x="4068" y="1182"/>
                      </a:lnTo>
                      <a:lnTo>
                        <a:pt x="4080" y="1182"/>
                      </a:lnTo>
                      <a:lnTo>
                        <a:pt x="4086" y="1188"/>
                      </a:lnTo>
                      <a:lnTo>
                        <a:pt x="4098" y="1188"/>
                      </a:lnTo>
                      <a:lnTo>
                        <a:pt x="4086" y="1200"/>
                      </a:lnTo>
                      <a:lnTo>
                        <a:pt x="4086" y="1206"/>
                      </a:lnTo>
                      <a:lnTo>
                        <a:pt x="4092" y="1212"/>
                      </a:lnTo>
                      <a:lnTo>
                        <a:pt x="4116" y="1224"/>
                      </a:lnTo>
                      <a:lnTo>
                        <a:pt x="4146" y="1224"/>
                      </a:lnTo>
                      <a:lnTo>
                        <a:pt x="4098" y="1242"/>
                      </a:lnTo>
                      <a:lnTo>
                        <a:pt x="4098" y="1248"/>
                      </a:lnTo>
                      <a:lnTo>
                        <a:pt x="4110" y="1260"/>
                      </a:lnTo>
                      <a:lnTo>
                        <a:pt x="4110" y="1266"/>
                      </a:lnTo>
                      <a:lnTo>
                        <a:pt x="4116" y="1272"/>
                      </a:lnTo>
                      <a:lnTo>
                        <a:pt x="4122" y="1266"/>
                      </a:lnTo>
                      <a:lnTo>
                        <a:pt x="4128" y="1266"/>
                      </a:lnTo>
                      <a:lnTo>
                        <a:pt x="4140" y="1260"/>
                      </a:lnTo>
                      <a:lnTo>
                        <a:pt x="4146" y="1272"/>
                      </a:lnTo>
                      <a:lnTo>
                        <a:pt x="4158" y="1284"/>
                      </a:lnTo>
                      <a:lnTo>
                        <a:pt x="4182" y="1284"/>
                      </a:lnTo>
                      <a:lnTo>
                        <a:pt x="4194" y="1290"/>
                      </a:lnTo>
                      <a:lnTo>
                        <a:pt x="4206" y="1290"/>
                      </a:lnTo>
                      <a:lnTo>
                        <a:pt x="4206" y="1308"/>
                      </a:lnTo>
                      <a:lnTo>
                        <a:pt x="4212" y="1314"/>
                      </a:lnTo>
                      <a:lnTo>
                        <a:pt x="4224" y="1320"/>
                      </a:lnTo>
                      <a:lnTo>
                        <a:pt x="4272" y="1320"/>
                      </a:lnTo>
                      <a:lnTo>
                        <a:pt x="4290" y="1326"/>
                      </a:lnTo>
                      <a:lnTo>
                        <a:pt x="4350" y="1356"/>
                      </a:lnTo>
                      <a:lnTo>
                        <a:pt x="4356" y="1362"/>
                      </a:lnTo>
                      <a:lnTo>
                        <a:pt x="4362" y="1362"/>
                      </a:lnTo>
                      <a:lnTo>
                        <a:pt x="4362" y="1356"/>
                      </a:lnTo>
                      <a:lnTo>
                        <a:pt x="4368" y="1350"/>
                      </a:lnTo>
                      <a:lnTo>
                        <a:pt x="4368" y="1320"/>
                      </a:lnTo>
                      <a:lnTo>
                        <a:pt x="4362" y="1308"/>
                      </a:lnTo>
                      <a:lnTo>
                        <a:pt x="4350" y="1296"/>
                      </a:lnTo>
                      <a:lnTo>
                        <a:pt x="4338" y="1290"/>
                      </a:lnTo>
                      <a:lnTo>
                        <a:pt x="4320" y="1272"/>
                      </a:lnTo>
                      <a:lnTo>
                        <a:pt x="4314" y="1272"/>
                      </a:lnTo>
                      <a:lnTo>
                        <a:pt x="4308" y="1260"/>
                      </a:lnTo>
                      <a:lnTo>
                        <a:pt x="4302" y="1254"/>
                      </a:lnTo>
                      <a:lnTo>
                        <a:pt x="4290" y="1230"/>
                      </a:lnTo>
                      <a:lnTo>
                        <a:pt x="4290" y="1224"/>
                      </a:lnTo>
                      <a:lnTo>
                        <a:pt x="4308" y="1224"/>
                      </a:lnTo>
                      <a:lnTo>
                        <a:pt x="4314" y="1230"/>
                      </a:lnTo>
                      <a:lnTo>
                        <a:pt x="4326" y="1236"/>
                      </a:lnTo>
                      <a:lnTo>
                        <a:pt x="4332" y="1242"/>
                      </a:lnTo>
                      <a:lnTo>
                        <a:pt x="4332" y="1212"/>
                      </a:lnTo>
                      <a:lnTo>
                        <a:pt x="4332" y="1218"/>
                      </a:lnTo>
                      <a:lnTo>
                        <a:pt x="4344" y="1230"/>
                      </a:lnTo>
                      <a:lnTo>
                        <a:pt x="4350" y="1242"/>
                      </a:lnTo>
                      <a:lnTo>
                        <a:pt x="4362" y="1254"/>
                      </a:lnTo>
                      <a:lnTo>
                        <a:pt x="4374" y="1254"/>
                      </a:lnTo>
                      <a:lnTo>
                        <a:pt x="4386" y="1248"/>
                      </a:lnTo>
                      <a:lnTo>
                        <a:pt x="4398" y="1248"/>
                      </a:lnTo>
                      <a:lnTo>
                        <a:pt x="4398" y="1272"/>
                      </a:lnTo>
                      <a:lnTo>
                        <a:pt x="4404" y="1278"/>
                      </a:lnTo>
                      <a:lnTo>
                        <a:pt x="4416" y="1278"/>
                      </a:lnTo>
                      <a:lnTo>
                        <a:pt x="4428" y="1290"/>
                      </a:lnTo>
                      <a:lnTo>
                        <a:pt x="4452" y="1272"/>
                      </a:lnTo>
                      <a:lnTo>
                        <a:pt x="4464" y="1284"/>
                      </a:lnTo>
                      <a:lnTo>
                        <a:pt x="4470" y="1284"/>
                      </a:lnTo>
                      <a:lnTo>
                        <a:pt x="4476" y="1278"/>
                      </a:lnTo>
                      <a:lnTo>
                        <a:pt x="4476" y="1260"/>
                      </a:lnTo>
                      <a:lnTo>
                        <a:pt x="4470" y="1254"/>
                      </a:lnTo>
                      <a:lnTo>
                        <a:pt x="4488" y="1212"/>
                      </a:lnTo>
                      <a:lnTo>
                        <a:pt x="4488" y="1236"/>
                      </a:lnTo>
                      <a:lnTo>
                        <a:pt x="4500" y="1248"/>
                      </a:lnTo>
                      <a:lnTo>
                        <a:pt x="4512" y="1236"/>
                      </a:lnTo>
                      <a:lnTo>
                        <a:pt x="4518" y="1218"/>
                      </a:lnTo>
                      <a:lnTo>
                        <a:pt x="4518" y="1206"/>
                      </a:lnTo>
                      <a:lnTo>
                        <a:pt x="4494" y="1182"/>
                      </a:lnTo>
                      <a:lnTo>
                        <a:pt x="4518" y="1176"/>
                      </a:lnTo>
                      <a:lnTo>
                        <a:pt x="4500" y="1164"/>
                      </a:lnTo>
                      <a:lnTo>
                        <a:pt x="4500" y="1146"/>
                      </a:lnTo>
                      <a:lnTo>
                        <a:pt x="4470" y="1146"/>
                      </a:lnTo>
                      <a:lnTo>
                        <a:pt x="4470" y="1134"/>
                      </a:lnTo>
                      <a:lnTo>
                        <a:pt x="4446" y="1134"/>
                      </a:lnTo>
                      <a:lnTo>
                        <a:pt x="4446" y="1080"/>
                      </a:lnTo>
                      <a:lnTo>
                        <a:pt x="4416" y="1086"/>
                      </a:lnTo>
                      <a:lnTo>
                        <a:pt x="4410" y="1080"/>
                      </a:lnTo>
                      <a:lnTo>
                        <a:pt x="4410" y="1056"/>
                      </a:lnTo>
                      <a:lnTo>
                        <a:pt x="4416" y="1050"/>
                      </a:lnTo>
                      <a:lnTo>
                        <a:pt x="4428" y="1050"/>
                      </a:lnTo>
                      <a:lnTo>
                        <a:pt x="4434" y="1056"/>
                      </a:lnTo>
                      <a:lnTo>
                        <a:pt x="4446" y="1062"/>
                      </a:lnTo>
                      <a:lnTo>
                        <a:pt x="4452" y="1068"/>
                      </a:lnTo>
                      <a:lnTo>
                        <a:pt x="4458" y="1068"/>
                      </a:lnTo>
                      <a:lnTo>
                        <a:pt x="4464" y="1062"/>
                      </a:lnTo>
                      <a:lnTo>
                        <a:pt x="4464" y="1026"/>
                      </a:lnTo>
                      <a:lnTo>
                        <a:pt x="4488" y="1032"/>
                      </a:lnTo>
                      <a:lnTo>
                        <a:pt x="4524" y="1014"/>
                      </a:lnTo>
                      <a:lnTo>
                        <a:pt x="4524" y="1026"/>
                      </a:lnTo>
                      <a:lnTo>
                        <a:pt x="4530" y="1038"/>
                      </a:lnTo>
                      <a:lnTo>
                        <a:pt x="4530" y="1044"/>
                      </a:lnTo>
                      <a:lnTo>
                        <a:pt x="4536" y="1050"/>
                      </a:lnTo>
                      <a:lnTo>
                        <a:pt x="4548" y="1044"/>
                      </a:lnTo>
                      <a:lnTo>
                        <a:pt x="4566" y="1044"/>
                      </a:lnTo>
                      <a:lnTo>
                        <a:pt x="4554" y="1062"/>
                      </a:lnTo>
                      <a:lnTo>
                        <a:pt x="4578" y="1062"/>
                      </a:lnTo>
                      <a:lnTo>
                        <a:pt x="4566" y="1092"/>
                      </a:lnTo>
                      <a:lnTo>
                        <a:pt x="4566" y="1098"/>
                      </a:lnTo>
                      <a:lnTo>
                        <a:pt x="4584" y="1116"/>
                      </a:lnTo>
                      <a:lnTo>
                        <a:pt x="4590" y="1128"/>
                      </a:lnTo>
                      <a:lnTo>
                        <a:pt x="4614" y="1140"/>
                      </a:lnTo>
                      <a:lnTo>
                        <a:pt x="4626" y="1134"/>
                      </a:lnTo>
                      <a:lnTo>
                        <a:pt x="4638" y="1122"/>
                      </a:lnTo>
                      <a:lnTo>
                        <a:pt x="4656" y="1086"/>
                      </a:lnTo>
                      <a:lnTo>
                        <a:pt x="4656" y="1080"/>
                      </a:lnTo>
                      <a:lnTo>
                        <a:pt x="4662" y="1068"/>
                      </a:lnTo>
                      <a:lnTo>
                        <a:pt x="4668" y="1074"/>
                      </a:lnTo>
                      <a:lnTo>
                        <a:pt x="4680" y="1080"/>
                      </a:lnTo>
                      <a:lnTo>
                        <a:pt x="4692" y="1080"/>
                      </a:lnTo>
                      <a:lnTo>
                        <a:pt x="4698" y="1086"/>
                      </a:lnTo>
                      <a:lnTo>
                        <a:pt x="4710" y="1080"/>
                      </a:lnTo>
                      <a:lnTo>
                        <a:pt x="4722" y="1068"/>
                      </a:lnTo>
                      <a:lnTo>
                        <a:pt x="4728" y="1056"/>
                      </a:lnTo>
                      <a:lnTo>
                        <a:pt x="4728" y="1038"/>
                      </a:lnTo>
                      <a:lnTo>
                        <a:pt x="4794" y="1038"/>
                      </a:lnTo>
                      <a:lnTo>
                        <a:pt x="4806" y="1026"/>
                      </a:lnTo>
                      <a:lnTo>
                        <a:pt x="4812" y="1014"/>
                      </a:lnTo>
                      <a:lnTo>
                        <a:pt x="4800" y="1002"/>
                      </a:lnTo>
                      <a:lnTo>
                        <a:pt x="4788" y="996"/>
                      </a:lnTo>
                      <a:lnTo>
                        <a:pt x="4758" y="996"/>
                      </a:lnTo>
                      <a:close/>
                      <a:moveTo>
                        <a:pt x="4476" y="1308"/>
                      </a:moveTo>
                      <a:lnTo>
                        <a:pt x="4446" y="1308"/>
                      </a:lnTo>
                      <a:lnTo>
                        <a:pt x="4440" y="1326"/>
                      </a:lnTo>
                      <a:lnTo>
                        <a:pt x="4476" y="1320"/>
                      </a:lnTo>
                      <a:lnTo>
                        <a:pt x="4476" y="1308"/>
                      </a:lnTo>
                      <a:close/>
                      <a:moveTo>
                        <a:pt x="4140" y="1290"/>
                      </a:moveTo>
                      <a:lnTo>
                        <a:pt x="4134" y="1290"/>
                      </a:lnTo>
                      <a:lnTo>
                        <a:pt x="4128" y="1296"/>
                      </a:lnTo>
                      <a:lnTo>
                        <a:pt x="4128" y="1308"/>
                      </a:lnTo>
                      <a:lnTo>
                        <a:pt x="4134" y="1314"/>
                      </a:lnTo>
                      <a:lnTo>
                        <a:pt x="4158" y="1314"/>
                      </a:lnTo>
                      <a:lnTo>
                        <a:pt x="4164" y="1308"/>
                      </a:lnTo>
                      <a:lnTo>
                        <a:pt x="4164" y="1296"/>
                      </a:lnTo>
                      <a:lnTo>
                        <a:pt x="4158" y="1290"/>
                      </a:lnTo>
                      <a:lnTo>
                        <a:pt x="4140" y="1290"/>
                      </a:lnTo>
                      <a:close/>
                      <a:moveTo>
                        <a:pt x="3834" y="1242"/>
                      </a:moveTo>
                      <a:lnTo>
                        <a:pt x="3840" y="1236"/>
                      </a:lnTo>
                      <a:lnTo>
                        <a:pt x="3834" y="1230"/>
                      </a:lnTo>
                      <a:lnTo>
                        <a:pt x="3828" y="1230"/>
                      </a:lnTo>
                      <a:lnTo>
                        <a:pt x="3822" y="1224"/>
                      </a:lnTo>
                      <a:lnTo>
                        <a:pt x="3810" y="1224"/>
                      </a:lnTo>
                      <a:lnTo>
                        <a:pt x="3810" y="1236"/>
                      </a:lnTo>
                      <a:lnTo>
                        <a:pt x="3816" y="1242"/>
                      </a:lnTo>
                      <a:lnTo>
                        <a:pt x="3816" y="1248"/>
                      </a:lnTo>
                      <a:lnTo>
                        <a:pt x="3828" y="1248"/>
                      </a:lnTo>
                      <a:lnTo>
                        <a:pt x="3834" y="1242"/>
                      </a:lnTo>
                      <a:close/>
                      <a:moveTo>
                        <a:pt x="4206" y="1452"/>
                      </a:moveTo>
                      <a:lnTo>
                        <a:pt x="4170" y="1452"/>
                      </a:lnTo>
                      <a:lnTo>
                        <a:pt x="4206" y="1476"/>
                      </a:lnTo>
                      <a:lnTo>
                        <a:pt x="4218" y="1470"/>
                      </a:lnTo>
                      <a:lnTo>
                        <a:pt x="4218" y="1458"/>
                      </a:lnTo>
                      <a:lnTo>
                        <a:pt x="4212" y="1458"/>
                      </a:lnTo>
                      <a:lnTo>
                        <a:pt x="4206" y="1452"/>
                      </a:lnTo>
                      <a:close/>
                      <a:moveTo>
                        <a:pt x="4170" y="870"/>
                      </a:moveTo>
                      <a:lnTo>
                        <a:pt x="4152" y="870"/>
                      </a:lnTo>
                      <a:lnTo>
                        <a:pt x="4152" y="876"/>
                      </a:lnTo>
                      <a:lnTo>
                        <a:pt x="4158" y="882"/>
                      </a:lnTo>
                      <a:lnTo>
                        <a:pt x="4164" y="882"/>
                      </a:lnTo>
                      <a:lnTo>
                        <a:pt x="4170" y="888"/>
                      </a:lnTo>
                      <a:lnTo>
                        <a:pt x="4182" y="882"/>
                      </a:lnTo>
                      <a:lnTo>
                        <a:pt x="4188" y="882"/>
                      </a:lnTo>
                      <a:lnTo>
                        <a:pt x="4194" y="876"/>
                      </a:lnTo>
                      <a:lnTo>
                        <a:pt x="4188" y="870"/>
                      </a:lnTo>
                      <a:lnTo>
                        <a:pt x="4170" y="870"/>
                      </a:lnTo>
                      <a:close/>
                      <a:moveTo>
                        <a:pt x="4170" y="936"/>
                      </a:moveTo>
                      <a:lnTo>
                        <a:pt x="4236" y="936"/>
                      </a:lnTo>
                      <a:lnTo>
                        <a:pt x="4236" y="918"/>
                      </a:lnTo>
                      <a:lnTo>
                        <a:pt x="4188" y="918"/>
                      </a:lnTo>
                      <a:lnTo>
                        <a:pt x="4170" y="936"/>
                      </a:lnTo>
                      <a:close/>
                      <a:moveTo>
                        <a:pt x="5574" y="36"/>
                      </a:moveTo>
                      <a:lnTo>
                        <a:pt x="5490" y="36"/>
                      </a:lnTo>
                      <a:lnTo>
                        <a:pt x="5496" y="24"/>
                      </a:lnTo>
                      <a:lnTo>
                        <a:pt x="5490" y="24"/>
                      </a:lnTo>
                      <a:lnTo>
                        <a:pt x="5484" y="18"/>
                      </a:lnTo>
                      <a:lnTo>
                        <a:pt x="5448" y="18"/>
                      </a:lnTo>
                      <a:lnTo>
                        <a:pt x="5430" y="12"/>
                      </a:lnTo>
                      <a:lnTo>
                        <a:pt x="5400" y="12"/>
                      </a:lnTo>
                      <a:lnTo>
                        <a:pt x="5364" y="18"/>
                      </a:lnTo>
                      <a:lnTo>
                        <a:pt x="5334" y="30"/>
                      </a:lnTo>
                      <a:lnTo>
                        <a:pt x="5304" y="36"/>
                      </a:lnTo>
                      <a:lnTo>
                        <a:pt x="5292" y="36"/>
                      </a:lnTo>
                      <a:lnTo>
                        <a:pt x="5346" y="12"/>
                      </a:lnTo>
                      <a:lnTo>
                        <a:pt x="5274" y="18"/>
                      </a:lnTo>
                      <a:lnTo>
                        <a:pt x="5268" y="18"/>
                      </a:lnTo>
                      <a:lnTo>
                        <a:pt x="5262" y="12"/>
                      </a:lnTo>
                      <a:lnTo>
                        <a:pt x="5250" y="12"/>
                      </a:lnTo>
                      <a:lnTo>
                        <a:pt x="5226" y="0"/>
                      </a:lnTo>
                      <a:lnTo>
                        <a:pt x="5196" y="0"/>
                      </a:lnTo>
                      <a:lnTo>
                        <a:pt x="5190" y="6"/>
                      </a:lnTo>
                      <a:lnTo>
                        <a:pt x="5184" y="18"/>
                      </a:lnTo>
                      <a:lnTo>
                        <a:pt x="5178" y="18"/>
                      </a:lnTo>
                      <a:lnTo>
                        <a:pt x="5172" y="12"/>
                      </a:lnTo>
                      <a:lnTo>
                        <a:pt x="5160" y="6"/>
                      </a:lnTo>
                      <a:lnTo>
                        <a:pt x="5148" y="6"/>
                      </a:lnTo>
                      <a:lnTo>
                        <a:pt x="5136" y="0"/>
                      </a:lnTo>
                      <a:lnTo>
                        <a:pt x="5124" y="0"/>
                      </a:lnTo>
                      <a:lnTo>
                        <a:pt x="5112" y="6"/>
                      </a:lnTo>
                      <a:lnTo>
                        <a:pt x="5106" y="12"/>
                      </a:lnTo>
                      <a:lnTo>
                        <a:pt x="5094" y="18"/>
                      </a:lnTo>
                      <a:lnTo>
                        <a:pt x="5088" y="24"/>
                      </a:lnTo>
                      <a:lnTo>
                        <a:pt x="5046" y="12"/>
                      </a:lnTo>
                      <a:lnTo>
                        <a:pt x="4938" y="6"/>
                      </a:lnTo>
                      <a:lnTo>
                        <a:pt x="4968" y="36"/>
                      </a:lnTo>
                      <a:lnTo>
                        <a:pt x="4902" y="12"/>
                      </a:lnTo>
                      <a:lnTo>
                        <a:pt x="4842" y="24"/>
                      </a:lnTo>
                      <a:lnTo>
                        <a:pt x="4830" y="24"/>
                      </a:lnTo>
                      <a:lnTo>
                        <a:pt x="4812" y="18"/>
                      </a:lnTo>
                      <a:lnTo>
                        <a:pt x="4746" y="18"/>
                      </a:lnTo>
                      <a:lnTo>
                        <a:pt x="4710" y="24"/>
                      </a:lnTo>
                      <a:lnTo>
                        <a:pt x="4686" y="36"/>
                      </a:lnTo>
                      <a:lnTo>
                        <a:pt x="4674" y="36"/>
                      </a:lnTo>
                      <a:lnTo>
                        <a:pt x="4764" y="60"/>
                      </a:lnTo>
                      <a:lnTo>
                        <a:pt x="4674" y="48"/>
                      </a:lnTo>
                      <a:lnTo>
                        <a:pt x="4662" y="48"/>
                      </a:lnTo>
                      <a:lnTo>
                        <a:pt x="4590" y="36"/>
                      </a:lnTo>
                      <a:lnTo>
                        <a:pt x="4542" y="36"/>
                      </a:lnTo>
                      <a:lnTo>
                        <a:pt x="4530" y="48"/>
                      </a:lnTo>
                      <a:lnTo>
                        <a:pt x="4530" y="60"/>
                      </a:lnTo>
                      <a:lnTo>
                        <a:pt x="4512" y="60"/>
                      </a:lnTo>
                      <a:lnTo>
                        <a:pt x="4482" y="54"/>
                      </a:lnTo>
                      <a:lnTo>
                        <a:pt x="4392" y="54"/>
                      </a:lnTo>
                      <a:lnTo>
                        <a:pt x="4350" y="60"/>
                      </a:lnTo>
                      <a:lnTo>
                        <a:pt x="4302" y="66"/>
                      </a:lnTo>
                      <a:lnTo>
                        <a:pt x="4260" y="66"/>
                      </a:lnTo>
                      <a:lnTo>
                        <a:pt x="4242" y="72"/>
                      </a:lnTo>
                      <a:lnTo>
                        <a:pt x="4260" y="72"/>
                      </a:lnTo>
                      <a:lnTo>
                        <a:pt x="4266" y="78"/>
                      </a:lnTo>
                      <a:lnTo>
                        <a:pt x="4278" y="78"/>
                      </a:lnTo>
                      <a:lnTo>
                        <a:pt x="4362" y="84"/>
                      </a:lnTo>
                      <a:lnTo>
                        <a:pt x="4278" y="96"/>
                      </a:lnTo>
                      <a:lnTo>
                        <a:pt x="4284" y="96"/>
                      </a:lnTo>
                      <a:lnTo>
                        <a:pt x="4290" y="102"/>
                      </a:lnTo>
                      <a:lnTo>
                        <a:pt x="4314" y="114"/>
                      </a:lnTo>
                      <a:lnTo>
                        <a:pt x="4338" y="114"/>
                      </a:lnTo>
                      <a:lnTo>
                        <a:pt x="4356" y="108"/>
                      </a:lnTo>
                      <a:lnTo>
                        <a:pt x="4392" y="108"/>
                      </a:lnTo>
                      <a:lnTo>
                        <a:pt x="4398" y="102"/>
                      </a:lnTo>
                      <a:lnTo>
                        <a:pt x="4410" y="102"/>
                      </a:lnTo>
                      <a:lnTo>
                        <a:pt x="4416" y="96"/>
                      </a:lnTo>
                      <a:lnTo>
                        <a:pt x="4440" y="96"/>
                      </a:lnTo>
                      <a:lnTo>
                        <a:pt x="4458" y="90"/>
                      </a:lnTo>
                      <a:lnTo>
                        <a:pt x="4500" y="90"/>
                      </a:lnTo>
                      <a:lnTo>
                        <a:pt x="4518" y="96"/>
                      </a:lnTo>
                      <a:lnTo>
                        <a:pt x="4536" y="96"/>
                      </a:lnTo>
                      <a:lnTo>
                        <a:pt x="4548" y="102"/>
                      </a:lnTo>
                      <a:lnTo>
                        <a:pt x="4560" y="102"/>
                      </a:lnTo>
                      <a:lnTo>
                        <a:pt x="4494" y="102"/>
                      </a:lnTo>
                      <a:lnTo>
                        <a:pt x="4482" y="108"/>
                      </a:lnTo>
                      <a:lnTo>
                        <a:pt x="4458" y="108"/>
                      </a:lnTo>
                      <a:lnTo>
                        <a:pt x="4446" y="114"/>
                      </a:lnTo>
                      <a:lnTo>
                        <a:pt x="4434" y="114"/>
                      </a:lnTo>
                      <a:lnTo>
                        <a:pt x="4422" y="120"/>
                      </a:lnTo>
                      <a:lnTo>
                        <a:pt x="4410" y="120"/>
                      </a:lnTo>
                      <a:lnTo>
                        <a:pt x="4404" y="126"/>
                      </a:lnTo>
                      <a:lnTo>
                        <a:pt x="4398" y="126"/>
                      </a:lnTo>
                      <a:lnTo>
                        <a:pt x="4434" y="126"/>
                      </a:lnTo>
                      <a:lnTo>
                        <a:pt x="4452" y="132"/>
                      </a:lnTo>
                      <a:lnTo>
                        <a:pt x="4488" y="132"/>
                      </a:lnTo>
                      <a:lnTo>
                        <a:pt x="4500" y="126"/>
                      </a:lnTo>
                      <a:lnTo>
                        <a:pt x="4506" y="126"/>
                      </a:lnTo>
                      <a:lnTo>
                        <a:pt x="4512" y="120"/>
                      </a:lnTo>
                      <a:lnTo>
                        <a:pt x="4638" y="120"/>
                      </a:lnTo>
                      <a:lnTo>
                        <a:pt x="4656" y="114"/>
                      </a:lnTo>
                      <a:lnTo>
                        <a:pt x="4680" y="114"/>
                      </a:lnTo>
                      <a:lnTo>
                        <a:pt x="4698" y="108"/>
                      </a:lnTo>
                      <a:lnTo>
                        <a:pt x="4710" y="108"/>
                      </a:lnTo>
                      <a:lnTo>
                        <a:pt x="4722" y="96"/>
                      </a:lnTo>
                      <a:lnTo>
                        <a:pt x="4734" y="96"/>
                      </a:lnTo>
                      <a:lnTo>
                        <a:pt x="4752" y="90"/>
                      </a:lnTo>
                      <a:lnTo>
                        <a:pt x="4770" y="90"/>
                      </a:lnTo>
                      <a:lnTo>
                        <a:pt x="4782" y="84"/>
                      </a:lnTo>
                      <a:lnTo>
                        <a:pt x="4830" y="84"/>
                      </a:lnTo>
                      <a:lnTo>
                        <a:pt x="4746" y="114"/>
                      </a:lnTo>
                      <a:lnTo>
                        <a:pt x="4782" y="114"/>
                      </a:lnTo>
                      <a:lnTo>
                        <a:pt x="4734" y="126"/>
                      </a:lnTo>
                      <a:lnTo>
                        <a:pt x="4716" y="126"/>
                      </a:lnTo>
                      <a:lnTo>
                        <a:pt x="4674" y="132"/>
                      </a:lnTo>
                      <a:lnTo>
                        <a:pt x="4620" y="132"/>
                      </a:lnTo>
                      <a:lnTo>
                        <a:pt x="4566" y="138"/>
                      </a:lnTo>
                      <a:lnTo>
                        <a:pt x="4536" y="138"/>
                      </a:lnTo>
                      <a:lnTo>
                        <a:pt x="4524" y="150"/>
                      </a:lnTo>
                      <a:lnTo>
                        <a:pt x="4524" y="156"/>
                      </a:lnTo>
                      <a:lnTo>
                        <a:pt x="4602" y="174"/>
                      </a:lnTo>
                      <a:lnTo>
                        <a:pt x="4596" y="174"/>
                      </a:lnTo>
                      <a:lnTo>
                        <a:pt x="4590" y="180"/>
                      </a:lnTo>
                      <a:lnTo>
                        <a:pt x="4578" y="180"/>
                      </a:lnTo>
                      <a:lnTo>
                        <a:pt x="4566" y="186"/>
                      </a:lnTo>
                      <a:lnTo>
                        <a:pt x="4542" y="186"/>
                      </a:lnTo>
                      <a:lnTo>
                        <a:pt x="4518" y="174"/>
                      </a:lnTo>
                      <a:lnTo>
                        <a:pt x="4500" y="162"/>
                      </a:lnTo>
                      <a:lnTo>
                        <a:pt x="4476" y="150"/>
                      </a:lnTo>
                      <a:lnTo>
                        <a:pt x="4470" y="144"/>
                      </a:lnTo>
                      <a:lnTo>
                        <a:pt x="4356" y="144"/>
                      </a:lnTo>
                      <a:lnTo>
                        <a:pt x="4350" y="150"/>
                      </a:lnTo>
                      <a:lnTo>
                        <a:pt x="4344" y="162"/>
                      </a:lnTo>
                      <a:lnTo>
                        <a:pt x="4338" y="168"/>
                      </a:lnTo>
                      <a:lnTo>
                        <a:pt x="4368" y="186"/>
                      </a:lnTo>
                      <a:lnTo>
                        <a:pt x="4386" y="204"/>
                      </a:lnTo>
                      <a:lnTo>
                        <a:pt x="4410" y="216"/>
                      </a:lnTo>
                      <a:lnTo>
                        <a:pt x="4458" y="216"/>
                      </a:lnTo>
                      <a:lnTo>
                        <a:pt x="4476" y="210"/>
                      </a:lnTo>
                      <a:lnTo>
                        <a:pt x="4488" y="210"/>
                      </a:lnTo>
                      <a:lnTo>
                        <a:pt x="4476" y="216"/>
                      </a:lnTo>
                      <a:lnTo>
                        <a:pt x="4470" y="228"/>
                      </a:lnTo>
                      <a:lnTo>
                        <a:pt x="4398" y="228"/>
                      </a:lnTo>
                      <a:lnTo>
                        <a:pt x="4380" y="222"/>
                      </a:lnTo>
                      <a:lnTo>
                        <a:pt x="4350" y="222"/>
                      </a:lnTo>
                      <a:lnTo>
                        <a:pt x="4314" y="228"/>
                      </a:lnTo>
                      <a:lnTo>
                        <a:pt x="4272" y="234"/>
                      </a:lnTo>
                      <a:lnTo>
                        <a:pt x="4230" y="234"/>
                      </a:lnTo>
                      <a:lnTo>
                        <a:pt x="4218" y="240"/>
                      </a:lnTo>
                      <a:lnTo>
                        <a:pt x="4200" y="246"/>
                      </a:lnTo>
                      <a:lnTo>
                        <a:pt x="4188" y="258"/>
                      </a:lnTo>
                      <a:lnTo>
                        <a:pt x="4176" y="264"/>
                      </a:lnTo>
                      <a:lnTo>
                        <a:pt x="4170" y="270"/>
                      </a:lnTo>
                      <a:lnTo>
                        <a:pt x="4164" y="270"/>
                      </a:lnTo>
                      <a:lnTo>
                        <a:pt x="4236" y="258"/>
                      </a:lnTo>
                      <a:lnTo>
                        <a:pt x="4236" y="276"/>
                      </a:lnTo>
                      <a:lnTo>
                        <a:pt x="4296" y="258"/>
                      </a:lnTo>
                      <a:lnTo>
                        <a:pt x="4224" y="288"/>
                      </a:lnTo>
                      <a:lnTo>
                        <a:pt x="4230" y="288"/>
                      </a:lnTo>
                      <a:lnTo>
                        <a:pt x="4236" y="294"/>
                      </a:lnTo>
                      <a:lnTo>
                        <a:pt x="4248" y="300"/>
                      </a:lnTo>
                      <a:lnTo>
                        <a:pt x="4278" y="300"/>
                      </a:lnTo>
                      <a:lnTo>
                        <a:pt x="4314" y="288"/>
                      </a:lnTo>
                      <a:lnTo>
                        <a:pt x="4326" y="288"/>
                      </a:lnTo>
                      <a:lnTo>
                        <a:pt x="4344" y="282"/>
                      </a:lnTo>
                      <a:lnTo>
                        <a:pt x="4350" y="276"/>
                      </a:lnTo>
                      <a:lnTo>
                        <a:pt x="4356" y="276"/>
                      </a:lnTo>
                      <a:lnTo>
                        <a:pt x="4254" y="312"/>
                      </a:lnTo>
                      <a:lnTo>
                        <a:pt x="4188" y="312"/>
                      </a:lnTo>
                      <a:lnTo>
                        <a:pt x="4176" y="288"/>
                      </a:lnTo>
                      <a:lnTo>
                        <a:pt x="4164" y="288"/>
                      </a:lnTo>
                      <a:lnTo>
                        <a:pt x="4146" y="282"/>
                      </a:lnTo>
                      <a:lnTo>
                        <a:pt x="4110" y="282"/>
                      </a:lnTo>
                      <a:lnTo>
                        <a:pt x="4104" y="288"/>
                      </a:lnTo>
                      <a:lnTo>
                        <a:pt x="4104" y="300"/>
                      </a:lnTo>
                      <a:lnTo>
                        <a:pt x="4110" y="312"/>
                      </a:lnTo>
                      <a:lnTo>
                        <a:pt x="4110" y="318"/>
                      </a:lnTo>
                      <a:lnTo>
                        <a:pt x="4116" y="324"/>
                      </a:lnTo>
                      <a:lnTo>
                        <a:pt x="4092" y="324"/>
                      </a:lnTo>
                      <a:lnTo>
                        <a:pt x="4074" y="330"/>
                      </a:lnTo>
                      <a:lnTo>
                        <a:pt x="4032" y="330"/>
                      </a:lnTo>
                      <a:lnTo>
                        <a:pt x="4020" y="336"/>
                      </a:lnTo>
                      <a:lnTo>
                        <a:pt x="4002" y="342"/>
                      </a:lnTo>
                      <a:lnTo>
                        <a:pt x="3990" y="348"/>
                      </a:lnTo>
                      <a:lnTo>
                        <a:pt x="3972" y="354"/>
                      </a:lnTo>
                      <a:lnTo>
                        <a:pt x="3936" y="354"/>
                      </a:lnTo>
                      <a:lnTo>
                        <a:pt x="3924" y="360"/>
                      </a:lnTo>
                      <a:lnTo>
                        <a:pt x="3918" y="360"/>
                      </a:lnTo>
                      <a:lnTo>
                        <a:pt x="3924" y="360"/>
                      </a:lnTo>
                      <a:lnTo>
                        <a:pt x="3936" y="366"/>
                      </a:lnTo>
                      <a:lnTo>
                        <a:pt x="3978" y="366"/>
                      </a:lnTo>
                      <a:lnTo>
                        <a:pt x="3990" y="360"/>
                      </a:lnTo>
                      <a:lnTo>
                        <a:pt x="3996" y="354"/>
                      </a:lnTo>
                      <a:lnTo>
                        <a:pt x="3984" y="372"/>
                      </a:lnTo>
                      <a:lnTo>
                        <a:pt x="4020" y="366"/>
                      </a:lnTo>
                      <a:lnTo>
                        <a:pt x="4044" y="354"/>
                      </a:lnTo>
                      <a:lnTo>
                        <a:pt x="4044" y="372"/>
                      </a:lnTo>
                      <a:lnTo>
                        <a:pt x="4074" y="366"/>
                      </a:lnTo>
                      <a:lnTo>
                        <a:pt x="4098" y="366"/>
                      </a:lnTo>
                      <a:lnTo>
                        <a:pt x="4098" y="372"/>
                      </a:lnTo>
                      <a:lnTo>
                        <a:pt x="4104" y="378"/>
                      </a:lnTo>
                      <a:lnTo>
                        <a:pt x="4122" y="378"/>
                      </a:lnTo>
                      <a:lnTo>
                        <a:pt x="4146" y="366"/>
                      </a:lnTo>
                      <a:lnTo>
                        <a:pt x="4152" y="366"/>
                      </a:lnTo>
                      <a:lnTo>
                        <a:pt x="4164" y="360"/>
                      </a:lnTo>
                      <a:lnTo>
                        <a:pt x="4170" y="372"/>
                      </a:lnTo>
                      <a:lnTo>
                        <a:pt x="4200" y="354"/>
                      </a:lnTo>
                      <a:lnTo>
                        <a:pt x="4206" y="360"/>
                      </a:lnTo>
                      <a:lnTo>
                        <a:pt x="4212" y="372"/>
                      </a:lnTo>
                      <a:lnTo>
                        <a:pt x="4224" y="372"/>
                      </a:lnTo>
                      <a:lnTo>
                        <a:pt x="4236" y="366"/>
                      </a:lnTo>
                      <a:lnTo>
                        <a:pt x="4242" y="360"/>
                      </a:lnTo>
                      <a:lnTo>
                        <a:pt x="4248" y="360"/>
                      </a:lnTo>
                      <a:lnTo>
                        <a:pt x="4254" y="366"/>
                      </a:lnTo>
                      <a:lnTo>
                        <a:pt x="4266" y="372"/>
                      </a:lnTo>
                      <a:lnTo>
                        <a:pt x="4284" y="372"/>
                      </a:lnTo>
                      <a:lnTo>
                        <a:pt x="4290" y="366"/>
                      </a:lnTo>
                      <a:lnTo>
                        <a:pt x="4290" y="360"/>
                      </a:lnTo>
                      <a:lnTo>
                        <a:pt x="4284" y="354"/>
                      </a:lnTo>
                      <a:lnTo>
                        <a:pt x="4338" y="372"/>
                      </a:lnTo>
                      <a:lnTo>
                        <a:pt x="4344" y="378"/>
                      </a:lnTo>
                      <a:lnTo>
                        <a:pt x="4350" y="390"/>
                      </a:lnTo>
                      <a:lnTo>
                        <a:pt x="4374" y="390"/>
                      </a:lnTo>
                      <a:lnTo>
                        <a:pt x="4410" y="378"/>
                      </a:lnTo>
                      <a:lnTo>
                        <a:pt x="4440" y="372"/>
                      </a:lnTo>
                      <a:lnTo>
                        <a:pt x="4476" y="372"/>
                      </a:lnTo>
                      <a:lnTo>
                        <a:pt x="4494" y="366"/>
                      </a:lnTo>
                      <a:lnTo>
                        <a:pt x="4506" y="360"/>
                      </a:lnTo>
                      <a:lnTo>
                        <a:pt x="4524" y="342"/>
                      </a:lnTo>
                      <a:lnTo>
                        <a:pt x="4464" y="342"/>
                      </a:lnTo>
                      <a:lnTo>
                        <a:pt x="4470" y="336"/>
                      </a:lnTo>
                      <a:lnTo>
                        <a:pt x="4470" y="330"/>
                      </a:lnTo>
                      <a:lnTo>
                        <a:pt x="4416" y="330"/>
                      </a:lnTo>
                      <a:lnTo>
                        <a:pt x="4362" y="318"/>
                      </a:lnTo>
                      <a:lnTo>
                        <a:pt x="4380" y="300"/>
                      </a:lnTo>
                      <a:lnTo>
                        <a:pt x="4440" y="318"/>
                      </a:lnTo>
                      <a:lnTo>
                        <a:pt x="4452" y="318"/>
                      </a:lnTo>
                      <a:lnTo>
                        <a:pt x="4488" y="312"/>
                      </a:lnTo>
                      <a:lnTo>
                        <a:pt x="4566" y="312"/>
                      </a:lnTo>
                      <a:lnTo>
                        <a:pt x="4578" y="300"/>
                      </a:lnTo>
                      <a:lnTo>
                        <a:pt x="4578" y="288"/>
                      </a:lnTo>
                      <a:lnTo>
                        <a:pt x="4584" y="288"/>
                      </a:lnTo>
                      <a:lnTo>
                        <a:pt x="4590" y="282"/>
                      </a:lnTo>
                      <a:lnTo>
                        <a:pt x="4608" y="282"/>
                      </a:lnTo>
                      <a:lnTo>
                        <a:pt x="4626" y="276"/>
                      </a:lnTo>
                      <a:lnTo>
                        <a:pt x="4662" y="276"/>
                      </a:lnTo>
                      <a:lnTo>
                        <a:pt x="4680" y="270"/>
                      </a:lnTo>
                      <a:lnTo>
                        <a:pt x="4710" y="270"/>
                      </a:lnTo>
                      <a:lnTo>
                        <a:pt x="4722" y="264"/>
                      </a:lnTo>
                      <a:lnTo>
                        <a:pt x="4728" y="264"/>
                      </a:lnTo>
                      <a:lnTo>
                        <a:pt x="4704" y="246"/>
                      </a:lnTo>
                      <a:lnTo>
                        <a:pt x="4746" y="246"/>
                      </a:lnTo>
                      <a:lnTo>
                        <a:pt x="4770" y="240"/>
                      </a:lnTo>
                      <a:lnTo>
                        <a:pt x="4782" y="234"/>
                      </a:lnTo>
                      <a:lnTo>
                        <a:pt x="4776" y="228"/>
                      </a:lnTo>
                      <a:lnTo>
                        <a:pt x="4770" y="228"/>
                      </a:lnTo>
                      <a:lnTo>
                        <a:pt x="4758" y="222"/>
                      </a:lnTo>
                      <a:lnTo>
                        <a:pt x="4746" y="222"/>
                      </a:lnTo>
                      <a:lnTo>
                        <a:pt x="4734" y="216"/>
                      </a:lnTo>
                      <a:lnTo>
                        <a:pt x="4686" y="216"/>
                      </a:lnTo>
                      <a:lnTo>
                        <a:pt x="4674" y="210"/>
                      </a:lnTo>
                      <a:lnTo>
                        <a:pt x="4662" y="210"/>
                      </a:lnTo>
                      <a:lnTo>
                        <a:pt x="4662" y="204"/>
                      </a:lnTo>
                      <a:lnTo>
                        <a:pt x="4674" y="198"/>
                      </a:lnTo>
                      <a:lnTo>
                        <a:pt x="4686" y="198"/>
                      </a:lnTo>
                      <a:lnTo>
                        <a:pt x="4704" y="192"/>
                      </a:lnTo>
                      <a:lnTo>
                        <a:pt x="4716" y="186"/>
                      </a:lnTo>
                      <a:lnTo>
                        <a:pt x="4764" y="186"/>
                      </a:lnTo>
                      <a:lnTo>
                        <a:pt x="4782" y="192"/>
                      </a:lnTo>
                      <a:lnTo>
                        <a:pt x="4860" y="192"/>
                      </a:lnTo>
                      <a:lnTo>
                        <a:pt x="4878" y="186"/>
                      </a:lnTo>
                      <a:lnTo>
                        <a:pt x="4902" y="186"/>
                      </a:lnTo>
                      <a:lnTo>
                        <a:pt x="4896" y="180"/>
                      </a:lnTo>
                      <a:lnTo>
                        <a:pt x="4878" y="180"/>
                      </a:lnTo>
                      <a:lnTo>
                        <a:pt x="4866" y="174"/>
                      </a:lnTo>
                      <a:lnTo>
                        <a:pt x="4872" y="168"/>
                      </a:lnTo>
                      <a:lnTo>
                        <a:pt x="4902" y="162"/>
                      </a:lnTo>
                      <a:lnTo>
                        <a:pt x="4944" y="168"/>
                      </a:lnTo>
                      <a:lnTo>
                        <a:pt x="4974" y="174"/>
                      </a:lnTo>
                      <a:lnTo>
                        <a:pt x="4986" y="174"/>
                      </a:lnTo>
                      <a:lnTo>
                        <a:pt x="4992" y="168"/>
                      </a:lnTo>
                      <a:lnTo>
                        <a:pt x="4992" y="150"/>
                      </a:lnTo>
                      <a:lnTo>
                        <a:pt x="5070" y="156"/>
                      </a:lnTo>
                      <a:lnTo>
                        <a:pt x="5070" y="132"/>
                      </a:lnTo>
                      <a:lnTo>
                        <a:pt x="5082" y="132"/>
                      </a:lnTo>
                      <a:lnTo>
                        <a:pt x="5094" y="138"/>
                      </a:lnTo>
                      <a:lnTo>
                        <a:pt x="5112" y="138"/>
                      </a:lnTo>
                      <a:lnTo>
                        <a:pt x="5136" y="126"/>
                      </a:lnTo>
                      <a:lnTo>
                        <a:pt x="5148" y="126"/>
                      </a:lnTo>
                      <a:lnTo>
                        <a:pt x="5154" y="120"/>
                      </a:lnTo>
                      <a:lnTo>
                        <a:pt x="5172" y="120"/>
                      </a:lnTo>
                      <a:lnTo>
                        <a:pt x="5208" y="114"/>
                      </a:lnTo>
                      <a:lnTo>
                        <a:pt x="5256" y="102"/>
                      </a:lnTo>
                      <a:lnTo>
                        <a:pt x="5298" y="96"/>
                      </a:lnTo>
                      <a:lnTo>
                        <a:pt x="5322" y="90"/>
                      </a:lnTo>
                      <a:lnTo>
                        <a:pt x="5340" y="90"/>
                      </a:lnTo>
                      <a:lnTo>
                        <a:pt x="5346" y="84"/>
                      </a:lnTo>
                      <a:lnTo>
                        <a:pt x="5238" y="84"/>
                      </a:lnTo>
                      <a:lnTo>
                        <a:pt x="5214" y="96"/>
                      </a:lnTo>
                      <a:lnTo>
                        <a:pt x="5142" y="96"/>
                      </a:lnTo>
                      <a:lnTo>
                        <a:pt x="5226" y="90"/>
                      </a:lnTo>
                      <a:lnTo>
                        <a:pt x="5220" y="78"/>
                      </a:lnTo>
                      <a:lnTo>
                        <a:pt x="5268" y="84"/>
                      </a:lnTo>
                      <a:lnTo>
                        <a:pt x="5274" y="78"/>
                      </a:lnTo>
                      <a:lnTo>
                        <a:pt x="5286" y="72"/>
                      </a:lnTo>
                      <a:lnTo>
                        <a:pt x="5358" y="72"/>
                      </a:lnTo>
                      <a:lnTo>
                        <a:pt x="5406" y="66"/>
                      </a:lnTo>
                      <a:lnTo>
                        <a:pt x="5454" y="66"/>
                      </a:lnTo>
                      <a:lnTo>
                        <a:pt x="5484" y="60"/>
                      </a:lnTo>
                      <a:lnTo>
                        <a:pt x="5496" y="60"/>
                      </a:lnTo>
                      <a:lnTo>
                        <a:pt x="5514" y="54"/>
                      </a:lnTo>
                      <a:lnTo>
                        <a:pt x="5532" y="54"/>
                      </a:lnTo>
                      <a:lnTo>
                        <a:pt x="5550" y="48"/>
                      </a:lnTo>
                      <a:lnTo>
                        <a:pt x="5562" y="42"/>
                      </a:lnTo>
                      <a:lnTo>
                        <a:pt x="5574" y="42"/>
                      </a:lnTo>
                      <a:lnTo>
                        <a:pt x="5574" y="36"/>
                      </a:lnTo>
                      <a:close/>
                      <a:moveTo>
                        <a:pt x="4032" y="966"/>
                      </a:moveTo>
                      <a:lnTo>
                        <a:pt x="4086" y="966"/>
                      </a:lnTo>
                      <a:lnTo>
                        <a:pt x="4134" y="942"/>
                      </a:lnTo>
                      <a:lnTo>
                        <a:pt x="4140" y="930"/>
                      </a:lnTo>
                      <a:lnTo>
                        <a:pt x="4134" y="918"/>
                      </a:lnTo>
                      <a:lnTo>
                        <a:pt x="4134" y="912"/>
                      </a:lnTo>
                      <a:lnTo>
                        <a:pt x="4122" y="906"/>
                      </a:lnTo>
                      <a:lnTo>
                        <a:pt x="4074" y="906"/>
                      </a:lnTo>
                      <a:lnTo>
                        <a:pt x="4062" y="912"/>
                      </a:lnTo>
                      <a:lnTo>
                        <a:pt x="4050" y="912"/>
                      </a:lnTo>
                      <a:lnTo>
                        <a:pt x="4026" y="924"/>
                      </a:lnTo>
                      <a:lnTo>
                        <a:pt x="4014" y="936"/>
                      </a:lnTo>
                      <a:lnTo>
                        <a:pt x="4002" y="942"/>
                      </a:lnTo>
                      <a:lnTo>
                        <a:pt x="4002" y="954"/>
                      </a:lnTo>
                      <a:lnTo>
                        <a:pt x="4014" y="960"/>
                      </a:lnTo>
                      <a:lnTo>
                        <a:pt x="4032" y="966"/>
                      </a:lnTo>
                      <a:close/>
                      <a:moveTo>
                        <a:pt x="4014" y="840"/>
                      </a:moveTo>
                      <a:lnTo>
                        <a:pt x="4002" y="840"/>
                      </a:lnTo>
                      <a:lnTo>
                        <a:pt x="3990" y="846"/>
                      </a:lnTo>
                      <a:lnTo>
                        <a:pt x="3984" y="852"/>
                      </a:lnTo>
                      <a:lnTo>
                        <a:pt x="3972" y="852"/>
                      </a:lnTo>
                      <a:lnTo>
                        <a:pt x="3990" y="852"/>
                      </a:lnTo>
                      <a:lnTo>
                        <a:pt x="4008" y="846"/>
                      </a:lnTo>
                      <a:lnTo>
                        <a:pt x="4026" y="846"/>
                      </a:lnTo>
                      <a:lnTo>
                        <a:pt x="4044" y="840"/>
                      </a:lnTo>
                      <a:lnTo>
                        <a:pt x="4050" y="834"/>
                      </a:lnTo>
                      <a:lnTo>
                        <a:pt x="4056" y="834"/>
                      </a:lnTo>
                      <a:lnTo>
                        <a:pt x="4068" y="822"/>
                      </a:lnTo>
                      <a:lnTo>
                        <a:pt x="4050" y="822"/>
                      </a:lnTo>
                      <a:lnTo>
                        <a:pt x="4044" y="828"/>
                      </a:lnTo>
                      <a:lnTo>
                        <a:pt x="4032" y="828"/>
                      </a:lnTo>
                      <a:lnTo>
                        <a:pt x="4020" y="834"/>
                      </a:lnTo>
                      <a:lnTo>
                        <a:pt x="4014" y="840"/>
                      </a:lnTo>
                      <a:close/>
                      <a:moveTo>
                        <a:pt x="4122" y="822"/>
                      </a:moveTo>
                      <a:lnTo>
                        <a:pt x="4104" y="822"/>
                      </a:lnTo>
                      <a:lnTo>
                        <a:pt x="4098" y="828"/>
                      </a:lnTo>
                      <a:lnTo>
                        <a:pt x="4098" y="840"/>
                      </a:lnTo>
                      <a:lnTo>
                        <a:pt x="4104" y="846"/>
                      </a:lnTo>
                      <a:lnTo>
                        <a:pt x="4110" y="840"/>
                      </a:lnTo>
                      <a:lnTo>
                        <a:pt x="4116" y="840"/>
                      </a:lnTo>
                      <a:lnTo>
                        <a:pt x="4128" y="828"/>
                      </a:lnTo>
                      <a:lnTo>
                        <a:pt x="4122" y="822"/>
                      </a:lnTo>
                      <a:close/>
                      <a:moveTo>
                        <a:pt x="3528" y="1062"/>
                      </a:moveTo>
                      <a:lnTo>
                        <a:pt x="3522" y="1062"/>
                      </a:lnTo>
                      <a:lnTo>
                        <a:pt x="3504" y="1080"/>
                      </a:lnTo>
                      <a:lnTo>
                        <a:pt x="3504" y="1086"/>
                      </a:lnTo>
                      <a:lnTo>
                        <a:pt x="3510" y="1092"/>
                      </a:lnTo>
                      <a:lnTo>
                        <a:pt x="3528" y="1092"/>
                      </a:lnTo>
                      <a:lnTo>
                        <a:pt x="3534" y="1086"/>
                      </a:lnTo>
                      <a:lnTo>
                        <a:pt x="3540" y="1074"/>
                      </a:lnTo>
                      <a:lnTo>
                        <a:pt x="3540" y="1068"/>
                      </a:lnTo>
                      <a:lnTo>
                        <a:pt x="3534" y="1062"/>
                      </a:lnTo>
                      <a:lnTo>
                        <a:pt x="3528" y="1062"/>
                      </a:lnTo>
                      <a:close/>
                      <a:moveTo>
                        <a:pt x="3588" y="1062"/>
                      </a:moveTo>
                      <a:lnTo>
                        <a:pt x="3582" y="1062"/>
                      </a:lnTo>
                      <a:lnTo>
                        <a:pt x="3576" y="1068"/>
                      </a:lnTo>
                      <a:lnTo>
                        <a:pt x="3576" y="1080"/>
                      </a:lnTo>
                      <a:lnTo>
                        <a:pt x="3582" y="1086"/>
                      </a:lnTo>
                      <a:lnTo>
                        <a:pt x="3594" y="1086"/>
                      </a:lnTo>
                      <a:lnTo>
                        <a:pt x="3600" y="1080"/>
                      </a:lnTo>
                      <a:lnTo>
                        <a:pt x="3600" y="1068"/>
                      </a:lnTo>
                      <a:lnTo>
                        <a:pt x="3588" y="1062"/>
                      </a:lnTo>
                      <a:close/>
                      <a:moveTo>
                        <a:pt x="3756" y="1242"/>
                      </a:moveTo>
                      <a:lnTo>
                        <a:pt x="3744" y="1248"/>
                      </a:lnTo>
                      <a:lnTo>
                        <a:pt x="3744" y="1260"/>
                      </a:lnTo>
                      <a:lnTo>
                        <a:pt x="3750" y="1266"/>
                      </a:lnTo>
                      <a:lnTo>
                        <a:pt x="3762" y="1272"/>
                      </a:lnTo>
                      <a:lnTo>
                        <a:pt x="3768" y="1272"/>
                      </a:lnTo>
                      <a:lnTo>
                        <a:pt x="3786" y="1254"/>
                      </a:lnTo>
                      <a:lnTo>
                        <a:pt x="3786" y="1242"/>
                      </a:lnTo>
                      <a:lnTo>
                        <a:pt x="3780" y="1236"/>
                      </a:lnTo>
                      <a:lnTo>
                        <a:pt x="3768" y="1236"/>
                      </a:lnTo>
                      <a:lnTo>
                        <a:pt x="3756" y="1242"/>
                      </a:lnTo>
                      <a:close/>
                      <a:moveTo>
                        <a:pt x="3984" y="2532"/>
                      </a:moveTo>
                      <a:lnTo>
                        <a:pt x="3948" y="2520"/>
                      </a:lnTo>
                      <a:lnTo>
                        <a:pt x="3942" y="2514"/>
                      </a:lnTo>
                      <a:lnTo>
                        <a:pt x="3936" y="2514"/>
                      </a:lnTo>
                      <a:lnTo>
                        <a:pt x="3924" y="2526"/>
                      </a:lnTo>
                      <a:lnTo>
                        <a:pt x="3930" y="2532"/>
                      </a:lnTo>
                      <a:lnTo>
                        <a:pt x="3942" y="2538"/>
                      </a:lnTo>
                      <a:lnTo>
                        <a:pt x="3948" y="2544"/>
                      </a:lnTo>
                      <a:lnTo>
                        <a:pt x="3954" y="2544"/>
                      </a:lnTo>
                      <a:lnTo>
                        <a:pt x="3960" y="2550"/>
                      </a:lnTo>
                      <a:lnTo>
                        <a:pt x="3996" y="2550"/>
                      </a:lnTo>
                      <a:lnTo>
                        <a:pt x="4008" y="2556"/>
                      </a:lnTo>
                      <a:lnTo>
                        <a:pt x="4020" y="2556"/>
                      </a:lnTo>
                      <a:lnTo>
                        <a:pt x="4038" y="2538"/>
                      </a:lnTo>
                      <a:lnTo>
                        <a:pt x="4008" y="2538"/>
                      </a:lnTo>
                      <a:lnTo>
                        <a:pt x="3984" y="2532"/>
                      </a:lnTo>
                      <a:close/>
                      <a:moveTo>
                        <a:pt x="4098" y="2280"/>
                      </a:moveTo>
                      <a:lnTo>
                        <a:pt x="4092" y="2280"/>
                      </a:lnTo>
                      <a:lnTo>
                        <a:pt x="4086" y="2274"/>
                      </a:lnTo>
                      <a:lnTo>
                        <a:pt x="4050" y="2274"/>
                      </a:lnTo>
                      <a:lnTo>
                        <a:pt x="4032" y="2268"/>
                      </a:lnTo>
                      <a:lnTo>
                        <a:pt x="3996" y="2268"/>
                      </a:lnTo>
                      <a:lnTo>
                        <a:pt x="4002" y="2274"/>
                      </a:lnTo>
                      <a:lnTo>
                        <a:pt x="4008" y="2274"/>
                      </a:lnTo>
                      <a:lnTo>
                        <a:pt x="4014" y="2280"/>
                      </a:lnTo>
                      <a:lnTo>
                        <a:pt x="4026" y="2286"/>
                      </a:lnTo>
                      <a:lnTo>
                        <a:pt x="4032" y="2286"/>
                      </a:lnTo>
                      <a:lnTo>
                        <a:pt x="4032" y="2304"/>
                      </a:lnTo>
                      <a:lnTo>
                        <a:pt x="4044" y="2304"/>
                      </a:lnTo>
                      <a:lnTo>
                        <a:pt x="4080" y="2310"/>
                      </a:lnTo>
                      <a:lnTo>
                        <a:pt x="4128" y="2316"/>
                      </a:lnTo>
                      <a:lnTo>
                        <a:pt x="4164" y="2316"/>
                      </a:lnTo>
                      <a:lnTo>
                        <a:pt x="4170" y="2310"/>
                      </a:lnTo>
                      <a:lnTo>
                        <a:pt x="4170" y="2304"/>
                      </a:lnTo>
                      <a:lnTo>
                        <a:pt x="4164" y="2304"/>
                      </a:lnTo>
                      <a:lnTo>
                        <a:pt x="4152" y="2292"/>
                      </a:lnTo>
                      <a:lnTo>
                        <a:pt x="4128" y="2286"/>
                      </a:lnTo>
                      <a:lnTo>
                        <a:pt x="4098" y="2280"/>
                      </a:lnTo>
                      <a:close/>
                      <a:moveTo>
                        <a:pt x="4194" y="2550"/>
                      </a:moveTo>
                      <a:lnTo>
                        <a:pt x="4164" y="2550"/>
                      </a:lnTo>
                      <a:lnTo>
                        <a:pt x="4152" y="2556"/>
                      </a:lnTo>
                      <a:lnTo>
                        <a:pt x="4146" y="2562"/>
                      </a:lnTo>
                      <a:lnTo>
                        <a:pt x="4182" y="2526"/>
                      </a:lnTo>
                      <a:lnTo>
                        <a:pt x="4176" y="2520"/>
                      </a:lnTo>
                      <a:lnTo>
                        <a:pt x="4152" y="2520"/>
                      </a:lnTo>
                      <a:lnTo>
                        <a:pt x="4140" y="2526"/>
                      </a:lnTo>
                      <a:lnTo>
                        <a:pt x="4128" y="2538"/>
                      </a:lnTo>
                      <a:lnTo>
                        <a:pt x="4104" y="2574"/>
                      </a:lnTo>
                      <a:lnTo>
                        <a:pt x="4164" y="2568"/>
                      </a:lnTo>
                      <a:lnTo>
                        <a:pt x="4176" y="2568"/>
                      </a:lnTo>
                      <a:lnTo>
                        <a:pt x="4182" y="2562"/>
                      </a:lnTo>
                      <a:lnTo>
                        <a:pt x="4194" y="2562"/>
                      </a:lnTo>
                      <a:lnTo>
                        <a:pt x="4200" y="2556"/>
                      </a:lnTo>
                      <a:lnTo>
                        <a:pt x="4200" y="2550"/>
                      </a:lnTo>
                      <a:lnTo>
                        <a:pt x="4194" y="2550"/>
                      </a:lnTo>
                      <a:close/>
                      <a:moveTo>
                        <a:pt x="4590" y="1962"/>
                      </a:moveTo>
                      <a:lnTo>
                        <a:pt x="4578" y="1974"/>
                      </a:lnTo>
                      <a:lnTo>
                        <a:pt x="4578" y="1980"/>
                      </a:lnTo>
                      <a:lnTo>
                        <a:pt x="4572" y="1986"/>
                      </a:lnTo>
                      <a:lnTo>
                        <a:pt x="4566" y="1986"/>
                      </a:lnTo>
                      <a:lnTo>
                        <a:pt x="4554" y="1974"/>
                      </a:lnTo>
                      <a:lnTo>
                        <a:pt x="4554" y="1962"/>
                      </a:lnTo>
                      <a:lnTo>
                        <a:pt x="4566" y="1962"/>
                      </a:lnTo>
                      <a:lnTo>
                        <a:pt x="4572" y="1956"/>
                      </a:lnTo>
                      <a:lnTo>
                        <a:pt x="4566" y="1932"/>
                      </a:lnTo>
                      <a:lnTo>
                        <a:pt x="4536" y="1926"/>
                      </a:lnTo>
                      <a:lnTo>
                        <a:pt x="4530" y="1926"/>
                      </a:lnTo>
                      <a:lnTo>
                        <a:pt x="4524" y="1932"/>
                      </a:lnTo>
                      <a:lnTo>
                        <a:pt x="4512" y="1938"/>
                      </a:lnTo>
                      <a:lnTo>
                        <a:pt x="4494" y="1944"/>
                      </a:lnTo>
                      <a:lnTo>
                        <a:pt x="4470" y="1956"/>
                      </a:lnTo>
                      <a:lnTo>
                        <a:pt x="4464" y="1962"/>
                      </a:lnTo>
                      <a:lnTo>
                        <a:pt x="4458" y="1962"/>
                      </a:lnTo>
                      <a:lnTo>
                        <a:pt x="4446" y="1968"/>
                      </a:lnTo>
                      <a:lnTo>
                        <a:pt x="4434" y="1968"/>
                      </a:lnTo>
                      <a:lnTo>
                        <a:pt x="4416" y="1974"/>
                      </a:lnTo>
                      <a:lnTo>
                        <a:pt x="4404" y="1974"/>
                      </a:lnTo>
                      <a:lnTo>
                        <a:pt x="4374" y="1998"/>
                      </a:lnTo>
                      <a:lnTo>
                        <a:pt x="4386" y="1974"/>
                      </a:lnTo>
                      <a:lnTo>
                        <a:pt x="4362" y="1956"/>
                      </a:lnTo>
                      <a:lnTo>
                        <a:pt x="4398" y="1968"/>
                      </a:lnTo>
                      <a:lnTo>
                        <a:pt x="4410" y="1956"/>
                      </a:lnTo>
                      <a:lnTo>
                        <a:pt x="4440" y="1950"/>
                      </a:lnTo>
                      <a:lnTo>
                        <a:pt x="4440" y="1932"/>
                      </a:lnTo>
                      <a:lnTo>
                        <a:pt x="4494" y="1932"/>
                      </a:lnTo>
                      <a:lnTo>
                        <a:pt x="4518" y="1920"/>
                      </a:lnTo>
                      <a:lnTo>
                        <a:pt x="4524" y="1914"/>
                      </a:lnTo>
                      <a:lnTo>
                        <a:pt x="4536" y="1908"/>
                      </a:lnTo>
                      <a:lnTo>
                        <a:pt x="4608" y="1908"/>
                      </a:lnTo>
                      <a:lnTo>
                        <a:pt x="4602" y="1902"/>
                      </a:lnTo>
                      <a:lnTo>
                        <a:pt x="4596" y="1902"/>
                      </a:lnTo>
                      <a:lnTo>
                        <a:pt x="4584" y="1896"/>
                      </a:lnTo>
                      <a:lnTo>
                        <a:pt x="4578" y="1890"/>
                      </a:lnTo>
                      <a:lnTo>
                        <a:pt x="4578" y="1866"/>
                      </a:lnTo>
                      <a:lnTo>
                        <a:pt x="4572" y="1866"/>
                      </a:lnTo>
                      <a:lnTo>
                        <a:pt x="4566" y="1872"/>
                      </a:lnTo>
                      <a:lnTo>
                        <a:pt x="4542" y="1872"/>
                      </a:lnTo>
                      <a:lnTo>
                        <a:pt x="4530" y="1878"/>
                      </a:lnTo>
                      <a:lnTo>
                        <a:pt x="4518" y="1878"/>
                      </a:lnTo>
                      <a:lnTo>
                        <a:pt x="4518" y="1866"/>
                      </a:lnTo>
                      <a:lnTo>
                        <a:pt x="4512" y="1860"/>
                      </a:lnTo>
                      <a:lnTo>
                        <a:pt x="4452" y="1878"/>
                      </a:lnTo>
                      <a:lnTo>
                        <a:pt x="4458" y="1848"/>
                      </a:lnTo>
                      <a:lnTo>
                        <a:pt x="4410" y="1860"/>
                      </a:lnTo>
                      <a:lnTo>
                        <a:pt x="4416" y="1854"/>
                      </a:lnTo>
                      <a:lnTo>
                        <a:pt x="4422" y="1842"/>
                      </a:lnTo>
                      <a:lnTo>
                        <a:pt x="4440" y="1824"/>
                      </a:lnTo>
                      <a:lnTo>
                        <a:pt x="4446" y="1812"/>
                      </a:lnTo>
                      <a:lnTo>
                        <a:pt x="4446" y="1800"/>
                      </a:lnTo>
                      <a:lnTo>
                        <a:pt x="4434" y="1800"/>
                      </a:lnTo>
                      <a:lnTo>
                        <a:pt x="4422" y="1794"/>
                      </a:lnTo>
                      <a:lnTo>
                        <a:pt x="4398" y="1794"/>
                      </a:lnTo>
                      <a:lnTo>
                        <a:pt x="4404" y="1770"/>
                      </a:lnTo>
                      <a:lnTo>
                        <a:pt x="4368" y="1770"/>
                      </a:lnTo>
                      <a:lnTo>
                        <a:pt x="4380" y="1752"/>
                      </a:lnTo>
                      <a:lnTo>
                        <a:pt x="4356" y="1728"/>
                      </a:lnTo>
                      <a:lnTo>
                        <a:pt x="4368" y="1728"/>
                      </a:lnTo>
                      <a:lnTo>
                        <a:pt x="4380" y="1734"/>
                      </a:lnTo>
                      <a:lnTo>
                        <a:pt x="4404" y="1734"/>
                      </a:lnTo>
                      <a:lnTo>
                        <a:pt x="4410" y="1728"/>
                      </a:lnTo>
                      <a:lnTo>
                        <a:pt x="4422" y="1722"/>
                      </a:lnTo>
                      <a:lnTo>
                        <a:pt x="4434" y="1710"/>
                      </a:lnTo>
                      <a:lnTo>
                        <a:pt x="4440" y="1710"/>
                      </a:lnTo>
                      <a:lnTo>
                        <a:pt x="4398" y="1686"/>
                      </a:lnTo>
                      <a:lnTo>
                        <a:pt x="4446" y="1656"/>
                      </a:lnTo>
                      <a:lnTo>
                        <a:pt x="4398" y="1632"/>
                      </a:lnTo>
                      <a:lnTo>
                        <a:pt x="4350" y="1638"/>
                      </a:lnTo>
                      <a:lnTo>
                        <a:pt x="4404" y="1614"/>
                      </a:lnTo>
                      <a:lnTo>
                        <a:pt x="4368" y="1608"/>
                      </a:lnTo>
                      <a:lnTo>
                        <a:pt x="4410" y="1584"/>
                      </a:lnTo>
                      <a:lnTo>
                        <a:pt x="4404" y="1560"/>
                      </a:lnTo>
                      <a:lnTo>
                        <a:pt x="4374" y="1560"/>
                      </a:lnTo>
                      <a:lnTo>
                        <a:pt x="4380" y="1554"/>
                      </a:lnTo>
                      <a:lnTo>
                        <a:pt x="4392" y="1530"/>
                      </a:lnTo>
                      <a:lnTo>
                        <a:pt x="4374" y="1494"/>
                      </a:lnTo>
                      <a:lnTo>
                        <a:pt x="4362" y="1494"/>
                      </a:lnTo>
                      <a:lnTo>
                        <a:pt x="4374" y="1470"/>
                      </a:lnTo>
                      <a:lnTo>
                        <a:pt x="4362" y="1476"/>
                      </a:lnTo>
                      <a:lnTo>
                        <a:pt x="4356" y="1482"/>
                      </a:lnTo>
                      <a:lnTo>
                        <a:pt x="4344" y="1488"/>
                      </a:lnTo>
                      <a:lnTo>
                        <a:pt x="4332" y="1500"/>
                      </a:lnTo>
                      <a:lnTo>
                        <a:pt x="4332" y="1518"/>
                      </a:lnTo>
                      <a:lnTo>
                        <a:pt x="4302" y="1506"/>
                      </a:lnTo>
                      <a:lnTo>
                        <a:pt x="4308" y="1542"/>
                      </a:lnTo>
                      <a:lnTo>
                        <a:pt x="4284" y="1542"/>
                      </a:lnTo>
                      <a:lnTo>
                        <a:pt x="4272" y="1560"/>
                      </a:lnTo>
                      <a:lnTo>
                        <a:pt x="4278" y="1572"/>
                      </a:lnTo>
                      <a:lnTo>
                        <a:pt x="4254" y="1572"/>
                      </a:lnTo>
                      <a:lnTo>
                        <a:pt x="4230" y="1614"/>
                      </a:lnTo>
                      <a:lnTo>
                        <a:pt x="4218" y="1614"/>
                      </a:lnTo>
                      <a:lnTo>
                        <a:pt x="4236" y="1578"/>
                      </a:lnTo>
                      <a:lnTo>
                        <a:pt x="4224" y="1566"/>
                      </a:lnTo>
                      <a:lnTo>
                        <a:pt x="4212" y="1566"/>
                      </a:lnTo>
                      <a:lnTo>
                        <a:pt x="4194" y="1584"/>
                      </a:lnTo>
                      <a:lnTo>
                        <a:pt x="4182" y="1590"/>
                      </a:lnTo>
                      <a:lnTo>
                        <a:pt x="4176" y="1596"/>
                      </a:lnTo>
                      <a:lnTo>
                        <a:pt x="4164" y="1602"/>
                      </a:lnTo>
                      <a:lnTo>
                        <a:pt x="4158" y="1608"/>
                      </a:lnTo>
                      <a:lnTo>
                        <a:pt x="4146" y="1614"/>
                      </a:lnTo>
                      <a:lnTo>
                        <a:pt x="4140" y="1620"/>
                      </a:lnTo>
                      <a:lnTo>
                        <a:pt x="4116" y="1632"/>
                      </a:lnTo>
                      <a:lnTo>
                        <a:pt x="4110" y="1638"/>
                      </a:lnTo>
                      <a:lnTo>
                        <a:pt x="4116" y="1614"/>
                      </a:lnTo>
                      <a:lnTo>
                        <a:pt x="4116" y="1596"/>
                      </a:lnTo>
                      <a:lnTo>
                        <a:pt x="4080" y="1632"/>
                      </a:lnTo>
                      <a:lnTo>
                        <a:pt x="4014" y="1644"/>
                      </a:lnTo>
                      <a:lnTo>
                        <a:pt x="4074" y="1626"/>
                      </a:lnTo>
                      <a:lnTo>
                        <a:pt x="4080" y="1620"/>
                      </a:lnTo>
                      <a:lnTo>
                        <a:pt x="4092" y="1596"/>
                      </a:lnTo>
                      <a:lnTo>
                        <a:pt x="4098" y="1590"/>
                      </a:lnTo>
                      <a:lnTo>
                        <a:pt x="4098" y="1578"/>
                      </a:lnTo>
                      <a:lnTo>
                        <a:pt x="4092" y="1572"/>
                      </a:lnTo>
                      <a:lnTo>
                        <a:pt x="4050" y="1572"/>
                      </a:lnTo>
                      <a:lnTo>
                        <a:pt x="4038" y="1578"/>
                      </a:lnTo>
                      <a:lnTo>
                        <a:pt x="4032" y="1578"/>
                      </a:lnTo>
                      <a:lnTo>
                        <a:pt x="4020" y="1584"/>
                      </a:lnTo>
                      <a:lnTo>
                        <a:pt x="4002" y="1584"/>
                      </a:lnTo>
                      <a:lnTo>
                        <a:pt x="4002" y="1578"/>
                      </a:lnTo>
                      <a:lnTo>
                        <a:pt x="4008" y="1572"/>
                      </a:lnTo>
                      <a:lnTo>
                        <a:pt x="4020" y="1566"/>
                      </a:lnTo>
                      <a:lnTo>
                        <a:pt x="4026" y="1560"/>
                      </a:lnTo>
                      <a:lnTo>
                        <a:pt x="4032" y="1560"/>
                      </a:lnTo>
                      <a:lnTo>
                        <a:pt x="4032" y="1572"/>
                      </a:lnTo>
                      <a:lnTo>
                        <a:pt x="4050" y="1560"/>
                      </a:lnTo>
                      <a:lnTo>
                        <a:pt x="4044" y="1536"/>
                      </a:lnTo>
                      <a:lnTo>
                        <a:pt x="4050" y="1530"/>
                      </a:lnTo>
                      <a:lnTo>
                        <a:pt x="4062" y="1524"/>
                      </a:lnTo>
                      <a:lnTo>
                        <a:pt x="4074" y="1512"/>
                      </a:lnTo>
                      <a:lnTo>
                        <a:pt x="4074" y="1506"/>
                      </a:lnTo>
                      <a:lnTo>
                        <a:pt x="4068" y="1500"/>
                      </a:lnTo>
                      <a:lnTo>
                        <a:pt x="4056" y="1494"/>
                      </a:lnTo>
                      <a:lnTo>
                        <a:pt x="4044" y="1494"/>
                      </a:lnTo>
                      <a:lnTo>
                        <a:pt x="4032" y="1488"/>
                      </a:lnTo>
                      <a:lnTo>
                        <a:pt x="4014" y="1488"/>
                      </a:lnTo>
                      <a:lnTo>
                        <a:pt x="4044" y="1488"/>
                      </a:lnTo>
                      <a:lnTo>
                        <a:pt x="4056" y="1482"/>
                      </a:lnTo>
                      <a:lnTo>
                        <a:pt x="4074" y="1482"/>
                      </a:lnTo>
                      <a:lnTo>
                        <a:pt x="4086" y="1470"/>
                      </a:lnTo>
                      <a:lnTo>
                        <a:pt x="4098" y="1446"/>
                      </a:lnTo>
                      <a:lnTo>
                        <a:pt x="4104" y="1440"/>
                      </a:lnTo>
                      <a:lnTo>
                        <a:pt x="4110" y="1440"/>
                      </a:lnTo>
                      <a:lnTo>
                        <a:pt x="4122" y="1434"/>
                      </a:lnTo>
                      <a:lnTo>
                        <a:pt x="4128" y="1434"/>
                      </a:lnTo>
                      <a:lnTo>
                        <a:pt x="4134" y="1428"/>
                      </a:lnTo>
                      <a:lnTo>
                        <a:pt x="4122" y="1416"/>
                      </a:lnTo>
                      <a:lnTo>
                        <a:pt x="4110" y="1422"/>
                      </a:lnTo>
                      <a:lnTo>
                        <a:pt x="4098" y="1434"/>
                      </a:lnTo>
                      <a:lnTo>
                        <a:pt x="4092" y="1404"/>
                      </a:lnTo>
                      <a:lnTo>
                        <a:pt x="4068" y="1404"/>
                      </a:lnTo>
                      <a:lnTo>
                        <a:pt x="4050" y="1410"/>
                      </a:lnTo>
                      <a:lnTo>
                        <a:pt x="4026" y="1410"/>
                      </a:lnTo>
                      <a:lnTo>
                        <a:pt x="4020" y="1404"/>
                      </a:lnTo>
                      <a:lnTo>
                        <a:pt x="4020" y="1386"/>
                      </a:lnTo>
                      <a:lnTo>
                        <a:pt x="4038" y="1368"/>
                      </a:lnTo>
                      <a:lnTo>
                        <a:pt x="4032" y="1362"/>
                      </a:lnTo>
                      <a:lnTo>
                        <a:pt x="4014" y="1362"/>
                      </a:lnTo>
                      <a:lnTo>
                        <a:pt x="4008" y="1368"/>
                      </a:lnTo>
                      <a:lnTo>
                        <a:pt x="4020" y="1344"/>
                      </a:lnTo>
                      <a:lnTo>
                        <a:pt x="3984" y="1350"/>
                      </a:lnTo>
                      <a:lnTo>
                        <a:pt x="3984" y="1326"/>
                      </a:lnTo>
                      <a:lnTo>
                        <a:pt x="3978" y="1314"/>
                      </a:lnTo>
                      <a:lnTo>
                        <a:pt x="3972" y="1308"/>
                      </a:lnTo>
                      <a:lnTo>
                        <a:pt x="3948" y="1308"/>
                      </a:lnTo>
                      <a:lnTo>
                        <a:pt x="3930" y="1314"/>
                      </a:lnTo>
                      <a:lnTo>
                        <a:pt x="3906" y="1326"/>
                      </a:lnTo>
                      <a:lnTo>
                        <a:pt x="3900" y="1332"/>
                      </a:lnTo>
                      <a:lnTo>
                        <a:pt x="3894" y="1332"/>
                      </a:lnTo>
                      <a:lnTo>
                        <a:pt x="3888" y="1326"/>
                      </a:lnTo>
                      <a:lnTo>
                        <a:pt x="3876" y="1320"/>
                      </a:lnTo>
                      <a:lnTo>
                        <a:pt x="3864" y="1320"/>
                      </a:lnTo>
                      <a:lnTo>
                        <a:pt x="3852" y="1326"/>
                      </a:lnTo>
                      <a:lnTo>
                        <a:pt x="3846" y="1326"/>
                      </a:lnTo>
                      <a:lnTo>
                        <a:pt x="3834" y="1332"/>
                      </a:lnTo>
                      <a:lnTo>
                        <a:pt x="3822" y="1326"/>
                      </a:lnTo>
                      <a:lnTo>
                        <a:pt x="3762" y="1302"/>
                      </a:lnTo>
                      <a:lnTo>
                        <a:pt x="3738" y="1302"/>
                      </a:lnTo>
                      <a:lnTo>
                        <a:pt x="3714" y="1314"/>
                      </a:lnTo>
                      <a:lnTo>
                        <a:pt x="3708" y="1326"/>
                      </a:lnTo>
                      <a:lnTo>
                        <a:pt x="3702" y="1326"/>
                      </a:lnTo>
                      <a:lnTo>
                        <a:pt x="3684" y="1344"/>
                      </a:lnTo>
                      <a:lnTo>
                        <a:pt x="3684" y="1350"/>
                      </a:lnTo>
                      <a:lnTo>
                        <a:pt x="3696" y="1356"/>
                      </a:lnTo>
                      <a:lnTo>
                        <a:pt x="3702" y="1362"/>
                      </a:lnTo>
                      <a:lnTo>
                        <a:pt x="3708" y="1374"/>
                      </a:lnTo>
                      <a:lnTo>
                        <a:pt x="3708" y="1380"/>
                      </a:lnTo>
                      <a:lnTo>
                        <a:pt x="3702" y="1386"/>
                      </a:lnTo>
                      <a:lnTo>
                        <a:pt x="3690" y="1392"/>
                      </a:lnTo>
                      <a:lnTo>
                        <a:pt x="3672" y="1410"/>
                      </a:lnTo>
                      <a:lnTo>
                        <a:pt x="3660" y="1416"/>
                      </a:lnTo>
                      <a:lnTo>
                        <a:pt x="3636" y="1422"/>
                      </a:lnTo>
                      <a:lnTo>
                        <a:pt x="3660" y="1440"/>
                      </a:lnTo>
                      <a:lnTo>
                        <a:pt x="3654" y="1446"/>
                      </a:lnTo>
                      <a:lnTo>
                        <a:pt x="3642" y="1446"/>
                      </a:lnTo>
                      <a:lnTo>
                        <a:pt x="3636" y="1452"/>
                      </a:lnTo>
                      <a:lnTo>
                        <a:pt x="3636" y="1470"/>
                      </a:lnTo>
                      <a:lnTo>
                        <a:pt x="3642" y="1482"/>
                      </a:lnTo>
                      <a:lnTo>
                        <a:pt x="3642" y="1488"/>
                      </a:lnTo>
                      <a:lnTo>
                        <a:pt x="3636" y="1500"/>
                      </a:lnTo>
                      <a:lnTo>
                        <a:pt x="3624" y="1506"/>
                      </a:lnTo>
                      <a:lnTo>
                        <a:pt x="3618" y="1512"/>
                      </a:lnTo>
                      <a:lnTo>
                        <a:pt x="3606" y="1512"/>
                      </a:lnTo>
                      <a:lnTo>
                        <a:pt x="3582" y="1524"/>
                      </a:lnTo>
                      <a:lnTo>
                        <a:pt x="3576" y="1536"/>
                      </a:lnTo>
                      <a:lnTo>
                        <a:pt x="3576" y="1548"/>
                      </a:lnTo>
                      <a:lnTo>
                        <a:pt x="3570" y="1548"/>
                      </a:lnTo>
                      <a:lnTo>
                        <a:pt x="3564" y="1554"/>
                      </a:lnTo>
                      <a:lnTo>
                        <a:pt x="3552" y="1554"/>
                      </a:lnTo>
                      <a:lnTo>
                        <a:pt x="3540" y="1560"/>
                      </a:lnTo>
                      <a:lnTo>
                        <a:pt x="3534" y="1566"/>
                      </a:lnTo>
                      <a:lnTo>
                        <a:pt x="3522" y="1572"/>
                      </a:lnTo>
                      <a:lnTo>
                        <a:pt x="3504" y="1590"/>
                      </a:lnTo>
                      <a:lnTo>
                        <a:pt x="3510" y="1596"/>
                      </a:lnTo>
                      <a:lnTo>
                        <a:pt x="3522" y="1602"/>
                      </a:lnTo>
                      <a:lnTo>
                        <a:pt x="3534" y="1614"/>
                      </a:lnTo>
                      <a:lnTo>
                        <a:pt x="3552" y="1620"/>
                      </a:lnTo>
                      <a:lnTo>
                        <a:pt x="3558" y="1632"/>
                      </a:lnTo>
                      <a:lnTo>
                        <a:pt x="3564" y="1638"/>
                      </a:lnTo>
                      <a:lnTo>
                        <a:pt x="3564" y="1662"/>
                      </a:lnTo>
                      <a:lnTo>
                        <a:pt x="3558" y="1698"/>
                      </a:lnTo>
                      <a:lnTo>
                        <a:pt x="3540" y="1746"/>
                      </a:lnTo>
                      <a:lnTo>
                        <a:pt x="3510" y="1776"/>
                      </a:lnTo>
                      <a:lnTo>
                        <a:pt x="3468" y="1800"/>
                      </a:lnTo>
                      <a:lnTo>
                        <a:pt x="3426" y="1830"/>
                      </a:lnTo>
                      <a:lnTo>
                        <a:pt x="3390" y="1854"/>
                      </a:lnTo>
                      <a:lnTo>
                        <a:pt x="3366" y="1860"/>
                      </a:lnTo>
                      <a:lnTo>
                        <a:pt x="3336" y="1860"/>
                      </a:lnTo>
                      <a:lnTo>
                        <a:pt x="3300" y="1866"/>
                      </a:lnTo>
                      <a:lnTo>
                        <a:pt x="3276" y="1872"/>
                      </a:lnTo>
                      <a:lnTo>
                        <a:pt x="3258" y="1878"/>
                      </a:lnTo>
                      <a:lnTo>
                        <a:pt x="3258" y="1902"/>
                      </a:lnTo>
                      <a:lnTo>
                        <a:pt x="3264" y="1914"/>
                      </a:lnTo>
                      <a:lnTo>
                        <a:pt x="3264" y="1926"/>
                      </a:lnTo>
                      <a:lnTo>
                        <a:pt x="3270" y="1938"/>
                      </a:lnTo>
                      <a:lnTo>
                        <a:pt x="3270" y="1950"/>
                      </a:lnTo>
                      <a:lnTo>
                        <a:pt x="3252" y="1968"/>
                      </a:lnTo>
                      <a:lnTo>
                        <a:pt x="3234" y="2004"/>
                      </a:lnTo>
                      <a:lnTo>
                        <a:pt x="3234" y="2076"/>
                      </a:lnTo>
                      <a:lnTo>
                        <a:pt x="3210" y="2088"/>
                      </a:lnTo>
                      <a:lnTo>
                        <a:pt x="3204" y="2094"/>
                      </a:lnTo>
                      <a:lnTo>
                        <a:pt x="3180" y="2106"/>
                      </a:lnTo>
                      <a:lnTo>
                        <a:pt x="3180" y="2142"/>
                      </a:lnTo>
                      <a:lnTo>
                        <a:pt x="3156" y="2166"/>
                      </a:lnTo>
                      <a:lnTo>
                        <a:pt x="3156" y="2154"/>
                      </a:lnTo>
                      <a:lnTo>
                        <a:pt x="3162" y="2148"/>
                      </a:lnTo>
                      <a:lnTo>
                        <a:pt x="3162" y="2142"/>
                      </a:lnTo>
                      <a:lnTo>
                        <a:pt x="3156" y="2130"/>
                      </a:lnTo>
                      <a:lnTo>
                        <a:pt x="3138" y="2130"/>
                      </a:lnTo>
                      <a:lnTo>
                        <a:pt x="3126" y="2136"/>
                      </a:lnTo>
                      <a:lnTo>
                        <a:pt x="3108" y="2154"/>
                      </a:lnTo>
                      <a:lnTo>
                        <a:pt x="3108" y="2166"/>
                      </a:lnTo>
                      <a:lnTo>
                        <a:pt x="3114" y="2178"/>
                      </a:lnTo>
                      <a:lnTo>
                        <a:pt x="3114" y="2190"/>
                      </a:lnTo>
                      <a:lnTo>
                        <a:pt x="3108" y="2196"/>
                      </a:lnTo>
                      <a:lnTo>
                        <a:pt x="3108" y="2178"/>
                      </a:lnTo>
                      <a:lnTo>
                        <a:pt x="3102" y="2166"/>
                      </a:lnTo>
                      <a:lnTo>
                        <a:pt x="3090" y="2154"/>
                      </a:lnTo>
                      <a:lnTo>
                        <a:pt x="3078" y="2154"/>
                      </a:lnTo>
                      <a:lnTo>
                        <a:pt x="3066" y="2160"/>
                      </a:lnTo>
                      <a:lnTo>
                        <a:pt x="3042" y="2160"/>
                      </a:lnTo>
                      <a:lnTo>
                        <a:pt x="3036" y="2166"/>
                      </a:lnTo>
                      <a:lnTo>
                        <a:pt x="3030" y="2166"/>
                      </a:lnTo>
                      <a:lnTo>
                        <a:pt x="3042" y="2160"/>
                      </a:lnTo>
                      <a:lnTo>
                        <a:pt x="3060" y="2142"/>
                      </a:lnTo>
                      <a:lnTo>
                        <a:pt x="3072" y="2136"/>
                      </a:lnTo>
                      <a:lnTo>
                        <a:pt x="3078" y="2124"/>
                      </a:lnTo>
                      <a:lnTo>
                        <a:pt x="3078" y="2118"/>
                      </a:lnTo>
                      <a:lnTo>
                        <a:pt x="3072" y="2106"/>
                      </a:lnTo>
                      <a:lnTo>
                        <a:pt x="3060" y="2100"/>
                      </a:lnTo>
                      <a:lnTo>
                        <a:pt x="3048" y="2088"/>
                      </a:lnTo>
                      <a:lnTo>
                        <a:pt x="3030" y="2088"/>
                      </a:lnTo>
                      <a:lnTo>
                        <a:pt x="3024" y="2082"/>
                      </a:lnTo>
                      <a:lnTo>
                        <a:pt x="3018" y="2082"/>
                      </a:lnTo>
                      <a:lnTo>
                        <a:pt x="3024" y="2082"/>
                      </a:lnTo>
                      <a:lnTo>
                        <a:pt x="3042" y="2064"/>
                      </a:lnTo>
                      <a:lnTo>
                        <a:pt x="3042" y="2058"/>
                      </a:lnTo>
                      <a:lnTo>
                        <a:pt x="3030" y="2034"/>
                      </a:lnTo>
                      <a:lnTo>
                        <a:pt x="3030" y="2028"/>
                      </a:lnTo>
                      <a:lnTo>
                        <a:pt x="3024" y="2016"/>
                      </a:lnTo>
                      <a:lnTo>
                        <a:pt x="3060" y="1992"/>
                      </a:lnTo>
                      <a:lnTo>
                        <a:pt x="3060" y="1968"/>
                      </a:lnTo>
                      <a:lnTo>
                        <a:pt x="3084" y="1956"/>
                      </a:lnTo>
                      <a:lnTo>
                        <a:pt x="3084" y="1914"/>
                      </a:lnTo>
                      <a:lnTo>
                        <a:pt x="3090" y="1914"/>
                      </a:lnTo>
                      <a:lnTo>
                        <a:pt x="3102" y="1902"/>
                      </a:lnTo>
                      <a:lnTo>
                        <a:pt x="3114" y="1896"/>
                      </a:lnTo>
                      <a:lnTo>
                        <a:pt x="3132" y="1878"/>
                      </a:lnTo>
                      <a:lnTo>
                        <a:pt x="3126" y="1866"/>
                      </a:lnTo>
                      <a:lnTo>
                        <a:pt x="3120" y="1860"/>
                      </a:lnTo>
                      <a:lnTo>
                        <a:pt x="3084" y="1848"/>
                      </a:lnTo>
                      <a:lnTo>
                        <a:pt x="2976" y="1848"/>
                      </a:lnTo>
                      <a:lnTo>
                        <a:pt x="2940" y="1860"/>
                      </a:lnTo>
                      <a:lnTo>
                        <a:pt x="2946" y="1848"/>
                      </a:lnTo>
                      <a:lnTo>
                        <a:pt x="2952" y="1842"/>
                      </a:lnTo>
                      <a:lnTo>
                        <a:pt x="2952" y="1830"/>
                      </a:lnTo>
                      <a:lnTo>
                        <a:pt x="2958" y="1824"/>
                      </a:lnTo>
                      <a:lnTo>
                        <a:pt x="2952" y="1818"/>
                      </a:lnTo>
                      <a:lnTo>
                        <a:pt x="2940" y="1812"/>
                      </a:lnTo>
                      <a:lnTo>
                        <a:pt x="2928" y="1812"/>
                      </a:lnTo>
                      <a:lnTo>
                        <a:pt x="2892" y="1800"/>
                      </a:lnTo>
                      <a:lnTo>
                        <a:pt x="2874" y="1800"/>
                      </a:lnTo>
                      <a:lnTo>
                        <a:pt x="2868" y="1794"/>
                      </a:lnTo>
                      <a:lnTo>
                        <a:pt x="2862" y="1794"/>
                      </a:lnTo>
                      <a:lnTo>
                        <a:pt x="2862" y="1770"/>
                      </a:lnTo>
                      <a:lnTo>
                        <a:pt x="2856" y="1752"/>
                      </a:lnTo>
                      <a:lnTo>
                        <a:pt x="2844" y="1740"/>
                      </a:lnTo>
                      <a:lnTo>
                        <a:pt x="2790" y="1722"/>
                      </a:lnTo>
                      <a:lnTo>
                        <a:pt x="2778" y="1722"/>
                      </a:lnTo>
                      <a:lnTo>
                        <a:pt x="2778" y="1716"/>
                      </a:lnTo>
                      <a:lnTo>
                        <a:pt x="2766" y="1704"/>
                      </a:lnTo>
                      <a:lnTo>
                        <a:pt x="2754" y="1704"/>
                      </a:lnTo>
                      <a:lnTo>
                        <a:pt x="2736" y="1698"/>
                      </a:lnTo>
                      <a:lnTo>
                        <a:pt x="2694" y="1698"/>
                      </a:lnTo>
                      <a:lnTo>
                        <a:pt x="2646" y="1704"/>
                      </a:lnTo>
                      <a:lnTo>
                        <a:pt x="2610" y="1716"/>
                      </a:lnTo>
                      <a:lnTo>
                        <a:pt x="2592" y="1716"/>
                      </a:lnTo>
                      <a:lnTo>
                        <a:pt x="2598" y="1716"/>
                      </a:lnTo>
                      <a:lnTo>
                        <a:pt x="2604" y="1710"/>
                      </a:lnTo>
                      <a:lnTo>
                        <a:pt x="2616" y="1710"/>
                      </a:lnTo>
                      <a:lnTo>
                        <a:pt x="2628" y="1704"/>
                      </a:lnTo>
                      <a:lnTo>
                        <a:pt x="2634" y="1692"/>
                      </a:lnTo>
                      <a:lnTo>
                        <a:pt x="2640" y="1686"/>
                      </a:lnTo>
                      <a:lnTo>
                        <a:pt x="2646" y="1662"/>
                      </a:lnTo>
                      <a:lnTo>
                        <a:pt x="2658" y="1632"/>
                      </a:lnTo>
                      <a:lnTo>
                        <a:pt x="2664" y="1602"/>
                      </a:lnTo>
                      <a:lnTo>
                        <a:pt x="2670" y="1590"/>
                      </a:lnTo>
                      <a:lnTo>
                        <a:pt x="2658" y="1590"/>
                      </a:lnTo>
                      <a:lnTo>
                        <a:pt x="2646" y="1584"/>
                      </a:lnTo>
                      <a:lnTo>
                        <a:pt x="2616" y="1584"/>
                      </a:lnTo>
                      <a:lnTo>
                        <a:pt x="2610" y="1590"/>
                      </a:lnTo>
                      <a:lnTo>
                        <a:pt x="2598" y="1596"/>
                      </a:lnTo>
                      <a:lnTo>
                        <a:pt x="2592" y="1602"/>
                      </a:lnTo>
                      <a:lnTo>
                        <a:pt x="2580" y="1608"/>
                      </a:lnTo>
                      <a:lnTo>
                        <a:pt x="2598" y="1578"/>
                      </a:lnTo>
                      <a:lnTo>
                        <a:pt x="2592" y="1560"/>
                      </a:lnTo>
                      <a:lnTo>
                        <a:pt x="2610" y="1542"/>
                      </a:lnTo>
                      <a:lnTo>
                        <a:pt x="2616" y="1530"/>
                      </a:lnTo>
                      <a:lnTo>
                        <a:pt x="2640" y="1506"/>
                      </a:lnTo>
                      <a:lnTo>
                        <a:pt x="2646" y="1494"/>
                      </a:lnTo>
                      <a:lnTo>
                        <a:pt x="2664" y="1476"/>
                      </a:lnTo>
                      <a:lnTo>
                        <a:pt x="2694" y="1452"/>
                      </a:lnTo>
                      <a:lnTo>
                        <a:pt x="2730" y="1428"/>
                      </a:lnTo>
                      <a:lnTo>
                        <a:pt x="2754" y="1410"/>
                      </a:lnTo>
                      <a:lnTo>
                        <a:pt x="2766" y="1404"/>
                      </a:lnTo>
                      <a:lnTo>
                        <a:pt x="2760" y="1392"/>
                      </a:lnTo>
                      <a:lnTo>
                        <a:pt x="2826" y="1368"/>
                      </a:lnTo>
                      <a:lnTo>
                        <a:pt x="2826" y="1350"/>
                      </a:lnTo>
                      <a:lnTo>
                        <a:pt x="2868" y="1344"/>
                      </a:lnTo>
                      <a:lnTo>
                        <a:pt x="2868" y="1326"/>
                      </a:lnTo>
                      <a:lnTo>
                        <a:pt x="2898" y="1320"/>
                      </a:lnTo>
                      <a:lnTo>
                        <a:pt x="2952" y="1284"/>
                      </a:lnTo>
                      <a:lnTo>
                        <a:pt x="3006" y="1284"/>
                      </a:lnTo>
                      <a:lnTo>
                        <a:pt x="3042" y="1278"/>
                      </a:lnTo>
                      <a:lnTo>
                        <a:pt x="3060" y="1266"/>
                      </a:lnTo>
                      <a:lnTo>
                        <a:pt x="3060" y="1254"/>
                      </a:lnTo>
                      <a:lnTo>
                        <a:pt x="3030" y="1224"/>
                      </a:lnTo>
                      <a:lnTo>
                        <a:pt x="2970" y="1230"/>
                      </a:lnTo>
                      <a:lnTo>
                        <a:pt x="2982" y="1218"/>
                      </a:lnTo>
                      <a:lnTo>
                        <a:pt x="2928" y="1194"/>
                      </a:lnTo>
                      <a:lnTo>
                        <a:pt x="2952" y="1188"/>
                      </a:lnTo>
                      <a:lnTo>
                        <a:pt x="3036" y="1212"/>
                      </a:lnTo>
                      <a:lnTo>
                        <a:pt x="3054" y="1230"/>
                      </a:lnTo>
                      <a:lnTo>
                        <a:pt x="3066" y="1236"/>
                      </a:lnTo>
                      <a:lnTo>
                        <a:pt x="3096" y="1236"/>
                      </a:lnTo>
                      <a:lnTo>
                        <a:pt x="3108" y="1230"/>
                      </a:lnTo>
                      <a:lnTo>
                        <a:pt x="3114" y="1218"/>
                      </a:lnTo>
                      <a:lnTo>
                        <a:pt x="3126" y="1206"/>
                      </a:lnTo>
                      <a:lnTo>
                        <a:pt x="3132" y="1194"/>
                      </a:lnTo>
                      <a:lnTo>
                        <a:pt x="3144" y="1188"/>
                      </a:lnTo>
                      <a:lnTo>
                        <a:pt x="3150" y="1182"/>
                      </a:lnTo>
                      <a:lnTo>
                        <a:pt x="3156" y="1182"/>
                      </a:lnTo>
                      <a:lnTo>
                        <a:pt x="3180" y="1194"/>
                      </a:lnTo>
                      <a:lnTo>
                        <a:pt x="3198" y="1200"/>
                      </a:lnTo>
                      <a:lnTo>
                        <a:pt x="3210" y="1200"/>
                      </a:lnTo>
                      <a:lnTo>
                        <a:pt x="3246" y="1182"/>
                      </a:lnTo>
                      <a:lnTo>
                        <a:pt x="3282" y="1170"/>
                      </a:lnTo>
                      <a:lnTo>
                        <a:pt x="3318" y="1152"/>
                      </a:lnTo>
                      <a:lnTo>
                        <a:pt x="3336" y="1146"/>
                      </a:lnTo>
                      <a:lnTo>
                        <a:pt x="3360" y="1134"/>
                      </a:lnTo>
                      <a:lnTo>
                        <a:pt x="3372" y="1122"/>
                      </a:lnTo>
                      <a:lnTo>
                        <a:pt x="3366" y="1116"/>
                      </a:lnTo>
                      <a:lnTo>
                        <a:pt x="3342" y="1110"/>
                      </a:lnTo>
                      <a:lnTo>
                        <a:pt x="3264" y="1110"/>
                      </a:lnTo>
                      <a:lnTo>
                        <a:pt x="3258" y="1086"/>
                      </a:lnTo>
                      <a:lnTo>
                        <a:pt x="3174" y="1056"/>
                      </a:lnTo>
                      <a:lnTo>
                        <a:pt x="3186" y="1056"/>
                      </a:lnTo>
                      <a:lnTo>
                        <a:pt x="3216" y="1050"/>
                      </a:lnTo>
                      <a:lnTo>
                        <a:pt x="3252" y="1050"/>
                      </a:lnTo>
                      <a:lnTo>
                        <a:pt x="3282" y="1056"/>
                      </a:lnTo>
                      <a:lnTo>
                        <a:pt x="3294" y="1062"/>
                      </a:lnTo>
                      <a:lnTo>
                        <a:pt x="3306" y="1074"/>
                      </a:lnTo>
                      <a:lnTo>
                        <a:pt x="3324" y="1086"/>
                      </a:lnTo>
                      <a:lnTo>
                        <a:pt x="3336" y="1098"/>
                      </a:lnTo>
                      <a:lnTo>
                        <a:pt x="3348" y="1104"/>
                      </a:lnTo>
                      <a:lnTo>
                        <a:pt x="3372" y="1098"/>
                      </a:lnTo>
                      <a:lnTo>
                        <a:pt x="3408" y="1080"/>
                      </a:lnTo>
                      <a:lnTo>
                        <a:pt x="3444" y="1068"/>
                      </a:lnTo>
                      <a:lnTo>
                        <a:pt x="3474" y="1050"/>
                      </a:lnTo>
                      <a:lnTo>
                        <a:pt x="3486" y="1044"/>
                      </a:lnTo>
                      <a:lnTo>
                        <a:pt x="3462" y="1032"/>
                      </a:lnTo>
                      <a:lnTo>
                        <a:pt x="3468" y="1026"/>
                      </a:lnTo>
                      <a:lnTo>
                        <a:pt x="3492" y="1014"/>
                      </a:lnTo>
                      <a:lnTo>
                        <a:pt x="3522" y="1014"/>
                      </a:lnTo>
                      <a:lnTo>
                        <a:pt x="3528" y="1020"/>
                      </a:lnTo>
                      <a:lnTo>
                        <a:pt x="3534" y="1032"/>
                      </a:lnTo>
                      <a:lnTo>
                        <a:pt x="3540" y="1038"/>
                      </a:lnTo>
                      <a:lnTo>
                        <a:pt x="3570" y="1050"/>
                      </a:lnTo>
                      <a:lnTo>
                        <a:pt x="3576" y="1026"/>
                      </a:lnTo>
                      <a:lnTo>
                        <a:pt x="3594" y="1044"/>
                      </a:lnTo>
                      <a:lnTo>
                        <a:pt x="3600" y="1038"/>
                      </a:lnTo>
                      <a:lnTo>
                        <a:pt x="3600" y="1026"/>
                      </a:lnTo>
                      <a:lnTo>
                        <a:pt x="3594" y="1014"/>
                      </a:lnTo>
                      <a:lnTo>
                        <a:pt x="3582" y="1002"/>
                      </a:lnTo>
                      <a:lnTo>
                        <a:pt x="3564" y="990"/>
                      </a:lnTo>
                      <a:lnTo>
                        <a:pt x="3606" y="984"/>
                      </a:lnTo>
                      <a:lnTo>
                        <a:pt x="3606" y="990"/>
                      </a:lnTo>
                      <a:lnTo>
                        <a:pt x="3612" y="996"/>
                      </a:lnTo>
                      <a:lnTo>
                        <a:pt x="3612" y="1008"/>
                      </a:lnTo>
                      <a:lnTo>
                        <a:pt x="3624" y="1032"/>
                      </a:lnTo>
                      <a:lnTo>
                        <a:pt x="3630" y="1038"/>
                      </a:lnTo>
                      <a:lnTo>
                        <a:pt x="3636" y="1038"/>
                      </a:lnTo>
                      <a:lnTo>
                        <a:pt x="3654" y="1032"/>
                      </a:lnTo>
                      <a:lnTo>
                        <a:pt x="3690" y="1026"/>
                      </a:lnTo>
                      <a:lnTo>
                        <a:pt x="3732" y="1008"/>
                      </a:lnTo>
                      <a:lnTo>
                        <a:pt x="3768" y="990"/>
                      </a:lnTo>
                      <a:lnTo>
                        <a:pt x="3798" y="972"/>
                      </a:lnTo>
                      <a:lnTo>
                        <a:pt x="3798" y="960"/>
                      </a:lnTo>
                      <a:lnTo>
                        <a:pt x="3786" y="942"/>
                      </a:lnTo>
                      <a:lnTo>
                        <a:pt x="3780" y="930"/>
                      </a:lnTo>
                      <a:lnTo>
                        <a:pt x="3774" y="912"/>
                      </a:lnTo>
                      <a:lnTo>
                        <a:pt x="3774" y="900"/>
                      </a:lnTo>
                      <a:lnTo>
                        <a:pt x="3780" y="894"/>
                      </a:lnTo>
                      <a:lnTo>
                        <a:pt x="3792" y="894"/>
                      </a:lnTo>
                      <a:lnTo>
                        <a:pt x="3804" y="888"/>
                      </a:lnTo>
                      <a:lnTo>
                        <a:pt x="3822" y="888"/>
                      </a:lnTo>
                      <a:lnTo>
                        <a:pt x="3840" y="882"/>
                      </a:lnTo>
                      <a:lnTo>
                        <a:pt x="3858" y="882"/>
                      </a:lnTo>
                      <a:lnTo>
                        <a:pt x="3864" y="876"/>
                      </a:lnTo>
                      <a:lnTo>
                        <a:pt x="3870" y="876"/>
                      </a:lnTo>
                      <a:lnTo>
                        <a:pt x="3870" y="858"/>
                      </a:lnTo>
                      <a:lnTo>
                        <a:pt x="3864" y="846"/>
                      </a:lnTo>
                      <a:lnTo>
                        <a:pt x="3864" y="840"/>
                      </a:lnTo>
                      <a:lnTo>
                        <a:pt x="3858" y="828"/>
                      </a:lnTo>
                      <a:lnTo>
                        <a:pt x="3840" y="804"/>
                      </a:lnTo>
                      <a:lnTo>
                        <a:pt x="3822" y="798"/>
                      </a:lnTo>
                      <a:lnTo>
                        <a:pt x="3786" y="792"/>
                      </a:lnTo>
                      <a:lnTo>
                        <a:pt x="3744" y="792"/>
                      </a:lnTo>
                      <a:lnTo>
                        <a:pt x="3708" y="804"/>
                      </a:lnTo>
                      <a:lnTo>
                        <a:pt x="3690" y="822"/>
                      </a:lnTo>
                      <a:lnTo>
                        <a:pt x="3690" y="840"/>
                      </a:lnTo>
                      <a:lnTo>
                        <a:pt x="3696" y="840"/>
                      </a:lnTo>
                      <a:lnTo>
                        <a:pt x="3702" y="846"/>
                      </a:lnTo>
                      <a:lnTo>
                        <a:pt x="3666" y="870"/>
                      </a:lnTo>
                      <a:lnTo>
                        <a:pt x="3642" y="870"/>
                      </a:lnTo>
                      <a:lnTo>
                        <a:pt x="3576" y="918"/>
                      </a:lnTo>
                      <a:lnTo>
                        <a:pt x="3552" y="930"/>
                      </a:lnTo>
                      <a:lnTo>
                        <a:pt x="3546" y="936"/>
                      </a:lnTo>
                      <a:lnTo>
                        <a:pt x="3540" y="948"/>
                      </a:lnTo>
                      <a:lnTo>
                        <a:pt x="3522" y="966"/>
                      </a:lnTo>
                      <a:lnTo>
                        <a:pt x="3492" y="966"/>
                      </a:lnTo>
                      <a:lnTo>
                        <a:pt x="3456" y="984"/>
                      </a:lnTo>
                      <a:lnTo>
                        <a:pt x="3456" y="972"/>
                      </a:lnTo>
                      <a:lnTo>
                        <a:pt x="3450" y="954"/>
                      </a:lnTo>
                      <a:lnTo>
                        <a:pt x="3450" y="918"/>
                      </a:lnTo>
                      <a:lnTo>
                        <a:pt x="3456" y="912"/>
                      </a:lnTo>
                      <a:lnTo>
                        <a:pt x="3480" y="900"/>
                      </a:lnTo>
                      <a:lnTo>
                        <a:pt x="3498" y="900"/>
                      </a:lnTo>
                      <a:lnTo>
                        <a:pt x="3510" y="894"/>
                      </a:lnTo>
                      <a:lnTo>
                        <a:pt x="3516" y="882"/>
                      </a:lnTo>
                      <a:lnTo>
                        <a:pt x="3516" y="870"/>
                      </a:lnTo>
                      <a:lnTo>
                        <a:pt x="3510" y="852"/>
                      </a:lnTo>
                      <a:lnTo>
                        <a:pt x="3504" y="846"/>
                      </a:lnTo>
                      <a:lnTo>
                        <a:pt x="3498" y="834"/>
                      </a:lnTo>
                      <a:lnTo>
                        <a:pt x="3486" y="834"/>
                      </a:lnTo>
                      <a:lnTo>
                        <a:pt x="3450" y="852"/>
                      </a:lnTo>
                      <a:lnTo>
                        <a:pt x="3432" y="858"/>
                      </a:lnTo>
                      <a:lnTo>
                        <a:pt x="3420" y="864"/>
                      </a:lnTo>
                      <a:lnTo>
                        <a:pt x="3414" y="870"/>
                      </a:lnTo>
                      <a:lnTo>
                        <a:pt x="3408" y="870"/>
                      </a:lnTo>
                      <a:lnTo>
                        <a:pt x="3378" y="900"/>
                      </a:lnTo>
                      <a:lnTo>
                        <a:pt x="3372" y="888"/>
                      </a:lnTo>
                      <a:lnTo>
                        <a:pt x="3396" y="858"/>
                      </a:lnTo>
                      <a:lnTo>
                        <a:pt x="3396" y="840"/>
                      </a:lnTo>
                      <a:lnTo>
                        <a:pt x="3438" y="822"/>
                      </a:lnTo>
                      <a:lnTo>
                        <a:pt x="3402" y="816"/>
                      </a:lnTo>
                      <a:lnTo>
                        <a:pt x="3408" y="804"/>
                      </a:lnTo>
                      <a:lnTo>
                        <a:pt x="3360" y="816"/>
                      </a:lnTo>
                      <a:lnTo>
                        <a:pt x="3336" y="804"/>
                      </a:lnTo>
                      <a:lnTo>
                        <a:pt x="3378" y="792"/>
                      </a:lnTo>
                      <a:lnTo>
                        <a:pt x="3378" y="774"/>
                      </a:lnTo>
                      <a:lnTo>
                        <a:pt x="3390" y="774"/>
                      </a:lnTo>
                      <a:lnTo>
                        <a:pt x="3396" y="780"/>
                      </a:lnTo>
                      <a:lnTo>
                        <a:pt x="3420" y="780"/>
                      </a:lnTo>
                      <a:lnTo>
                        <a:pt x="3426" y="774"/>
                      </a:lnTo>
                      <a:lnTo>
                        <a:pt x="3426" y="762"/>
                      </a:lnTo>
                      <a:lnTo>
                        <a:pt x="3420" y="756"/>
                      </a:lnTo>
                      <a:lnTo>
                        <a:pt x="3408" y="756"/>
                      </a:lnTo>
                      <a:lnTo>
                        <a:pt x="3396" y="744"/>
                      </a:lnTo>
                      <a:lnTo>
                        <a:pt x="3396" y="738"/>
                      </a:lnTo>
                      <a:lnTo>
                        <a:pt x="3420" y="690"/>
                      </a:lnTo>
                      <a:lnTo>
                        <a:pt x="3426" y="684"/>
                      </a:lnTo>
                      <a:lnTo>
                        <a:pt x="3426" y="672"/>
                      </a:lnTo>
                      <a:lnTo>
                        <a:pt x="3420" y="666"/>
                      </a:lnTo>
                      <a:lnTo>
                        <a:pt x="3414" y="666"/>
                      </a:lnTo>
                      <a:lnTo>
                        <a:pt x="3372" y="648"/>
                      </a:lnTo>
                      <a:lnTo>
                        <a:pt x="3348" y="660"/>
                      </a:lnTo>
                      <a:lnTo>
                        <a:pt x="3336" y="660"/>
                      </a:lnTo>
                      <a:lnTo>
                        <a:pt x="3318" y="666"/>
                      </a:lnTo>
                      <a:lnTo>
                        <a:pt x="3312" y="666"/>
                      </a:lnTo>
                      <a:lnTo>
                        <a:pt x="3306" y="672"/>
                      </a:lnTo>
                      <a:lnTo>
                        <a:pt x="3306" y="690"/>
                      </a:lnTo>
                      <a:lnTo>
                        <a:pt x="3240" y="690"/>
                      </a:lnTo>
                      <a:lnTo>
                        <a:pt x="3228" y="696"/>
                      </a:lnTo>
                      <a:lnTo>
                        <a:pt x="3222" y="702"/>
                      </a:lnTo>
                      <a:lnTo>
                        <a:pt x="3210" y="708"/>
                      </a:lnTo>
                      <a:lnTo>
                        <a:pt x="3198" y="720"/>
                      </a:lnTo>
                      <a:lnTo>
                        <a:pt x="3204" y="726"/>
                      </a:lnTo>
                      <a:lnTo>
                        <a:pt x="3216" y="732"/>
                      </a:lnTo>
                      <a:lnTo>
                        <a:pt x="3228" y="732"/>
                      </a:lnTo>
                      <a:lnTo>
                        <a:pt x="3234" y="738"/>
                      </a:lnTo>
                      <a:lnTo>
                        <a:pt x="3228" y="738"/>
                      </a:lnTo>
                      <a:lnTo>
                        <a:pt x="3222" y="744"/>
                      </a:lnTo>
                      <a:lnTo>
                        <a:pt x="3204" y="744"/>
                      </a:lnTo>
                      <a:lnTo>
                        <a:pt x="3180" y="756"/>
                      </a:lnTo>
                      <a:lnTo>
                        <a:pt x="3168" y="768"/>
                      </a:lnTo>
                      <a:lnTo>
                        <a:pt x="3168" y="774"/>
                      </a:lnTo>
                      <a:lnTo>
                        <a:pt x="3174" y="786"/>
                      </a:lnTo>
                      <a:lnTo>
                        <a:pt x="3186" y="798"/>
                      </a:lnTo>
                      <a:lnTo>
                        <a:pt x="3198" y="804"/>
                      </a:lnTo>
                      <a:lnTo>
                        <a:pt x="3204" y="810"/>
                      </a:lnTo>
                      <a:lnTo>
                        <a:pt x="3210" y="810"/>
                      </a:lnTo>
                      <a:lnTo>
                        <a:pt x="3234" y="798"/>
                      </a:lnTo>
                      <a:lnTo>
                        <a:pt x="3234" y="822"/>
                      </a:lnTo>
                      <a:lnTo>
                        <a:pt x="3240" y="828"/>
                      </a:lnTo>
                      <a:lnTo>
                        <a:pt x="3246" y="828"/>
                      </a:lnTo>
                      <a:lnTo>
                        <a:pt x="3258" y="822"/>
                      </a:lnTo>
                      <a:lnTo>
                        <a:pt x="3282" y="822"/>
                      </a:lnTo>
                      <a:lnTo>
                        <a:pt x="3276" y="828"/>
                      </a:lnTo>
                      <a:lnTo>
                        <a:pt x="3252" y="840"/>
                      </a:lnTo>
                      <a:lnTo>
                        <a:pt x="3246" y="840"/>
                      </a:lnTo>
                      <a:lnTo>
                        <a:pt x="3228" y="828"/>
                      </a:lnTo>
                      <a:lnTo>
                        <a:pt x="3222" y="846"/>
                      </a:lnTo>
                      <a:lnTo>
                        <a:pt x="3204" y="846"/>
                      </a:lnTo>
                      <a:lnTo>
                        <a:pt x="3192" y="852"/>
                      </a:lnTo>
                      <a:lnTo>
                        <a:pt x="3186" y="852"/>
                      </a:lnTo>
                      <a:lnTo>
                        <a:pt x="3180" y="858"/>
                      </a:lnTo>
                      <a:lnTo>
                        <a:pt x="3204" y="858"/>
                      </a:lnTo>
                      <a:lnTo>
                        <a:pt x="3228" y="846"/>
                      </a:lnTo>
                      <a:lnTo>
                        <a:pt x="3240" y="846"/>
                      </a:lnTo>
                      <a:lnTo>
                        <a:pt x="3240" y="852"/>
                      </a:lnTo>
                      <a:lnTo>
                        <a:pt x="3228" y="870"/>
                      </a:lnTo>
                      <a:lnTo>
                        <a:pt x="3210" y="882"/>
                      </a:lnTo>
                      <a:lnTo>
                        <a:pt x="3198" y="888"/>
                      </a:lnTo>
                      <a:lnTo>
                        <a:pt x="3180" y="894"/>
                      </a:lnTo>
                      <a:lnTo>
                        <a:pt x="3168" y="900"/>
                      </a:lnTo>
                      <a:lnTo>
                        <a:pt x="3162" y="906"/>
                      </a:lnTo>
                      <a:lnTo>
                        <a:pt x="3138" y="918"/>
                      </a:lnTo>
                      <a:lnTo>
                        <a:pt x="3132" y="924"/>
                      </a:lnTo>
                      <a:lnTo>
                        <a:pt x="3120" y="918"/>
                      </a:lnTo>
                      <a:lnTo>
                        <a:pt x="3114" y="918"/>
                      </a:lnTo>
                      <a:lnTo>
                        <a:pt x="3102" y="912"/>
                      </a:lnTo>
                      <a:lnTo>
                        <a:pt x="3090" y="912"/>
                      </a:lnTo>
                      <a:lnTo>
                        <a:pt x="3072" y="930"/>
                      </a:lnTo>
                      <a:lnTo>
                        <a:pt x="3060" y="936"/>
                      </a:lnTo>
                      <a:lnTo>
                        <a:pt x="3054" y="948"/>
                      </a:lnTo>
                      <a:lnTo>
                        <a:pt x="3054" y="972"/>
                      </a:lnTo>
                      <a:lnTo>
                        <a:pt x="3048" y="978"/>
                      </a:lnTo>
                      <a:lnTo>
                        <a:pt x="3042" y="966"/>
                      </a:lnTo>
                      <a:lnTo>
                        <a:pt x="3030" y="966"/>
                      </a:lnTo>
                      <a:lnTo>
                        <a:pt x="3018" y="960"/>
                      </a:lnTo>
                      <a:lnTo>
                        <a:pt x="3012" y="960"/>
                      </a:lnTo>
                      <a:lnTo>
                        <a:pt x="3006" y="954"/>
                      </a:lnTo>
                      <a:lnTo>
                        <a:pt x="3030" y="930"/>
                      </a:lnTo>
                      <a:lnTo>
                        <a:pt x="3042" y="924"/>
                      </a:lnTo>
                      <a:lnTo>
                        <a:pt x="3060" y="906"/>
                      </a:lnTo>
                      <a:lnTo>
                        <a:pt x="3072" y="900"/>
                      </a:lnTo>
                      <a:lnTo>
                        <a:pt x="3036" y="900"/>
                      </a:lnTo>
                      <a:lnTo>
                        <a:pt x="3030" y="888"/>
                      </a:lnTo>
                      <a:lnTo>
                        <a:pt x="3018" y="882"/>
                      </a:lnTo>
                      <a:lnTo>
                        <a:pt x="2994" y="882"/>
                      </a:lnTo>
                      <a:lnTo>
                        <a:pt x="2988" y="888"/>
                      </a:lnTo>
                      <a:lnTo>
                        <a:pt x="2946" y="888"/>
                      </a:lnTo>
                      <a:lnTo>
                        <a:pt x="2946" y="894"/>
                      </a:lnTo>
                      <a:lnTo>
                        <a:pt x="2940" y="906"/>
                      </a:lnTo>
                      <a:lnTo>
                        <a:pt x="2940" y="918"/>
                      </a:lnTo>
                      <a:lnTo>
                        <a:pt x="2946" y="918"/>
                      </a:lnTo>
                      <a:lnTo>
                        <a:pt x="2952" y="924"/>
                      </a:lnTo>
                      <a:lnTo>
                        <a:pt x="2964" y="924"/>
                      </a:lnTo>
                      <a:lnTo>
                        <a:pt x="2976" y="936"/>
                      </a:lnTo>
                      <a:lnTo>
                        <a:pt x="2982" y="936"/>
                      </a:lnTo>
                      <a:lnTo>
                        <a:pt x="2976" y="942"/>
                      </a:lnTo>
                      <a:lnTo>
                        <a:pt x="2958" y="942"/>
                      </a:lnTo>
                      <a:lnTo>
                        <a:pt x="2952" y="936"/>
                      </a:lnTo>
                      <a:lnTo>
                        <a:pt x="2940" y="930"/>
                      </a:lnTo>
                      <a:lnTo>
                        <a:pt x="2934" y="924"/>
                      </a:lnTo>
                      <a:lnTo>
                        <a:pt x="2916" y="912"/>
                      </a:lnTo>
                      <a:lnTo>
                        <a:pt x="2910" y="942"/>
                      </a:lnTo>
                      <a:lnTo>
                        <a:pt x="2904" y="942"/>
                      </a:lnTo>
                      <a:lnTo>
                        <a:pt x="2898" y="948"/>
                      </a:lnTo>
                      <a:lnTo>
                        <a:pt x="2862" y="948"/>
                      </a:lnTo>
                      <a:lnTo>
                        <a:pt x="2844" y="942"/>
                      </a:lnTo>
                      <a:lnTo>
                        <a:pt x="2826" y="942"/>
                      </a:lnTo>
                      <a:lnTo>
                        <a:pt x="2808" y="936"/>
                      </a:lnTo>
                      <a:lnTo>
                        <a:pt x="2718" y="936"/>
                      </a:lnTo>
                      <a:lnTo>
                        <a:pt x="2706" y="930"/>
                      </a:lnTo>
                      <a:lnTo>
                        <a:pt x="2700" y="918"/>
                      </a:lnTo>
                      <a:lnTo>
                        <a:pt x="2688" y="912"/>
                      </a:lnTo>
                      <a:lnTo>
                        <a:pt x="2628" y="918"/>
                      </a:lnTo>
                      <a:lnTo>
                        <a:pt x="2622" y="912"/>
                      </a:lnTo>
                      <a:lnTo>
                        <a:pt x="2616" y="900"/>
                      </a:lnTo>
                      <a:lnTo>
                        <a:pt x="2604" y="894"/>
                      </a:lnTo>
                      <a:lnTo>
                        <a:pt x="2598" y="894"/>
                      </a:lnTo>
                      <a:lnTo>
                        <a:pt x="2586" y="888"/>
                      </a:lnTo>
                      <a:lnTo>
                        <a:pt x="2568" y="888"/>
                      </a:lnTo>
                      <a:lnTo>
                        <a:pt x="2556" y="894"/>
                      </a:lnTo>
                      <a:lnTo>
                        <a:pt x="2538" y="900"/>
                      </a:lnTo>
                      <a:lnTo>
                        <a:pt x="2532" y="906"/>
                      </a:lnTo>
                      <a:lnTo>
                        <a:pt x="2526" y="906"/>
                      </a:lnTo>
                      <a:lnTo>
                        <a:pt x="2526" y="912"/>
                      </a:lnTo>
                      <a:lnTo>
                        <a:pt x="2484" y="912"/>
                      </a:lnTo>
                      <a:lnTo>
                        <a:pt x="2472" y="906"/>
                      </a:lnTo>
                      <a:lnTo>
                        <a:pt x="2442" y="906"/>
                      </a:lnTo>
                      <a:lnTo>
                        <a:pt x="2430" y="918"/>
                      </a:lnTo>
                      <a:lnTo>
                        <a:pt x="2430" y="930"/>
                      </a:lnTo>
                      <a:lnTo>
                        <a:pt x="2418" y="954"/>
                      </a:lnTo>
                      <a:lnTo>
                        <a:pt x="2412" y="960"/>
                      </a:lnTo>
                      <a:lnTo>
                        <a:pt x="2412" y="966"/>
                      </a:lnTo>
                      <a:lnTo>
                        <a:pt x="2400" y="996"/>
                      </a:lnTo>
                      <a:lnTo>
                        <a:pt x="2364" y="996"/>
                      </a:lnTo>
                      <a:lnTo>
                        <a:pt x="2358" y="1026"/>
                      </a:lnTo>
                      <a:lnTo>
                        <a:pt x="2334" y="978"/>
                      </a:lnTo>
                      <a:lnTo>
                        <a:pt x="2340" y="978"/>
                      </a:lnTo>
                      <a:lnTo>
                        <a:pt x="2352" y="984"/>
                      </a:lnTo>
                      <a:lnTo>
                        <a:pt x="2376" y="984"/>
                      </a:lnTo>
                      <a:lnTo>
                        <a:pt x="2388" y="972"/>
                      </a:lnTo>
                      <a:lnTo>
                        <a:pt x="2358" y="942"/>
                      </a:lnTo>
                      <a:lnTo>
                        <a:pt x="2340" y="942"/>
                      </a:lnTo>
                      <a:lnTo>
                        <a:pt x="2328" y="936"/>
                      </a:lnTo>
                      <a:lnTo>
                        <a:pt x="2316" y="936"/>
                      </a:lnTo>
                      <a:lnTo>
                        <a:pt x="2322" y="918"/>
                      </a:lnTo>
                      <a:lnTo>
                        <a:pt x="2304" y="924"/>
                      </a:lnTo>
                      <a:lnTo>
                        <a:pt x="2262" y="930"/>
                      </a:lnTo>
                      <a:lnTo>
                        <a:pt x="2208" y="936"/>
                      </a:lnTo>
                      <a:lnTo>
                        <a:pt x="2160" y="942"/>
                      </a:lnTo>
                      <a:lnTo>
                        <a:pt x="2112" y="942"/>
                      </a:lnTo>
                      <a:lnTo>
                        <a:pt x="2064" y="936"/>
                      </a:lnTo>
                      <a:lnTo>
                        <a:pt x="2034" y="930"/>
                      </a:lnTo>
                      <a:lnTo>
                        <a:pt x="2028" y="924"/>
                      </a:lnTo>
                      <a:lnTo>
                        <a:pt x="2052" y="918"/>
                      </a:lnTo>
                      <a:lnTo>
                        <a:pt x="2082" y="918"/>
                      </a:lnTo>
                      <a:lnTo>
                        <a:pt x="2118" y="912"/>
                      </a:lnTo>
                      <a:lnTo>
                        <a:pt x="2142" y="900"/>
                      </a:lnTo>
                      <a:lnTo>
                        <a:pt x="2142" y="888"/>
                      </a:lnTo>
                      <a:lnTo>
                        <a:pt x="2112" y="864"/>
                      </a:lnTo>
                      <a:lnTo>
                        <a:pt x="2082" y="852"/>
                      </a:lnTo>
                      <a:lnTo>
                        <a:pt x="2004" y="852"/>
                      </a:lnTo>
                      <a:lnTo>
                        <a:pt x="1968" y="840"/>
                      </a:lnTo>
                      <a:lnTo>
                        <a:pt x="1944" y="834"/>
                      </a:lnTo>
                      <a:lnTo>
                        <a:pt x="1938" y="828"/>
                      </a:lnTo>
                      <a:lnTo>
                        <a:pt x="1908" y="828"/>
                      </a:lnTo>
                      <a:lnTo>
                        <a:pt x="1896" y="822"/>
                      </a:lnTo>
                      <a:lnTo>
                        <a:pt x="1866" y="804"/>
                      </a:lnTo>
                      <a:lnTo>
                        <a:pt x="1836" y="792"/>
                      </a:lnTo>
                      <a:lnTo>
                        <a:pt x="1812" y="786"/>
                      </a:lnTo>
                      <a:lnTo>
                        <a:pt x="1800" y="792"/>
                      </a:lnTo>
                      <a:lnTo>
                        <a:pt x="1782" y="798"/>
                      </a:lnTo>
                      <a:lnTo>
                        <a:pt x="1770" y="804"/>
                      </a:lnTo>
                      <a:lnTo>
                        <a:pt x="1758" y="816"/>
                      </a:lnTo>
                      <a:lnTo>
                        <a:pt x="1734" y="828"/>
                      </a:lnTo>
                      <a:lnTo>
                        <a:pt x="1680" y="828"/>
                      </a:lnTo>
                      <a:lnTo>
                        <a:pt x="1710" y="810"/>
                      </a:lnTo>
                      <a:lnTo>
                        <a:pt x="1710" y="798"/>
                      </a:lnTo>
                      <a:lnTo>
                        <a:pt x="1734" y="768"/>
                      </a:lnTo>
                      <a:lnTo>
                        <a:pt x="1728" y="768"/>
                      </a:lnTo>
                      <a:lnTo>
                        <a:pt x="1722" y="774"/>
                      </a:lnTo>
                      <a:lnTo>
                        <a:pt x="1674" y="798"/>
                      </a:lnTo>
                      <a:lnTo>
                        <a:pt x="1650" y="822"/>
                      </a:lnTo>
                      <a:lnTo>
                        <a:pt x="1638" y="828"/>
                      </a:lnTo>
                      <a:lnTo>
                        <a:pt x="1620" y="834"/>
                      </a:lnTo>
                      <a:lnTo>
                        <a:pt x="1608" y="828"/>
                      </a:lnTo>
                      <a:lnTo>
                        <a:pt x="1602" y="816"/>
                      </a:lnTo>
                      <a:lnTo>
                        <a:pt x="1602" y="798"/>
                      </a:lnTo>
                      <a:lnTo>
                        <a:pt x="1614" y="774"/>
                      </a:lnTo>
                      <a:lnTo>
                        <a:pt x="1614" y="762"/>
                      </a:lnTo>
                      <a:lnTo>
                        <a:pt x="1608" y="750"/>
                      </a:lnTo>
                      <a:lnTo>
                        <a:pt x="1596" y="744"/>
                      </a:lnTo>
                      <a:lnTo>
                        <a:pt x="1590" y="738"/>
                      </a:lnTo>
                      <a:lnTo>
                        <a:pt x="1578" y="738"/>
                      </a:lnTo>
                      <a:lnTo>
                        <a:pt x="1572" y="744"/>
                      </a:lnTo>
                      <a:lnTo>
                        <a:pt x="1572" y="750"/>
                      </a:lnTo>
                      <a:lnTo>
                        <a:pt x="1578" y="762"/>
                      </a:lnTo>
                      <a:lnTo>
                        <a:pt x="1584" y="768"/>
                      </a:lnTo>
                      <a:lnTo>
                        <a:pt x="1542" y="768"/>
                      </a:lnTo>
                      <a:lnTo>
                        <a:pt x="1530" y="774"/>
                      </a:lnTo>
                      <a:lnTo>
                        <a:pt x="1512" y="780"/>
                      </a:lnTo>
                      <a:lnTo>
                        <a:pt x="1494" y="798"/>
                      </a:lnTo>
                      <a:lnTo>
                        <a:pt x="1446" y="798"/>
                      </a:lnTo>
                      <a:lnTo>
                        <a:pt x="1428" y="804"/>
                      </a:lnTo>
                      <a:lnTo>
                        <a:pt x="1416" y="804"/>
                      </a:lnTo>
                      <a:lnTo>
                        <a:pt x="1398" y="810"/>
                      </a:lnTo>
                      <a:lnTo>
                        <a:pt x="1380" y="810"/>
                      </a:lnTo>
                      <a:lnTo>
                        <a:pt x="1374" y="816"/>
                      </a:lnTo>
                      <a:lnTo>
                        <a:pt x="1368" y="816"/>
                      </a:lnTo>
                      <a:lnTo>
                        <a:pt x="1356" y="822"/>
                      </a:lnTo>
                      <a:lnTo>
                        <a:pt x="1350" y="828"/>
                      </a:lnTo>
                      <a:lnTo>
                        <a:pt x="1338" y="834"/>
                      </a:lnTo>
                      <a:lnTo>
                        <a:pt x="1314" y="816"/>
                      </a:lnTo>
                      <a:lnTo>
                        <a:pt x="1302" y="822"/>
                      </a:lnTo>
                      <a:lnTo>
                        <a:pt x="1296" y="828"/>
                      </a:lnTo>
                      <a:lnTo>
                        <a:pt x="1272" y="840"/>
                      </a:lnTo>
                      <a:lnTo>
                        <a:pt x="1260" y="840"/>
                      </a:lnTo>
                      <a:lnTo>
                        <a:pt x="1254" y="846"/>
                      </a:lnTo>
                      <a:lnTo>
                        <a:pt x="1242" y="846"/>
                      </a:lnTo>
                      <a:lnTo>
                        <a:pt x="1230" y="852"/>
                      </a:lnTo>
                      <a:lnTo>
                        <a:pt x="1224" y="858"/>
                      </a:lnTo>
                      <a:lnTo>
                        <a:pt x="1212" y="864"/>
                      </a:lnTo>
                      <a:lnTo>
                        <a:pt x="1176" y="864"/>
                      </a:lnTo>
                      <a:lnTo>
                        <a:pt x="1188" y="858"/>
                      </a:lnTo>
                      <a:lnTo>
                        <a:pt x="1194" y="846"/>
                      </a:lnTo>
                      <a:lnTo>
                        <a:pt x="1212" y="840"/>
                      </a:lnTo>
                      <a:lnTo>
                        <a:pt x="1236" y="828"/>
                      </a:lnTo>
                      <a:lnTo>
                        <a:pt x="1254" y="828"/>
                      </a:lnTo>
                      <a:lnTo>
                        <a:pt x="1266" y="822"/>
                      </a:lnTo>
                      <a:lnTo>
                        <a:pt x="1284" y="816"/>
                      </a:lnTo>
                      <a:lnTo>
                        <a:pt x="1290" y="810"/>
                      </a:lnTo>
                      <a:lnTo>
                        <a:pt x="1362" y="810"/>
                      </a:lnTo>
                      <a:lnTo>
                        <a:pt x="1386" y="798"/>
                      </a:lnTo>
                      <a:lnTo>
                        <a:pt x="1422" y="792"/>
                      </a:lnTo>
                      <a:lnTo>
                        <a:pt x="1458" y="780"/>
                      </a:lnTo>
                      <a:lnTo>
                        <a:pt x="1470" y="780"/>
                      </a:lnTo>
                      <a:lnTo>
                        <a:pt x="1476" y="774"/>
                      </a:lnTo>
                      <a:lnTo>
                        <a:pt x="1482" y="774"/>
                      </a:lnTo>
                      <a:lnTo>
                        <a:pt x="1476" y="768"/>
                      </a:lnTo>
                      <a:lnTo>
                        <a:pt x="1410" y="768"/>
                      </a:lnTo>
                      <a:lnTo>
                        <a:pt x="1398" y="774"/>
                      </a:lnTo>
                      <a:lnTo>
                        <a:pt x="1392" y="774"/>
                      </a:lnTo>
                      <a:lnTo>
                        <a:pt x="1380" y="780"/>
                      </a:lnTo>
                      <a:lnTo>
                        <a:pt x="1374" y="786"/>
                      </a:lnTo>
                      <a:lnTo>
                        <a:pt x="1368" y="786"/>
                      </a:lnTo>
                      <a:lnTo>
                        <a:pt x="1362" y="792"/>
                      </a:lnTo>
                      <a:lnTo>
                        <a:pt x="1278" y="792"/>
                      </a:lnTo>
                      <a:lnTo>
                        <a:pt x="1254" y="804"/>
                      </a:lnTo>
                      <a:lnTo>
                        <a:pt x="1248" y="810"/>
                      </a:lnTo>
                      <a:lnTo>
                        <a:pt x="1236" y="816"/>
                      </a:lnTo>
                      <a:lnTo>
                        <a:pt x="1230" y="822"/>
                      </a:lnTo>
                      <a:lnTo>
                        <a:pt x="1212" y="822"/>
                      </a:lnTo>
                      <a:lnTo>
                        <a:pt x="1158" y="846"/>
                      </a:lnTo>
                      <a:lnTo>
                        <a:pt x="1140" y="846"/>
                      </a:lnTo>
                      <a:lnTo>
                        <a:pt x="1128" y="858"/>
                      </a:lnTo>
                      <a:lnTo>
                        <a:pt x="1122" y="870"/>
                      </a:lnTo>
                      <a:lnTo>
                        <a:pt x="1122" y="876"/>
                      </a:lnTo>
                      <a:lnTo>
                        <a:pt x="1116" y="876"/>
                      </a:lnTo>
                      <a:lnTo>
                        <a:pt x="1110" y="870"/>
                      </a:lnTo>
                      <a:lnTo>
                        <a:pt x="1110" y="846"/>
                      </a:lnTo>
                      <a:lnTo>
                        <a:pt x="1116" y="846"/>
                      </a:lnTo>
                      <a:lnTo>
                        <a:pt x="1152" y="834"/>
                      </a:lnTo>
                      <a:lnTo>
                        <a:pt x="1176" y="822"/>
                      </a:lnTo>
                      <a:lnTo>
                        <a:pt x="1194" y="816"/>
                      </a:lnTo>
                      <a:lnTo>
                        <a:pt x="1188" y="810"/>
                      </a:lnTo>
                      <a:lnTo>
                        <a:pt x="1176" y="810"/>
                      </a:lnTo>
                      <a:lnTo>
                        <a:pt x="1164" y="804"/>
                      </a:lnTo>
                      <a:lnTo>
                        <a:pt x="1140" y="804"/>
                      </a:lnTo>
                      <a:lnTo>
                        <a:pt x="1122" y="822"/>
                      </a:lnTo>
                      <a:lnTo>
                        <a:pt x="1110" y="828"/>
                      </a:lnTo>
                      <a:lnTo>
                        <a:pt x="1092" y="828"/>
                      </a:lnTo>
                      <a:lnTo>
                        <a:pt x="1080" y="834"/>
                      </a:lnTo>
                      <a:lnTo>
                        <a:pt x="1068" y="834"/>
                      </a:lnTo>
                      <a:lnTo>
                        <a:pt x="1068" y="840"/>
                      </a:lnTo>
                      <a:lnTo>
                        <a:pt x="1062" y="846"/>
                      </a:lnTo>
                      <a:lnTo>
                        <a:pt x="1062" y="876"/>
                      </a:lnTo>
                      <a:lnTo>
                        <a:pt x="1038" y="858"/>
                      </a:lnTo>
                      <a:lnTo>
                        <a:pt x="972" y="852"/>
                      </a:lnTo>
                      <a:lnTo>
                        <a:pt x="960" y="846"/>
                      </a:lnTo>
                      <a:lnTo>
                        <a:pt x="948" y="834"/>
                      </a:lnTo>
                      <a:lnTo>
                        <a:pt x="936" y="834"/>
                      </a:lnTo>
                      <a:lnTo>
                        <a:pt x="936" y="828"/>
                      </a:lnTo>
                      <a:lnTo>
                        <a:pt x="942" y="822"/>
                      </a:lnTo>
                      <a:lnTo>
                        <a:pt x="942" y="810"/>
                      </a:lnTo>
                      <a:lnTo>
                        <a:pt x="948" y="804"/>
                      </a:lnTo>
                      <a:lnTo>
                        <a:pt x="834" y="804"/>
                      </a:lnTo>
                      <a:lnTo>
                        <a:pt x="852" y="804"/>
                      </a:lnTo>
                      <a:lnTo>
                        <a:pt x="78" y="1440"/>
                      </a:lnTo>
                      <a:lnTo>
                        <a:pt x="72" y="1446"/>
                      </a:lnTo>
                      <a:lnTo>
                        <a:pt x="60" y="1452"/>
                      </a:lnTo>
                      <a:lnTo>
                        <a:pt x="54" y="1464"/>
                      </a:lnTo>
                      <a:lnTo>
                        <a:pt x="54" y="1476"/>
                      </a:lnTo>
                      <a:lnTo>
                        <a:pt x="108" y="1476"/>
                      </a:lnTo>
                      <a:lnTo>
                        <a:pt x="120" y="1464"/>
                      </a:lnTo>
                      <a:lnTo>
                        <a:pt x="156" y="1464"/>
                      </a:lnTo>
                      <a:lnTo>
                        <a:pt x="132" y="1488"/>
                      </a:lnTo>
                      <a:lnTo>
                        <a:pt x="132" y="1494"/>
                      </a:lnTo>
                      <a:lnTo>
                        <a:pt x="138" y="1506"/>
                      </a:lnTo>
                      <a:lnTo>
                        <a:pt x="138" y="1524"/>
                      </a:lnTo>
                      <a:lnTo>
                        <a:pt x="144" y="1530"/>
                      </a:lnTo>
                      <a:lnTo>
                        <a:pt x="156" y="1536"/>
                      </a:lnTo>
                      <a:lnTo>
                        <a:pt x="162" y="1542"/>
                      </a:lnTo>
                      <a:lnTo>
                        <a:pt x="144" y="1560"/>
                      </a:lnTo>
                      <a:lnTo>
                        <a:pt x="144" y="1572"/>
                      </a:lnTo>
                      <a:lnTo>
                        <a:pt x="150" y="1572"/>
                      </a:lnTo>
                      <a:lnTo>
                        <a:pt x="156" y="1566"/>
                      </a:lnTo>
                      <a:lnTo>
                        <a:pt x="168" y="1560"/>
                      </a:lnTo>
                      <a:lnTo>
                        <a:pt x="174" y="1554"/>
                      </a:lnTo>
                      <a:lnTo>
                        <a:pt x="180" y="1554"/>
                      </a:lnTo>
                      <a:lnTo>
                        <a:pt x="186" y="1548"/>
                      </a:lnTo>
                      <a:lnTo>
                        <a:pt x="198" y="1548"/>
                      </a:lnTo>
                      <a:lnTo>
                        <a:pt x="210" y="1542"/>
                      </a:lnTo>
                      <a:lnTo>
                        <a:pt x="222" y="1542"/>
                      </a:lnTo>
                      <a:lnTo>
                        <a:pt x="234" y="1536"/>
                      </a:lnTo>
                      <a:lnTo>
                        <a:pt x="240" y="1530"/>
                      </a:lnTo>
                      <a:lnTo>
                        <a:pt x="258" y="1530"/>
                      </a:lnTo>
                      <a:lnTo>
                        <a:pt x="258" y="1518"/>
                      </a:lnTo>
                      <a:lnTo>
                        <a:pt x="264" y="1518"/>
                      </a:lnTo>
                      <a:lnTo>
                        <a:pt x="270" y="1512"/>
                      </a:lnTo>
                      <a:lnTo>
                        <a:pt x="282" y="1512"/>
                      </a:lnTo>
                      <a:lnTo>
                        <a:pt x="300" y="1506"/>
                      </a:lnTo>
                      <a:lnTo>
                        <a:pt x="312" y="1506"/>
                      </a:lnTo>
                      <a:lnTo>
                        <a:pt x="330" y="1512"/>
                      </a:lnTo>
                      <a:lnTo>
                        <a:pt x="336" y="1518"/>
                      </a:lnTo>
                      <a:lnTo>
                        <a:pt x="330" y="1524"/>
                      </a:lnTo>
                      <a:lnTo>
                        <a:pt x="324" y="1524"/>
                      </a:lnTo>
                      <a:lnTo>
                        <a:pt x="318" y="1530"/>
                      </a:lnTo>
                      <a:lnTo>
                        <a:pt x="318" y="1560"/>
                      </a:lnTo>
                      <a:lnTo>
                        <a:pt x="306" y="1572"/>
                      </a:lnTo>
                      <a:lnTo>
                        <a:pt x="324" y="1590"/>
                      </a:lnTo>
                      <a:lnTo>
                        <a:pt x="330" y="1602"/>
                      </a:lnTo>
                      <a:lnTo>
                        <a:pt x="330" y="1620"/>
                      </a:lnTo>
                      <a:lnTo>
                        <a:pt x="312" y="1656"/>
                      </a:lnTo>
                      <a:lnTo>
                        <a:pt x="312" y="1698"/>
                      </a:lnTo>
                      <a:lnTo>
                        <a:pt x="306" y="1704"/>
                      </a:lnTo>
                      <a:lnTo>
                        <a:pt x="300" y="1716"/>
                      </a:lnTo>
                      <a:lnTo>
                        <a:pt x="300" y="1728"/>
                      </a:lnTo>
                      <a:lnTo>
                        <a:pt x="294" y="1740"/>
                      </a:lnTo>
                      <a:lnTo>
                        <a:pt x="294" y="1746"/>
                      </a:lnTo>
                      <a:lnTo>
                        <a:pt x="300" y="1752"/>
                      </a:lnTo>
                      <a:lnTo>
                        <a:pt x="312" y="1758"/>
                      </a:lnTo>
                      <a:lnTo>
                        <a:pt x="318" y="1764"/>
                      </a:lnTo>
                      <a:lnTo>
                        <a:pt x="324" y="1764"/>
                      </a:lnTo>
                      <a:lnTo>
                        <a:pt x="330" y="1770"/>
                      </a:lnTo>
                      <a:lnTo>
                        <a:pt x="330" y="1776"/>
                      </a:lnTo>
                      <a:lnTo>
                        <a:pt x="348" y="1776"/>
                      </a:lnTo>
                      <a:lnTo>
                        <a:pt x="354" y="1782"/>
                      </a:lnTo>
                      <a:lnTo>
                        <a:pt x="354" y="1794"/>
                      </a:lnTo>
                      <a:lnTo>
                        <a:pt x="342" y="1800"/>
                      </a:lnTo>
                      <a:lnTo>
                        <a:pt x="330" y="1812"/>
                      </a:lnTo>
                      <a:lnTo>
                        <a:pt x="318" y="1818"/>
                      </a:lnTo>
                      <a:lnTo>
                        <a:pt x="318" y="1830"/>
                      </a:lnTo>
                      <a:lnTo>
                        <a:pt x="312" y="1842"/>
                      </a:lnTo>
                      <a:lnTo>
                        <a:pt x="294" y="1860"/>
                      </a:lnTo>
                      <a:lnTo>
                        <a:pt x="282" y="1866"/>
                      </a:lnTo>
                      <a:lnTo>
                        <a:pt x="270" y="1878"/>
                      </a:lnTo>
                      <a:lnTo>
                        <a:pt x="252" y="1884"/>
                      </a:lnTo>
                      <a:lnTo>
                        <a:pt x="234" y="1896"/>
                      </a:lnTo>
                      <a:lnTo>
                        <a:pt x="228" y="1902"/>
                      </a:lnTo>
                      <a:lnTo>
                        <a:pt x="222" y="1914"/>
                      </a:lnTo>
                      <a:lnTo>
                        <a:pt x="222" y="1926"/>
                      </a:lnTo>
                      <a:lnTo>
                        <a:pt x="216" y="1932"/>
                      </a:lnTo>
                      <a:lnTo>
                        <a:pt x="216" y="1944"/>
                      </a:lnTo>
                      <a:lnTo>
                        <a:pt x="204" y="1956"/>
                      </a:lnTo>
                      <a:lnTo>
                        <a:pt x="210" y="1962"/>
                      </a:lnTo>
                      <a:lnTo>
                        <a:pt x="216" y="1962"/>
                      </a:lnTo>
                      <a:lnTo>
                        <a:pt x="216" y="1974"/>
                      </a:lnTo>
                      <a:lnTo>
                        <a:pt x="228" y="1986"/>
                      </a:lnTo>
                      <a:lnTo>
                        <a:pt x="240" y="1980"/>
                      </a:lnTo>
                      <a:lnTo>
                        <a:pt x="246" y="1968"/>
                      </a:lnTo>
                      <a:lnTo>
                        <a:pt x="258" y="1962"/>
                      </a:lnTo>
                      <a:lnTo>
                        <a:pt x="276" y="1956"/>
                      </a:lnTo>
                      <a:lnTo>
                        <a:pt x="294" y="1938"/>
                      </a:lnTo>
                      <a:lnTo>
                        <a:pt x="306" y="1938"/>
                      </a:lnTo>
                      <a:lnTo>
                        <a:pt x="306" y="1944"/>
                      </a:lnTo>
                      <a:lnTo>
                        <a:pt x="300" y="1950"/>
                      </a:lnTo>
                      <a:lnTo>
                        <a:pt x="288" y="1956"/>
                      </a:lnTo>
                      <a:lnTo>
                        <a:pt x="282" y="1956"/>
                      </a:lnTo>
                      <a:lnTo>
                        <a:pt x="276" y="1962"/>
                      </a:lnTo>
                      <a:lnTo>
                        <a:pt x="276" y="1974"/>
                      </a:lnTo>
                      <a:lnTo>
                        <a:pt x="282" y="1986"/>
                      </a:lnTo>
                      <a:lnTo>
                        <a:pt x="294" y="1998"/>
                      </a:lnTo>
                      <a:lnTo>
                        <a:pt x="252" y="1992"/>
                      </a:lnTo>
                      <a:lnTo>
                        <a:pt x="246" y="1998"/>
                      </a:lnTo>
                      <a:lnTo>
                        <a:pt x="240" y="2010"/>
                      </a:lnTo>
                      <a:lnTo>
                        <a:pt x="234" y="2016"/>
                      </a:lnTo>
                      <a:lnTo>
                        <a:pt x="228" y="2028"/>
                      </a:lnTo>
                      <a:lnTo>
                        <a:pt x="228" y="2034"/>
                      </a:lnTo>
                      <a:lnTo>
                        <a:pt x="234" y="2034"/>
                      </a:lnTo>
                      <a:lnTo>
                        <a:pt x="240" y="2040"/>
                      </a:lnTo>
                      <a:lnTo>
                        <a:pt x="252" y="2040"/>
                      </a:lnTo>
                      <a:lnTo>
                        <a:pt x="258" y="2046"/>
                      </a:lnTo>
                      <a:lnTo>
                        <a:pt x="252" y="2052"/>
                      </a:lnTo>
                      <a:lnTo>
                        <a:pt x="252" y="2058"/>
                      </a:lnTo>
                      <a:lnTo>
                        <a:pt x="246" y="2070"/>
                      </a:lnTo>
                      <a:lnTo>
                        <a:pt x="246" y="2076"/>
                      </a:lnTo>
                      <a:lnTo>
                        <a:pt x="252" y="2070"/>
                      </a:lnTo>
                      <a:lnTo>
                        <a:pt x="288" y="2052"/>
                      </a:lnTo>
                      <a:lnTo>
                        <a:pt x="306" y="2034"/>
                      </a:lnTo>
                      <a:lnTo>
                        <a:pt x="318" y="2028"/>
                      </a:lnTo>
                      <a:lnTo>
                        <a:pt x="318" y="2040"/>
                      </a:lnTo>
                      <a:lnTo>
                        <a:pt x="288" y="2058"/>
                      </a:lnTo>
                      <a:lnTo>
                        <a:pt x="312" y="2064"/>
                      </a:lnTo>
                      <a:lnTo>
                        <a:pt x="312" y="2076"/>
                      </a:lnTo>
                      <a:lnTo>
                        <a:pt x="294" y="2094"/>
                      </a:lnTo>
                      <a:lnTo>
                        <a:pt x="276" y="2076"/>
                      </a:lnTo>
                      <a:lnTo>
                        <a:pt x="270" y="2076"/>
                      </a:lnTo>
                      <a:lnTo>
                        <a:pt x="264" y="2082"/>
                      </a:lnTo>
                      <a:lnTo>
                        <a:pt x="240" y="2094"/>
                      </a:lnTo>
                      <a:lnTo>
                        <a:pt x="228" y="2094"/>
                      </a:lnTo>
                      <a:lnTo>
                        <a:pt x="216" y="2106"/>
                      </a:lnTo>
                      <a:lnTo>
                        <a:pt x="210" y="2118"/>
                      </a:lnTo>
                      <a:lnTo>
                        <a:pt x="204" y="2124"/>
                      </a:lnTo>
                      <a:lnTo>
                        <a:pt x="210" y="2118"/>
                      </a:lnTo>
                      <a:lnTo>
                        <a:pt x="222" y="2118"/>
                      </a:lnTo>
                      <a:lnTo>
                        <a:pt x="228" y="2112"/>
                      </a:lnTo>
                      <a:lnTo>
                        <a:pt x="276" y="2112"/>
                      </a:lnTo>
                      <a:lnTo>
                        <a:pt x="270" y="2112"/>
                      </a:lnTo>
                      <a:lnTo>
                        <a:pt x="264" y="2118"/>
                      </a:lnTo>
                      <a:lnTo>
                        <a:pt x="252" y="2118"/>
                      </a:lnTo>
                      <a:lnTo>
                        <a:pt x="240" y="2124"/>
                      </a:lnTo>
                      <a:lnTo>
                        <a:pt x="228" y="2124"/>
                      </a:lnTo>
                      <a:lnTo>
                        <a:pt x="216" y="2130"/>
                      </a:lnTo>
                      <a:lnTo>
                        <a:pt x="210" y="2130"/>
                      </a:lnTo>
                      <a:lnTo>
                        <a:pt x="210" y="2148"/>
                      </a:lnTo>
                      <a:lnTo>
                        <a:pt x="204" y="2148"/>
                      </a:lnTo>
                      <a:lnTo>
                        <a:pt x="198" y="2142"/>
                      </a:lnTo>
                      <a:lnTo>
                        <a:pt x="174" y="2142"/>
                      </a:lnTo>
                      <a:lnTo>
                        <a:pt x="174" y="2154"/>
                      </a:lnTo>
                      <a:lnTo>
                        <a:pt x="180" y="2166"/>
                      </a:lnTo>
                      <a:lnTo>
                        <a:pt x="192" y="2172"/>
                      </a:lnTo>
                      <a:lnTo>
                        <a:pt x="198" y="2178"/>
                      </a:lnTo>
                      <a:lnTo>
                        <a:pt x="246" y="2160"/>
                      </a:lnTo>
                      <a:lnTo>
                        <a:pt x="264" y="2184"/>
                      </a:lnTo>
                      <a:lnTo>
                        <a:pt x="300" y="2166"/>
                      </a:lnTo>
                      <a:lnTo>
                        <a:pt x="294" y="2172"/>
                      </a:lnTo>
                      <a:lnTo>
                        <a:pt x="288" y="2184"/>
                      </a:lnTo>
                      <a:lnTo>
                        <a:pt x="276" y="2190"/>
                      </a:lnTo>
                      <a:lnTo>
                        <a:pt x="270" y="2196"/>
                      </a:lnTo>
                      <a:lnTo>
                        <a:pt x="264" y="2208"/>
                      </a:lnTo>
                      <a:lnTo>
                        <a:pt x="264" y="2214"/>
                      </a:lnTo>
                      <a:lnTo>
                        <a:pt x="276" y="2214"/>
                      </a:lnTo>
                      <a:lnTo>
                        <a:pt x="282" y="2208"/>
                      </a:lnTo>
                      <a:lnTo>
                        <a:pt x="300" y="2202"/>
                      </a:lnTo>
                      <a:lnTo>
                        <a:pt x="318" y="2184"/>
                      </a:lnTo>
                      <a:lnTo>
                        <a:pt x="330" y="2178"/>
                      </a:lnTo>
                      <a:lnTo>
                        <a:pt x="306" y="2202"/>
                      </a:lnTo>
                      <a:lnTo>
                        <a:pt x="300" y="2214"/>
                      </a:lnTo>
                      <a:lnTo>
                        <a:pt x="294" y="2220"/>
                      </a:lnTo>
                      <a:lnTo>
                        <a:pt x="300" y="2220"/>
                      </a:lnTo>
                      <a:lnTo>
                        <a:pt x="312" y="2214"/>
                      </a:lnTo>
                      <a:lnTo>
                        <a:pt x="324" y="2214"/>
                      </a:lnTo>
                      <a:lnTo>
                        <a:pt x="318" y="2220"/>
                      </a:lnTo>
                      <a:lnTo>
                        <a:pt x="306" y="2226"/>
                      </a:lnTo>
                      <a:lnTo>
                        <a:pt x="300" y="2238"/>
                      </a:lnTo>
                      <a:lnTo>
                        <a:pt x="282" y="2256"/>
                      </a:lnTo>
                      <a:lnTo>
                        <a:pt x="288" y="2262"/>
                      </a:lnTo>
                      <a:lnTo>
                        <a:pt x="294" y="2262"/>
                      </a:lnTo>
                      <a:lnTo>
                        <a:pt x="342" y="2238"/>
                      </a:lnTo>
                      <a:lnTo>
                        <a:pt x="348" y="2232"/>
                      </a:lnTo>
                      <a:lnTo>
                        <a:pt x="324" y="2256"/>
                      </a:lnTo>
                      <a:lnTo>
                        <a:pt x="318" y="2268"/>
                      </a:lnTo>
                      <a:lnTo>
                        <a:pt x="318" y="2274"/>
                      </a:lnTo>
                      <a:lnTo>
                        <a:pt x="330" y="2280"/>
                      </a:lnTo>
                      <a:lnTo>
                        <a:pt x="342" y="2280"/>
                      </a:lnTo>
                      <a:lnTo>
                        <a:pt x="354" y="2292"/>
                      </a:lnTo>
                      <a:lnTo>
                        <a:pt x="354" y="2298"/>
                      </a:lnTo>
                      <a:lnTo>
                        <a:pt x="348" y="2304"/>
                      </a:lnTo>
                      <a:lnTo>
                        <a:pt x="348" y="2340"/>
                      </a:lnTo>
                      <a:lnTo>
                        <a:pt x="2058" y="2340"/>
                      </a:lnTo>
                      <a:lnTo>
                        <a:pt x="2064" y="2328"/>
                      </a:lnTo>
                      <a:lnTo>
                        <a:pt x="2064" y="2322"/>
                      </a:lnTo>
                      <a:lnTo>
                        <a:pt x="2070" y="2310"/>
                      </a:lnTo>
                      <a:lnTo>
                        <a:pt x="2076" y="2304"/>
                      </a:lnTo>
                      <a:lnTo>
                        <a:pt x="2088" y="2298"/>
                      </a:lnTo>
                      <a:lnTo>
                        <a:pt x="2100" y="2310"/>
                      </a:lnTo>
                      <a:lnTo>
                        <a:pt x="2088" y="2322"/>
                      </a:lnTo>
                      <a:lnTo>
                        <a:pt x="2082" y="2334"/>
                      </a:lnTo>
                      <a:lnTo>
                        <a:pt x="2082" y="2346"/>
                      </a:lnTo>
                      <a:lnTo>
                        <a:pt x="2094" y="2352"/>
                      </a:lnTo>
                      <a:lnTo>
                        <a:pt x="2112" y="2358"/>
                      </a:lnTo>
                      <a:lnTo>
                        <a:pt x="2124" y="2358"/>
                      </a:lnTo>
                      <a:lnTo>
                        <a:pt x="2142" y="2376"/>
                      </a:lnTo>
                      <a:lnTo>
                        <a:pt x="2154" y="2376"/>
                      </a:lnTo>
                      <a:lnTo>
                        <a:pt x="2154" y="2370"/>
                      </a:lnTo>
                      <a:lnTo>
                        <a:pt x="2166" y="2358"/>
                      </a:lnTo>
                      <a:lnTo>
                        <a:pt x="2178" y="2358"/>
                      </a:lnTo>
                      <a:lnTo>
                        <a:pt x="2190" y="2364"/>
                      </a:lnTo>
                      <a:lnTo>
                        <a:pt x="2202" y="2376"/>
                      </a:lnTo>
                      <a:lnTo>
                        <a:pt x="2202" y="2382"/>
                      </a:lnTo>
                      <a:lnTo>
                        <a:pt x="2208" y="2388"/>
                      </a:lnTo>
                      <a:lnTo>
                        <a:pt x="2238" y="2388"/>
                      </a:lnTo>
                      <a:lnTo>
                        <a:pt x="2256" y="2406"/>
                      </a:lnTo>
                      <a:lnTo>
                        <a:pt x="2268" y="2406"/>
                      </a:lnTo>
                      <a:lnTo>
                        <a:pt x="2280" y="2394"/>
                      </a:lnTo>
                      <a:lnTo>
                        <a:pt x="2292" y="2388"/>
                      </a:lnTo>
                      <a:lnTo>
                        <a:pt x="2298" y="2382"/>
                      </a:lnTo>
                      <a:lnTo>
                        <a:pt x="2298" y="2400"/>
                      </a:lnTo>
                      <a:lnTo>
                        <a:pt x="2346" y="2394"/>
                      </a:lnTo>
                      <a:lnTo>
                        <a:pt x="2346" y="2400"/>
                      </a:lnTo>
                      <a:lnTo>
                        <a:pt x="2352" y="2400"/>
                      </a:lnTo>
                      <a:lnTo>
                        <a:pt x="2364" y="2406"/>
                      </a:lnTo>
                      <a:lnTo>
                        <a:pt x="2382" y="2406"/>
                      </a:lnTo>
                      <a:lnTo>
                        <a:pt x="2394" y="2394"/>
                      </a:lnTo>
                      <a:lnTo>
                        <a:pt x="2406" y="2388"/>
                      </a:lnTo>
                      <a:lnTo>
                        <a:pt x="2412" y="2376"/>
                      </a:lnTo>
                      <a:lnTo>
                        <a:pt x="2412" y="2370"/>
                      </a:lnTo>
                      <a:lnTo>
                        <a:pt x="2430" y="2370"/>
                      </a:lnTo>
                      <a:lnTo>
                        <a:pt x="2436" y="2376"/>
                      </a:lnTo>
                      <a:lnTo>
                        <a:pt x="2442" y="2376"/>
                      </a:lnTo>
                      <a:lnTo>
                        <a:pt x="2454" y="2364"/>
                      </a:lnTo>
                      <a:lnTo>
                        <a:pt x="2460" y="2352"/>
                      </a:lnTo>
                      <a:lnTo>
                        <a:pt x="2466" y="2346"/>
                      </a:lnTo>
                      <a:lnTo>
                        <a:pt x="2472" y="2346"/>
                      </a:lnTo>
                      <a:lnTo>
                        <a:pt x="2472" y="2352"/>
                      </a:lnTo>
                      <a:lnTo>
                        <a:pt x="2478" y="2358"/>
                      </a:lnTo>
                      <a:lnTo>
                        <a:pt x="2502" y="2352"/>
                      </a:lnTo>
                      <a:lnTo>
                        <a:pt x="2496" y="2346"/>
                      </a:lnTo>
                      <a:lnTo>
                        <a:pt x="2496" y="2334"/>
                      </a:lnTo>
                      <a:lnTo>
                        <a:pt x="2502" y="2328"/>
                      </a:lnTo>
                      <a:lnTo>
                        <a:pt x="2514" y="2322"/>
                      </a:lnTo>
                      <a:lnTo>
                        <a:pt x="2532" y="2340"/>
                      </a:lnTo>
                      <a:lnTo>
                        <a:pt x="2556" y="2340"/>
                      </a:lnTo>
                      <a:lnTo>
                        <a:pt x="2562" y="2346"/>
                      </a:lnTo>
                      <a:lnTo>
                        <a:pt x="2580" y="2346"/>
                      </a:lnTo>
                      <a:lnTo>
                        <a:pt x="2604" y="2358"/>
                      </a:lnTo>
                      <a:lnTo>
                        <a:pt x="2604" y="2370"/>
                      </a:lnTo>
                      <a:lnTo>
                        <a:pt x="2598" y="2382"/>
                      </a:lnTo>
                      <a:lnTo>
                        <a:pt x="2598" y="2388"/>
                      </a:lnTo>
                      <a:lnTo>
                        <a:pt x="2592" y="2400"/>
                      </a:lnTo>
                      <a:lnTo>
                        <a:pt x="2604" y="2412"/>
                      </a:lnTo>
                      <a:lnTo>
                        <a:pt x="2592" y="2436"/>
                      </a:lnTo>
                      <a:lnTo>
                        <a:pt x="2598" y="2436"/>
                      </a:lnTo>
                      <a:lnTo>
                        <a:pt x="2604" y="2430"/>
                      </a:lnTo>
                      <a:lnTo>
                        <a:pt x="2616" y="2424"/>
                      </a:lnTo>
                      <a:lnTo>
                        <a:pt x="2634" y="2418"/>
                      </a:lnTo>
                      <a:lnTo>
                        <a:pt x="2646" y="2412"/>
                      </a:lnTo>
                      <a:lnTo>
                        <a:pt x="2670" y="2412"/>
                      </a:lnTo>
                      <a:lnTo>
                        <a:pt x="2670" y="2424"/>
                      </a:lnTo>
                      <a:lnTo>
                        <a:pt x="2658" y="2430"/>
                      </a:lnTo>
                      <a:lnTo>
                        <a:pt x="2652" y="2436"/>
                      </a:lnTo>
                      <a:lnTo>
                        <a:pt x="2646" y="2436"/>
                      </a:lnTo>
                      <a:lnTo>
                        <a:pt x="2640" y="2442"/>
                      </a:lnTo>
                      <a:lnTo>
                        <a:pt x="2646" y="2448"/>
                      </a:lnTo>
                      <a:lnTo>
                        <a:pt x="2652" y="2448"/>
                      </a:lnTo>
                      <a:lnTo>
                        <a:pt x="2664" y="2460"/>
                      </a:lnTo>
                      <a:lnTo>
                        <a:pt x="2640" y="2484"/>
                      </a:lnTo>
                      <a:lnTo>
                        <a:pt x="2640" y="2490"/>
                      </a:lnTo>
                      <a:lnTo>
                        <a:pt x="2652" y="2490"/>
                      </a:lnTo>
                      <a:lnTo>
                        <a:pt x="2652" y="2502"/>
                      </a:lnTo>
                      <a:lnTo>
                        <a:pt x="2640" y="2514"/>
                      </a:lnTo>
                      <a:lnTo>
                        <a:pt x="2640" y="2526"/>
                      </a:lnTo>
                      <a:lnTo>
                        <a:pt x="2658" y="2526"/>
                      </a:lnTo>
                      <a:lnTo>
                        <a:pt x="2652" y="2544"/>
                      </a:lnTo>
                      <a:lnTo>
                        <a:pt x="2658" y="2544"/>
                      </a:lnTo>
                      <a:lnTo>
                        <a:pt x="2670" y="2550"/>
                      </a:lnTo>
                      <a:lnTo>
                        <a:pt x="2754" y="2550"/>
                      </a:lnTo>
                      <a:lnTo>
                        <a:pt x="2766" y="2556"/>
                      </a:lnTo>
                      <a:lnTo>
                        <a:pt x="2784" y="2568"/>
                      </a:lnTo>
                      <a:lnTo>
                        <a:pt x="2838" y="2568"/>
                      </a:lnTo>
                      <a:lnTo>
                        <a:pt x="2850" y="2574"/>
                      </a:lnTo>
                      <a:lnTo>
                        <a:pt x="2856" y="2580"/>
                      </a:lnTo>
                      <a:lnTo>
                        <a:pt x="2856" y="2610"/>
                      </a:lnTo>
                      <a:lnTo>
                        <a:pt x="2874" y="2610"/>
                      </a:lnTo>
                      <a:lnTo>
                        <a:pt x="2874" y="2628"/>
                      </a:lnTo>
                      <a:lnTo>
                        <a:pt x="2862" y="2640"/>
                      </a:lnTo>
                      <a:lnTo>
                        <a:pt x="2862" y="2652"/>
                      </a:lnTo>
                      <a:lnTo>
                        <a:pt x="2874" y="2664"/>
                      </a:lnTo>
                      <a:lnTo>
                        <a:pt x="2880" y="2664"/>
                      </a:lnTo>
                      <a:lnTo>
                        <a:pt x="2856" y="2658"/>
                      </a:lnTo>
                      <a:lnTo>
                        <a:pt x="2856" y="2670"/>
                      </a:lnTo>
                      <a:lnTo>
                        <a:pt x="2850" y="2676"/>
                      </a:lnTo>
                      <a:lnTo>
                        <a:pt x="2844" y="2688"/>
                      </a:lnTo>
                      <a:lnTo>
                        <a:pt x="2838" y="2694"/>
                      </a:lnTo>
                      <a:lnTo>
                        <a:pt x="2832" y="2688"/>
                      </a:lnTo>
                      <a:lnTo>
                        <a:pt x="2820" y="2682"/>
                      </a:lnTo>
                      <a:lnTo>
                        <a:pt x="2802" y="2670"/>
                      </a:lnTo>
                      <a:lnTo>
                        <a:pt x="2790" y="2664"/>
                      </a:lnTo>
                      <a:lnTo>
                        <a:pt x="2784" y="2652"/>
                      </a:lnTo>
                      <a:lnTo>
                        <a:pt x="2784" y="2628"/>
                      </a:lnTo>
                      <a:lnTo>
                        <a:pt x="2766" y="2622"/>
                      </a:lnTo>
                      <a:lnTo>
                        <a:pt x="2772" y="2640"/>
                      </a:lnTo>
                      <a:lnTo>
                        <a:pt x="2772" y="2646"/>
                      </a:lnTo>
                      <a:lnTo>
                        <a:pt x="2778" y="2652"/>
                      </a:lnTo>
                      <a:lnTo>
                        <a:pt x="2778" y="2664"/>
                      </a:lnTo>
                      <a:lnTo>
                        <a:pt x="2772" y="2676"/>
                      </a:lnTo>
                      <a:lnTo>
                        <a:pt x="2760" y="2688"/>
                      </a:lnTo>
                      <a:lnTo>
                        <a:pt x="2754" y="2700"/>
                      </a:lnTo>
                      <a:lnTo>
                        <a:pt x="2736" y="2706"/>
                      </a:lnTo>
                      <a:lnTo>
                        <a:pt x="2718" y="2724"/>
                      </a:lnTo>
                      <a:lnTo>
                        <a:pt x="2712" y="2742"/>
                      </a:lnTo>
                      <a:lnTo>
                        <a:pt x="2700" y="2760"/>
                      </a:lnTo>
                      <a:lnTo>
                        <a:pt x="2694" y="2778"/>
                      </a:lnTo>
                      <a:lnTo>
                        <a:pt x="2688" y="2784"/>
                      </a:lnTo>
                      <a:lnTo>
                        <a:pt x="2664" y="2796"/>
                      </a:lnTo>
                      <a:lnTo>
                        <a:pt x="2652" y="2796"/>
                      </a:lnTo>
                      <a:lnTo>
                        <a:pt x="2646" y="2790"/>
                      </a:lnTo>
                      <a:lnTo>
                        <a:pt x="2640" y="2802"/>
                      </a:lnTo>
                      <a:lnTo>
                        <a:pt x="2634" y="2808"/>
                      </a:lnTo>
                      <a:lnTo>
                        <a:pt x="2634" y="2832"/>
                      </a:lnTo>
                      <a:lnTo>
                        <a:pt x="2628" y="2838"/>
                      </a:lnTo>
                      <a:lnTo>
                        <a:pt x="2622" y="2838"/>
                      </a:lnTo>
                      <a:lnTo>
                        <a:pt x="2586" y="2856"/>
                      </a:lnTo>
                      <a:lnTo>
                        <a:pt x="2562" y="2880"/>
                      </a:lnTo>
                      <a:lnTo>
                        <a:pt x="2562" y="2886"/>
                      </a:lnTo>
                      <a:lnTo>
                        <a:pt x="2568" y="2886"/>
                      </a:lnTo>
                      <a:lnTo>
                        <a:pt x="2580" y="2880"/>
                      </a:lnTo>
                      <a:lnTo>
                        <a:pt x="2592" y="2880"/>
                      </a:lnTo>
                      <a:lnTo>
                        <a:pt x="2598" y="2886"/>
                      </a:lnTo>
                      <a:lnTo>
                        <a:pt x="2610" y="2880"/>
                      </a:lnTo>
                      <a:lnTo>
                        <a:pt x="2616" y="2868"/>
                      </a:lnTo>
                      <a:lnTo>
                        <a:pt x="2628" y="2862"/>
                      </a:lnTo>
                      <a:lnTo>
                        <a:pt x="2658" y="2862"/>
                      </a:lnTo>
                      <a:lnTo>
                        <a:pt x="2658" y="2856"/>
                      </a:lnTo>
                      <a:lnTo>
                        <a:pt x="2664" y="2844"/>
                      </a:lnTo>
                      <a:lnTo>
                        <a:pt x="2676" y="2838"/>
                      </a:lnTo>
                      <a:lnTo>
                        <a:pt x="2682" y="2832"/>
                      </a:lnTo>
                      <a:lnTo>
                        <a:pt x="2754" y="2832"/>
                      </a:lnTo>
                      <a:lnTo>
                        <a:pt x="2766" y="2838"/>
                      </a:lnTo>
                      <a:lnTo>
                        <a:pt x="2790" y="2820"/>
                      </a:lnTo>
                      <a:lnTo>
                        <a:pt x="2856" y="2820"/>
                      </a:lnTo>
                      <a:lnTo>
                        <a:pt x="2862" y="2814"/>
                      </a:lnTo>
                      <a:lnTo>
                        <a:pt x="2862" y="2790"/>
                      </a:lnTo>
                      <a:lnTo>
                        <a:pt x="2844" y="2796"/>
                      </a:lnTo>
                      <a:lnTo>
                        <a:pt x="2832" y="2796"/>
                      </a:lnTo>
                      <a:lnTo>
                        <a:pt x="2826" y="2790"/>
                      </a:lnTo>
                      <a:lnTo>
                        <a:pt x="2826" y="2784"/>
                      </a:lnTo>
                      <a:lnTo>
                        <a:pt x="2832" y="2772"/>
                      </a:lnTo>
                      <a:lnTo>
                        <a:pt x="2850" y="2754"/>
                      </a:lnTo>
                      <a:lnTo>
                        <a:pt x="2868" y="2742"/>
                      </a:lnTo>
                      <a:lnTo>
                        <a:pt x="2880" y="2736"/>
                      </a:lnTo>
                      <a:lnTo>
                        <a:pt x="2910" y="2736"/>
                      </a:lnTo>
                      <a:lnTo>
                        <a:pt x="2928" y="2730"/>
                      </a:lnTo>
                      <a:lnTo>
                        <a:pt x="2952" y="2730"/>
                      </a:lnTo>
                      <a:lnTo>
                        <a:pt x="2964" y="2724"/>
                      </a:lnTo>
                      <a:lnTo>
                        <a:pt x="2970" y="2724"/>
                      </a:lnTo>
                      <a:lnTo>
                        <a:pt x="2976" y="2718"/>
                      </a:lnTo>
                      <a:lnTo>
                        <a:pt x="2982" y="2718"/>
                      </a:lnTo>
                      <a:lnTo>
                        <a:pt x="2994" y="2724"/>
                      </a:lnTo>
                      <a:lnTo>
                        <a:pt x="3000" y="2724"/>
                      </a:lnTo>
                      <a:lnTo>
                        <a:pt x="3012" y="2730"/>
                      </a:lnTo>
                      <a:lnTo>
                        <a:pt x="3018" y="2736"/>
                      </a:lnTo>
                      <a:lnTo>
                        <a:pt x="3024" y="2736"/>
                      </a:lnTo>
                      <a:lnTo>
                        <a:pt x="3030" y="2730"/>
                      </a:lnTo>
                      <a:lnTo>
                        <a:pt x="3030" y="2712"/>
                      </a:lnTo>
                      <a:lnTo>
                        <a:pt x="3036" y="2706"/>
                      </a:lnTo>
                      <a:lnTo>
                        <a:pt x="3048" y="2700"/>
                      </a:lnTo>
                      <a:lnTo>
                        <a:pt x="3060" y="2700"/>
                      </a:lnTo>
                      <a:lnTo>
                        <a:pt x="3066" y="2706"/>
                      </a:lnTo>
                      <a:lnTo>
                        <a:pt x="3072" y="2706"/>
                      </a:lnTo>
                      <a:lnTo>
                        <a:pt x="3072" y="2700"/>
                      </a:lnTo>
                      <a:lnTo>
                        <a:pt x="3102" y="2700"/>
                      </a:lnTo>
                      <a:lnTo>
                        <a:pt x="3114" y="2688"/>
                      </a:lnTo>
                      <a:lnTo>
                        <a:pt x="3126" y="2682"/>
                      </a:lnTo>
                      <a:lnTo>
                        <a:pt x="3150" y="2658"/>
                      </a:lnTo>
                      <a:lnTo>
                        <a:pt x="3162" y="2652"/>
                      </a:lnTo>
                      <a:lnTo>
                        <a:pt x="3174" y="2640"/>
                      </a:lnTo>
                      <a:lnTo>
                        <a:pt x="3408" y="2640"/>
                      </a:lnTo>
                      <a:lnTo>
                        <a:pt x="3408" y="2634"/>
                      </a:lnTo>
                      <a:lnTo>
                        <a:pt x="3420" y="2622"/>
                      </a:lnTo>
                      <a:lnTo>
                        <a:pt x="3438" y="2622"/>
                      </a:lnTo>
                      <a:lnTo>
                        <a:pt x="3450" y="2616"/>
                      </a:lnTo>
                      <a:lnTo>
                        <a:pt x="3456" y="2616"/>
                      </a:lnTo>
                      <a:lnTo>
                        <a:pt x="3456" y="2610"/>
                      </a:lnTo>
                      <a:lnTo>
                        <a:pt x="3468" y="2598"/>
                      </a:lnTo>
                      <a:lnTo>
                        <a:pt x="3480" y="2592"/>
                      </a:lnTo>
                      <a:lnTo>
                        <a:pt x="3486" y="2586"/>
                      </a:lnTo>
                      <a:lnTo>
                        <a:pt x="3498" y="2586"/>
                      </a:lnTo>
                      <a:lnTo>
                        <a:pt x="3504" y="2592"/>
                      </a:lnTo>
                      <a:lnTo>
                        <a:pt x="3510" y="2592"/>
                      </a:lnTo>
                      <a:lnTo>
                        <a:pt x="3510" y="2568"/>
                      </a:lnTo>
                      <a:lnTo>
                        <a:pt x="3516" y="2556"/>
                      </a:lnTo>
                      <a:lnTo>
                        <a:pt x="3528" y="2544"/>
                      </a:lnTo>
                      <a:lnTo>
                        <a:pt x="3534" y="2544"/>
                      </a:lnTo>
                      <a:lnTo>
                        <a:pt x="3546" y="2532"/>
                      </a:lnTo>
                      <a:lnTo>
                        <a:pt x="3546" y="2508"/>
                      </a:lnTo>
                      <a:lnTo>
                        <a:pt x="3588" y="2484"/>
                      </a:lnTo>
                      <a:lnTo>
                        <a:pt x="3594" y="2472"/>
                      </a:lnTo>
                      <a:lnTo>
                        <a:pt x="3618" y="2448"/>
                      </a:lnTo>
                      <a:lnTo>
                        <a:pt x="3630" y="2448"/>
                      </a:lnTo>
                      <a:lnTo>
                        <a:pt x="3636" y="2454"/>
                      </a:lnTo>
                      <a:lnTo>
                        <a:pt x="3636" y="2460"/>
                      </a:lnTo>
                      <a:lnTo>
                        <a:pt x="3642" y="2466"/>
                      </a:lnTo>
                      <a:lnTo>
                        <a:pt x="3654" y="2466"/>
                      </a:lnTo>
                      <a:lnTo>
                        <a:pt x="3666" y="2460"/>
                      </a:lnTo>
                      <a:lnTo>
                        <a:pt x="3702" y="2460"/>
                      </a:lnTo>
                      <a:lnTo>
                        <a:pt x="3708" y="2466"/>
                      </a:lnTo>
                      <a:lnTo>
                        <a:pt x="3708" y="2472"/>
                      </a:lnTo>
                      <a:lnTo>
                        <a:pt x="3702" y="2496"/>
                      </a:lnTo>
                      <a:lnTo>
                        <a:pt x="3690" y="2520"/>
                      </a:lnTo>
                      <a:lnTo>
                        <a:pt x="3678" y="2550"/>
                      </a:lnTo>
                      <a:lnTo>
                        <a:pt x="3666" y="2574"/>
                      </a:lnTo>
                      <a:lnTo>
                        <a:pt x="3666" y="2586"/>
                      </a:lnTo>
                      <a:lnTo>
                        <a:pt x="3672" y="2592"/>
                      </a:lnTo>
                      <a:lnTo>
                        <a:pt x="3678" y="2592"/>
                      </a:lnTo>
                      <a:lnTo>
                        <a:pt x="3684" y="2598"/>
                      </a:lnTo>
                      <a:lnTo>
                        <a:pt x="3672" y="2610"/>
                      </a:lnTo>
                      <a:lnTo>
                        <a:pt x="3666" y="2622"/>
                      </a:lnTo>
                      <a:lnTo>
                        <a:pt x="3666" y="2628"/>
                      </a:lnTo>
                      <a:lnTo>
                        <a:pt x="3690" y="2628"/>
                      </a:lnTo>
                      <a:lnTo>
                        <a:pt x="3690" y="2634"/>
                      </a:lnTo>
                      <a:lnTo>
                        <a:pt x="3696" y="2640"/>
                      </a:lnTo>
                      <a:lnTo>
                        <a:pt x="3714" y="2640"/>
                      </a:lnTo>
                      <a:lnTo>
                        <a:pt x="3750" y="2622"/>
                      </a:lnTo>
                      <a:lnTo>
                        <a:pt x="3768" y="2604"/>
                      </a:lnTo>
                      <a:lnTo>
                        <a:pt x="3780" y="2622"/>
                      </a:lnTo>
                      <a:lnTo>
                        <a:pt x="3786" y="2622"/>
                      </a:lnTo>
                      <a:lnTo>
                        <a:pt x="3792" y="2616"/>
                      </a:lnTo>
                      <a:lnTo>
                        <a:pt x="3816" y="2604"/>
                      </a:lnTo>
                      <a:lnTo>
                        <a:pt x="3828" y="2604"/>
                      </a:lnTo>
                      <a:lnTo>
                        <a:pt x="3840" y="2592"/>
                      </a:lnTo>
                      <a:lnTo>
                        <a:pt x="3852" y="2592"/>
                      </a:lnTo>
                      <a:lnTo>
                        <a:pt x="3864" y="2580"/>
                      </a:lnTo>
                      <a:lnTo>
                        <a:pt x="3870" y="2580"/>
                      </a:lnTo>
                      <a:lnTo>
                        <a:pt x="3888" y="2586"/>
                      </a:lnTo>
                      <a:lnTo>
                        <a:pt x="3846" y="2616"/>
                      </a:lnTo>
                      <a:lnTo>
                        <a:pt x="3936" y="2610"/>
                      </a:lnTo>
                      <a:lnTo>
                        <a:pt x="3918" y="2610"/>
                      </a:lnTo>
                      <a:lnTo>
                        <a:pt x="3906" y="2616"/>
                      </a:lnTo>
                      <a:lnTo>
                        <a:pt x="3894" y="2616"/>
                      </a:lnTo>
                      <a:lnTo>
                        <a:pt x="3888" y="2622"/>
                      </a:lnTo>
                      <a:lnTo>
                        <a:pt x="3888" y="2634"/>
                      </a:lnTo>
                      <a:lnTo>
                        <a:pt x="3882" y="2640"/>
                      </a:lnTo>
                      <a:lnTo>
                        <a:pt x="3876" y="2640"/>
                      </a:lnTo>
                      <a:lnTo>
                        <a:pt x="3870" y="2634"/>
                      </a:lnTo>
                      <a:lnTo>
                        <a:pt x="3864" y="2634"/>
                      </a:lnTo>
                      <a:lnTo>
                        <a:pt x="3852" y="2628"/>
                      </a:lnTo>
                      <a:lnTo>
                        <a:pt x="3846" y="2628"/>
                      </a:lnTo>
                      <a:lnTo>
                        <a:pt x="3828" y="2634"/>
                      </a:lnTo>
                      <a:lnTo>
                        <a:pt x="3738" y="2688"/>
                      </a:lnTo>
                      <a:lnTo>
                        <a:pt x="3726" y="2700"/>
                      </a:lnTo>
                      <a:lnTo>
                        <a:pt x="3720" y="2712"/>
                      </a:lnTo>
                      <a:lnTo>
                        <a:pt x="3720" y="2748"/>
                      </a:lnTo>
                      <a:lnTo>
                        <a:pt x="3726" y="2748"/>
                      </a:lnTo>
                      <a:lnTo>
                        <a:pt x="3732" y="2742"/>
                      </a:lnTo>
                      <a:lnTo>
                        <a:pt x="3738" y="2742"/>
                      </a:lnTo>
                      <a:lnTo>
                        <a:pt x="3738" y="2754"/>
                      </a:lnTo>
                      <a:lnTo>
                        <a:pt x="3744" y="2760"/>
                      </a:lnTo>
                      <a:lnTo>
                        <a:pt x="3756" y="2760"/>
                      </a:lnTo>
                      <a:lnTo>
                        <a:pt x="3762" y="2754"/>
                      </a:lnTo>
                      <a:lnTo>
                        <a:pt x="3768" y="2742"/>
                      </a:lnTo>
                      <a:lnTo>
                        <a:pt x="3774" y="2736"/>
                      </a:lnTo>
                      <a:lnTo>
                        <a:pt x="3786" y="2736"/>
                      </a:lnTo>
                      <a:lnTo>
                        <a:pt x="3804" y="2730"/>
                      </a:lnTo>
                      <a:lnTo>
                        <a:pt x="3816" y="2724"/>
                      </a:lnTo>
                      <a:lnTo>
                        <a:pt x="3834" y="2718"/>
                      </a:lnTo>
                      <a:lnTo>
                        <a:pt x="3846" y="2706"/>
                      </a:lnTo>
                      <a:lnTo>
                        <a:pt x="3852" y="2694"/>
                      </a:lnTo>
                      <a:lnTo>
                        <a:pt x="3870" y="2676"/>
                      </a:lnTo>
                      <a:lnTo>
                        <a:pt x="3876" y="2664"/>
                      </a:lnTo>
                      <a:lnTo>
                        <a:pt x="3876" y="2670"/>
                      </a:lnTo>
                      <a:lnTo>
                        <a:pt x="3882" y="2682"/>
                      </a:lnTo>
                      <a:lnTo>
                        <a:pt x="3888" y="2688"/>
                      </a:lnTo>
                      <a:lnTo>
                        <a:pt x="3894" y="2688"/>
                      </a:lnTo>
                      <a:lnTo>
                        <a:pt x="3930" y="2676"/>
                      </a:lnTo>
                      <a:lnTo>
                        <a:pt x="3954" y="2664"/>
                      </a:lnTo>
                      <a:lnTo>
                        <a:pt x="3972" y="2658"/>
                      </a:lnTo>
                      <a:lnTo>
                        <a:pt x="3984" y="2652"/>
                      </a:lnTo>
                      <a:lnTo>
                        <a:pt x="4008" y="2646"/>
                      </a:lnTo>
                      <a:lnTo>
                        <a:pt x="4068" y="2634"/>
                      </a:lnTo>
                      <a:lnTo>
                        <a:pt x="4080" y="2628"/>
                      </a:lnTo>
                      <a:lnTo>
                        <a:pt x="4068" y="2616"/>
                      </a:lnTo>
                      <a:lnTo>
                        <a:pt x="4074" y="2598"/>
                      </a:lnTo>
                      <a:lnTo>
                        <a:pt x="4038" y="2604"/>
                      </a:lnTo>
                      <a:lnTo>
                        <a:pt x="4038" y="2580"/>
                      </a:lnTo>
                      <a:lnTo>
                        <a:pt x="4026" y="2586"/>
                      </a:lnTo>
                      <a:lnTo>
                        <a:pt x="4020" y="2586"/>
                      </a:lnTo>
                      <a:lnTo>
                        <a:pt x="4008" y="2592"/>
                      </a:lnTo>
                      <a:lnTo>
                        <a:pt x="4002" y="2598"/>
                      </a:lnTo>
                      <a:lnTo>
                        <a:pt x="3990" y="2598"/>
                      </a:lnTo>
                      <a:lnTo>
                        <a:pt x="3990" y="2580"/>
                      </a:lnTo>
                      <a:lnTo>
                        <a:pt x="3930" y="2580"/>
                      </a:lnTo>
                      <a:lnTo>
                        <a:pt x="3924" y="2574"/>
                      </a:lnTo>
                      <a:lnTo>
                        <a:pt x="3924" y="2568"/>
                      </a:lnTo>
                      <a:lnTo>
                        <a:pt x="3918" y="2562"/>
                      </a:lnTo>
                      <a:lnTo>
                        <a:pt x="3918" y="2556"/>
                      </a:lnTo>
                      <a:lnTo>
                        <a:pt x="3930" y="2556"/>
                      </a:lnTo>
                      <a:lnTo>
                        <a:pt x="3918" y="2544"/>
                      </a:lnTo>
                      <a:lnTo>
                        <a:pt x="3888" y="2544"/>
                      </a:lnTo>
                      <a:lnTo>
                        <a:pt x="3882" y="2532"/>
                      </a:lnTo>
                      <a:lnTo>
                        <a:pt x="3882" y="2526"/>
                      </a:lnTo>
                      <a:lnTo>
                        <a:pt x="3876" y="2514"/>
                      </a:lnTo>
                      <a:lnTo>
                        <a:pt x="3876" y="2502"/>
                      </a:lnTo>
                      <a:lnTo>
                        <a:pt x="3894" y="2484"/>
                      </a:lnTo>
                      <a:lnTo>
                        <a:pt x="3870" y="2484"/>
                      </a:lnTo>
                      <a:lnTo>
                        <a:pt x="3876" y="2478"/>
                      </a:lnTo>
                      <a:lnTo>
                        <a:pt x="3888" y="2472"/>
                      </a:lnTo>
                      <a:lnTo>
                        <a:pt x="3894" y="2460"/>
                      </a:lnTo>
                      <a:lnTo>
                        <a:pt x="3906" y="2454"/>
                      </a:lnTo>
                      <a:lnTo>
                        <a:pt x="3918" y="2442"/>
                      </a:lnTo>
                      <a:lnTo>
                        <a:pt x="3924" y="2430"/>
                      </a:lnTo>
                      <a:lnTo>
                        <a:pt x="3936" y="2424"/>
                      </a:lnTo>
                      <a:lnTo>
                        <a:pt x="3942" y="2412"/>
                      </a:lnTo>
                      <a:lnTo>
                        <a:pt x="3948" y="2406"/>
                      </a:lnTo>
                      <a:lnTo>
                        <a:pt x="3936" y="2400"/>
                      </a:lnTo>
                      <a:lnTo>
                        <a:pt x="3912" y="2430"/>
                      </a:lnTo>
                      <a:lnTo>
                        <a:pt x="3894" y="2418"/>
                      </a:lnTo>
                      <a:lnTo>
                        <a:pt x="3864" y="2436"/>
                      </a:lnTo>
                      <a:lnTo>
                        <a:pt x="3858" y="2418"/>
                      </a:lnTo>
                      <a:lnTo>
                        <a:pt x="3828" y="2406"/>
                      </a:lnTo>
                      <a:lnTo>
                        <a:pt x="3810" y="2412"/>
                      </a:lnTo>
                      <a:lnTo>
                        <a:pt x="3864" y="2394"/>
                      </a:lnTo>
                      <a:lnTo>
                        <a:pt x="3870" y="2400"/>
                      </a:lnTo>
                      <a:lnTo>
                        <a:pt x="3882" y="2406"/>
                      </a:lnTo>
                      <a:lnTo>
                        <a:pt x="3900" y="2406"/>
                      </a:lnTo>
                      <a:lnTo>
                        <a:pt x="3918" y="2388"/>
                      </a:lnTo>
                      <a:lnTo>
                        <a:pt x="3930" y="2382"/>
                      </a:lnTo>
                      <a:lnTo>
                        <a:pt x="3936" y="2376"/>
                      </a:lnTo>
                      <a:lnTo>
                        <a:pt x="3978" y="2376"/>
                      </a:lnTo>
                      <a:lnTo>
                        <a:pt x="3978" y="2364"/>
                      </a:lnTo>
                      <a:lnTo>
                        <a:pt x="3972" y="2358"/>
                      </a:lnTo>
                      <a:lnTo>
                        <a:pt x="3966" y="2346"/>
                      </a:lnTo>
                      <a:lnTo>
                        <a:pt x="3990" y="2346"/>
                      </a:lnTo>
                      <a:lnTo>
                        <a:pt x="3978" y="2334"/>
                      </a:lnTo>
                      <a:lnTo>
                        <a:pt x="3972" y="2322"/>
                      </a:lnTo>
                      <a:lnTo>
                        <a:pt x="3960" y="2316"/>
                      </a:lnTo>
                      <a:lnTo>
                        <a:pt x="3942" y="2310"/>
                      </a:lnTo>
                      <a:lnTo>
                        <a:pt x="3918" y="2310"/>
                      </a:lnTo>
                      <a:lnTo>
                        <a:pt x="3852" y="2316"/>
                      </a:lnTo>
                      <a:lnTo>
                        <a:pt x="3792" y="2334"/>
                      </a:lnTo>
                      <a:lnTo>
                        <a:pt x="3744" y="2352"/>
                      </a:lnTo>
                      <a:lnTo>
                        <a:pt x="3684" y="2376"/>
                      </a:lnTo>
                      <a:lnTo>
                        <a:pt x="3660" y="2388"/>
                      </a:lnTo>
                      <a:lnTo>
                        <a:pt x="3642" y="2400"/>
                      </a:lnTo>
                      <a:lnTo>
                        <a:pt x="3624" y="2418"/>
                      </a:lnTo>
                      <a:lnTo>
                        <a:pt x="3606" y="2430"/>
                      </a:lnTo>
                      <a:lnTo>
                        <a:pt x="3594" y="2442"/>
                      </a:lnTo>
                      <a:lnTo>
                        <a:pt x="3576" y="2454"/>
                      </a:lnTo>
                      <a:lnTo>
                        <a:pt x="3564" y="2466"/>
                      </a:lnTo>
                      <a:lnTo>
                        <a:pt x="3528" y="2484"/>
                      </a:lnTo>
                      <a:lnTo>
                        <a:pt x="3516" y="2484"/>
                      </a:lnTo>
                      <a:lnTo>
                        <a:pt x="3498" y="2490"/>
                      </a:lnTo>
                      <a:lnTo>
                        <a:pt x="3486" y="2490"/>
                      </a:lnTo>
                      <a:lnTo>
                        <a:pt x="3492" y="2490"/>
                      </a:lnTo>
                      <a:lnTo>
                        <a:pt x="3498" y="2484"/>
                      </a:lnTo>
                      <a:lnTo>
                        <a:pt x="3510" y="2478"/>
                      </a:lnTo>
                      <a:lnTo>
                        <a:pt x="3522" y="2466"/>
                      </a:lnTo>
                      <a:lnTo>
                        <a:pt x="3540" y="2460"/>
                      </a:lnTo>
                      <a:lnTo>
                        <a:pt x="3552" y="2448"/>
                      </a:lnTo>
                      <a:lnTo>
                        <a:pt x="3576" y="2436"/>
                      </a:lnTo>
                      <a:lnTo>
                        <a:pt x="3600" y="2412"/>
                      </a:lnTo>
                      <a:lnTo>
                        <a:pt x="3606" y="2400"/>
                      </a:lnTo>
                      <a:lnTo>
                        <a:pt x="3582" y="2388"/>
                      </a:lnTo>
                      <a:lnTo>
                        <a:pt x="3588" y="2388"/>
                      </a:lnTo>
                      <a:lnTo>
                        <a:pt x="3594" y="2394"/>
                      </a:lnTo>
                      <a:lnTo>
                        <a:pt x="3624" y="2394"/>
                      </a:lnTo>
                      <a:lnTo>
                        <a:pt x="3642" y="2382"/>
                      </a:lnTo>
                      <a:lnTo>
                        <a:pt x="3702" y="2334"/>
                      </a:lnTo>
                      <a:lnTo>
                        <a:pt x="3750" y="2310"/>
                      </a:lnTo>
                      <a:lnTo>
                        <a:pt x="3768" y="2304"/>
                      </a:lnTo>
                      <a:lnTo>
                        <a:pt x="3804" y="2304"/>
                      </a:lnTo>
                      <a:lnTo>
                        <a:pt x="3852" y="2256"/>
                      </a:lnTo>
                      <a:lnTo>
                        <a:pt x="3870" y="2244"/>
                      </a:lnTo>
                      <a:lnTo>
                        <a:pt x="3888" y="2238"/>
                      </a:lnTo>
                      <a:lnTo>
                        <a:pt x="3936" y="2232"/>
                      </a:lnTo>
                      <a:lnTo>
                        <a:pt x="3990" y="2232"/>
                      </a:lnTo>
                      <a:lnTo>
                        <a:pt x="4044" y="2226"/>
                      </a:lnTo>
                      <a:lnTo>
                        <a:pt x="4074" y="2226"/>
                      </a:lnTo>
                      <a:lnTo>
                        <a:pt x="4104" y="2232"/>
                      </a:lnTo>
                      <a:lnTo>
                        <a:pt x="4176" y="2244"/>
                      </a:lnTo>
                      <a:lnTo>
                        <a:pt x="4200" y="2250"/>
                      </a:lnTo>
                      <a:lnTo>
                        <a:pt x="4212" y="2244"/>
                      </a:lnTo>
                      <a:lnTo>
                        <a:pt x="4248" y="2232"/>
                      </a:lnTo>
                      <a:lnTo>
                        <a:pt x="4260" y="2226"/>
                      </a:lnTo>
                      <a:lnTo>
                        <a:pt x="4278" y="2226"/>
                      </a:lnTo>
                      <a:lnTo>
                        <a:pt x="4296" y="2220"/>
                      </a:lnTo>
                      <a:lnTo>
                        <a:pt x="4320" y="2214"/>
                      </a:lnTo>
                      <a:lnTo>
                        <a:pt x="4338" y="2208"/>
                      </a:lnTo>
                      <a:lnTo>
                        <a:pt x="4374" y="2172"/>
                      </a:lnTo>
                      <a:lnTo>
                        <a:pt x="4392" y="2166"/>
                      </a:lnTo>
                      <a:lnTo>
                        <a:pt x="4404" y="2154"/>
                      </a:lnTo>
                      <a:lnTo>
                        <a:pt x="4410" y="2154"/>
                      </a:lnTo>
                      <a:lnTo>
                        <a:pt x="4422" y="2148"/>
                      </a:lnTo>
                      <a:lnTo>
                        <a:pt x="4452" y="2148"/>
                      </a:lnTo>
                      <a:lnTo>
                        <a:pt x="4458" y="2142"/>
                      </a:lnTo>
                      <a:lnTo>
                        <a:pt x="4470" y="2136"/>
                      </a:lnTo>
                      <a:lnTo>
                        <a:pt x="4476" y="2130"/>
                      </a:lnTo>
                      <a:lnTo>
                        <a:pt x="4494" y="2130"/>
                      </a:lnTo>
                      <a:lnTo>
                        <a:pt x="4500" y="2136"/>
                      </a:lnTo>
                      <a:lnTo>
                        <a:pt x="4518" y="2136"/>
                      </a:lnTo>
                      <a:lnTo>
                        <a:pt x="4530" y="2130"/>
                      </a:lnTo>
                      <a:lnTo>
                        <a:pt x="4536" y="2130"/>
                      </a:lnTo>
                      <a:lnTo>
                        <a:pt x="4542" y="2124"/>
                      </a:lnTo>
                      <a:lnTo>
                        <a:pt x="4596" y="2106"/>
                      </a:lnTo>
                      <a:lnTo>
                        <a:pt x="4620" y="2094"/>
                      </a:lnTo>
                      <a:lnTo>
                        <a:pt x="4620" y="2088"/>
                      </a:lnTo>
                      <a:lnTo>
                        <a:pt x="4614" y="2076"/>
                      </a:lnTo>
                      <a:lnTo>
                        <a:pt x="4602" y="2070"/>
                      </a:lnTo>
                      <a:lnTo>
                        <a:pt x="4584" y="2052"/>
                      </a:lnTo>
                      <a:lnTo>
                        <a:pt x="4578" y="2052"/>
                      </a:lnTo>
                      <a:lnTo>
                        <a:pt x="4602" y="2052"/>
                      </a:lnTo>
                      <a:lnTo>
                        <a:pt x="4614" y="2046"/>
                      </a:lnTo>
                      <a:lnTo>
                        <a:pt x="4614" y="2028"/>
                      </a:lnTo>
                      <a:lnTo>
                        <a:pt x="4608" y="2022"/>
                      </a:lnTo>
                      <a:lnTo>
                        <a:pt x="4608" y="2010"/>
                      </a:lnTo>
                      <a:lnTo>
                        <a:pt x="4632" y="2010"/>
                      </a:lnTo>
                      <a:lnTo>
                        <a:pt x="4644" y="1998"/>
                      </a:lnTo>
                      <a:lnTo>
                        <a:pt x="4644" y="1992"/>
                      </a:lnTo>
                      <a:lnTo>
                        <a:pt x="4632" y="1980"/>
                      </a:lnTo>
                      <a:lnTo>
                        <a:pt x="4626" y="1968"/>
                      </a:lnTo>
                      <a:lnTo>
                        <a:pt x="4608" y="1962"/>
                      </a:lnTo>
                      <a:lnTo>
                        <a:pt x="4602" y="1956"/>
                      </a:lnTo>
                      <a:lnTo>
                        <a:pt x="4590" y="196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3" name="Russia (Urup,Simushir)">
                  <a:extLst>
                    <a:ext uri="{FF2B5EF4-FFF2-40B4-BE49-F238E27FC236}">
                      <a16:creationId xmlns:a16="http://schemas.microsoft.com/office/drawing/2014/main" id="{B93BE54A-4F56-4B7A-AC39-D839F8CBE065}"/>
                    </a:ext>
                  </a:extLst>
                </p:cNvPr>
                <p:cNvSpPr>
                  <a:spLocks noEditPoints="1"/>
                </p:cNvSpPr>
                <p:nvPr/>
              </p:nvSpPr>
              <p:spPr bwMode="gray">
                <a:xfrm>
                  <a:off x="7791394" y="1602038"/>
                  <a:ext cx="113052" cy="452175"/>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4" name="Vietnam">
                  <a:extLst>
                    <a:ext uri="{FF2B5EF4-FFF2-40B4-BE49-F238E27FC236}">
                      <a16:creationId xmlns:a16="http://schemas.microsoft.com/office/drawing/2014/main" id="{8B39E643-435B-4BC1-80AB-B8C6723D03F0}"/>
                    </a:ext>
                  </a:extLst>
                </p:cNvPr>
                <p:cNvSpPr>
                  <a:spLocks/>
                </p:cNvSpPr>
                <p:nvPr/>
              </p:nvSpPr>
              <p:spPr bwMode="gray">
                <a:xfrm>
                  <a:off x="6931602" y="2671492"/>
                  <a:ext cx="227592" cy="449200"/>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5" name="Thailand">
                  <a:extLst>
                    <a:ext uri="{FF2B5EF4-FFF2-40B4-BE49-F238E27FC236}">
                      <a16:creationId xmlns:a16="http://schemas.microsoft.com/office/drawing/2014/main" id="{8D043639-0F41-4BAF-A3A3-456B46D19C1E}"/>
                    </a:ext>
                  </a:extLst>
                </p:cNvPr>
                <p:cNvSpPr>
                  <a:spLocks/>
                </p:cNvSpPr>
                <p:nvPr/>
              </p:nvSpPr>
              <p:spPr bwMode="gray">
                <a:xfrm>
                  <a:off x="6820038" y="2762225"/>
                  <a:ext cx="233542" cy="447713"/>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6" name="Taiwan">
                  <a:extLst>
                    <a:ext uri="{FF2B5EF4-FFF2-40B4-BE49-F238E27FC236}">
                      <a16:creationId xmlns:a16="http://schemas.microsoft.com/office/drawing/2014/main" id="{80010248-8BF1-4685-BF7E-44BD34ACDF11}"/>
                    </a:ext>
                  </a:extLst>
                </p:cNvPr>
                <p:cNvSpPr>
                  <a:spLocks/>
                </p:cNvSpPr>
                <p:nvPr/>
              </p:nvSpPr>
              <p:spPr bwMode="gray">
                <a:xfrm>
                  <a:off x="7389761" y="2613483"/>
                  <a:ext cx="46114" cy="101145"/>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7" name="Philippines">
                  <a:extLst>
                    <a:ext uri="{FF2B5EF4-FFF2-40B4-BE49-F238E27FC236}">
                      <a16:creationId xmlns:a16="http://schemas.microsoft.com/office/drawing/2014/main" id="{4B31FFB7-3ABA-4D5B-B2E6-51F94337A20F}"/>
                    </a:ext>
                  </a:extLst>
                </p:cNvPr>
                <p:cNvSpPr>
                  <a:spLocks noEditPoints="1"/>
                </p:cNvSpPr>
                <p:nvPr/>
              </p:nvSpPr>
              <p:spPr bwMode="gray">
                <a:xfrm>
                  <a:off x="7376373" y="2812797"/>
                  <a:ext cx="269243" cy="453662"/>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8" name="Parcel Islands">
                  <a:extLst>
                    <a:ext uri="{FF2B5EF4-FFF2-40B4-BE49-F238E27FC236}">
                      <a16:creationId xmlns:a16="http://schemas.microsoft.com/office/drawing/2014/main" id="{52314562-48A8-4934-803A-56ECF8DD50D3}"/>
                    </a:ext>
                  </a:extLst>
                </p:cNvPr>
                <p:cNvSpPr>
                  <a:spLocks noEditPoints="1"/>
                </p:cNvSpPr>
                <p:nvPr/>
              </p:nvSpPr>
              <p:spPr bwMode="gray">
                <a:xfrm>
                  <a:off x="7193408" y="2857420"/>
                  <a:ext cx="35701" cy="23798"/>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9" name="Malaysia">
                  <a:extLst>
                    <a:ext uri="{FF2B5EF4-FFF2-40B4-BE49-F238E27FC236}">
                      <a16:creationId xmlns:a16="http://schemas.microsoft.com/office/drawing/2014/main" id="{59830364-C1AE-455D-A4A8-55D0F37AEE20}"/>
                    </a:ext>
                  </a:extLst>
                </p:cNvPr>
                <p:cNvSpPr>
                  <a:spLocks/>
                </p:cNvSpPr>
                <p:nvPr/>
              </p:nvSpPr>
              <p:spPr bwMode="gray">
                <a:xfrm>
                  <a:off x="6919702" y="3177214"/>
                  <a:ext cx="114540" cy="165104"/>
                </a:xfrm>
                <a:custGeom>
                  <a:avLst/>
                  <a:gdLst>
                    <a:gd name="T0" fmla="*/ 2147483647 w 306"/>
                    <a:gd name="T1" fmla="*/ 2147483647 h 438"/>
                    <a:gd name="T2" fmla="*/ 2147483647 w 306"/>
                    <a:gd name="T3" fmla="*/ 2147483647 h 438"/>
                    <a:gd name="T4" fmla="*/ 2147483647 w 306"/>
                    <a:gd name="T5" fmla="*/ 2147483647 h 438"/>
                    <a:gd name="T6" fmla="*/ 2147483647 w 306"/>
                    <a:gd name="T7" fmla="*/ 2147483647 h 438"/>
                    <a:gd name="T8" fmla="*/ 2147483647 w 306"/>
                    <a:gd name="T9" fmla="*/ 2147483647 h 438"/>
                    <a:gd name="T10" fmla="*/ 2147483647 w 306"/>
                    <a:gd name="T11" fmla="*/ 2147483647 h 438"/>
                    <a:gd name="T12" fmla="*/ 2147483647 w 306"/>
                    <a:gd name="T13" fmla="*/ 2147483647 h 438"/>
                    <a:gd name="T14" fmla="*/ 2147483647 w 306"/>
                    <a:gd name="T15" fmla="*/ 2147483647 h 438"/>
                    <a:gd name="T16" fmla="*/ 2147483647 w 306"/>
                    <a:gd name="T17" fmla="*/ 2147483647 h 438"/>
                    <a:gd name="T18" fmla="*/ 2147483647 w 306"/>
                    <a:gd name="T19" fmla="*/ 2147483647 h 438"/>
                    <a:gd name="T20" fmla="*/ 2147483647 w 306"/>
                    <a:gd name="T21" fmla="*/ 2147483647 h 438"/>
                    <a:gd name="T22" fmla="*/ 2147483647 w 306"/>
                    <a:gd name="T23" fmla="*/ 2147483647 h 438"/>
                    <a:gd name="T24" fmla="*/ 2147483647 w 306"/>
                    <a:gd name="T25" fmla="*/ 2147483647 h 438"/>
                    <a:gd name="T26" fmla="*/ 2147483647 w 306"/>
                    <a:gd name="T27" fmla="*/ 2147483647 h 438"/>
                    <a:gd name="T28" fmla="*/ 2147483647 w 306"/>
                    <a:gd name="T29" fmla="*/ 2147483647 h 438"/>
                    <a:gd name="T30" fmla="*/ 2147483647 w 306"/>
                    <a:gd name="T31" fmla="*/ 2147483647 h 438"/>
                    <a:gd name="T32" fmla="*/ 2147483647 w 306"/>
                    <a:gd name="T33" fmla="*/ 2147483647 h 438"/>
                    <a:gd name="T34" fmla="*/ 2147483647 w 306"/>
                    <a:gd name="T35" fmla="*/ 2147483647 h 438"/>
                    <a:gd name="T36" fmla="*/ 2147483647 w 306"/>
                    <a:gd name="T37" fmla="*/ 2147483647 h 438"/>
                    <a:gd name="T38" fmla="*/ 2147483647 w 306"/>
                    <a:gd name="T39" fmla="*/ 2147483647 h 438"/>
                    <a:gd name="T40" fmla="*/ 2147483647 w 306"/>
                    <a:gd name="T41" fmla="*/ 2147483647 h 438"/>
                    <a:gd name="T42" fmla="*/ 2147483647 w 306"/>
                    <a:gd name="T43" fmla="*/ 2147483647 h 438"/>
                    <a:gd name="T44" fmla="*/ 2147483647 w 306"/>
                    <a:gd name="T45" fmla="*/ 2147483647 h 438"/>
                    <a:gd name="T46" fmla="*/ 2147483647 w 306"/>
                    <a:gd name="T47" fmla="*/ 2147483647 h 438"/>
                    <a:gd name="T48" fmla="*/ 2147483647 w 306"/>
                    <a:gd name="T49" fmla="*/ 2147483647 h 438"/>
                    <a:gd name="T50" fmla="*/ 2147483647 w 306"/>
                    <a:gd name="T51" fmla="*/ 2147483647 h 438"/>
                    <a:gd name="T52" fmla="*/ 2147483647 w 306"/>
                    <a:gd name="T53" fmla="*/ 2147483647 h 438"/>
                    <a:gd name="T54" fmla="*/ 2147483647 w 306"/>
                    <a:gd name="T55" fmla="*/ 2147483647 h 438"/>
                    <a:gd name="T56" fmla="*/ 2147483647 w 306"/>
                    <a:gd name="T57" fmla="*/ 2147483647 h 438"/>
                    <a:gd name="T58" fmla="*/ 2147483647 w 306"/>
                    <a:gd name="T59" fmla="*/ 2147483647 h 438"/>
                    <a:gd name="T60" fmla="*/ 2147483647 w 306"/>
                    <a:gd name="T61" fmla="*/ 2147483647 h 438"/>
                    <a:gd name="T62" fmla="*/ 2147483647 w 306"/>
                    <a:gd name="T63" fmla="*/ 2147483647 h 438"/>
                    <a:gd name="T64" fmla="*/ 2147483647 w 306"/>
                    <a:gd name="T65" fmla="*/ 2147483647 h 438"/>
                    <a:gd name="T66" fmla="*/ 2147483647 w 306"/>
                    <a:gd name="T67" fmla="*/ 2147483647 h 438"/>
                    <a:gd name="T68" fmla="*/ 2147483647 w 306"/>
                    <a:gd name="T69" fmla="*/ 2147483647 h 438"/>
                    <a:gd name="T70" fmla="*/ 2147483647 w 306"/>
                    <a:gd name="T71" fmla="*/ 2147483647 h 438"/>
                    <a:gd name="T72" fmla="*/ 2147483647 w 306"/>
                    <a:gd name="T73" fmla="*/ 2147483647 h 438"/>
                    <a:gd name="T74" fmla="*/ 2147483647 w 306"/>
                    <a:gd name="T75" fmla="*/ 2147483647 h 438"/>
                    <a:gd name="T76" fmla="*/ 2147483647 w 306"/>
                    <a:gd name="T77" fmla="*/ 0 h 438"/>
                    <a:gd name="T78" fmla="*/ 2147483647 w 306"/>
                    <a:gd name="T79" fmla="*/ 2147483647 h 438"/>
                    <a:gd name="T80" fmla="*/ 2147483647 w 306"/>
                    <a:gd name="T81" fmla="*/ 2147483647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438"/>
                    <a:gd name="T125" fmla="*/ 306 w 306"/>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438">
                      <a:moveTo>
                        <a:pt x="0" y="42"/>
                      </a:moveTo>
                      <a:lnTo>
                        <a:pt x="6" y="138"/>
                      </a:lnTo>
                      <a:lnTo>
                        <a:pt x="18" y="138"/>
                      </a:lnTo>
                      <a:lnTo>
                        <a:pt x="24" y="132"/>
                      </a:lnTo>
                      <a:lnTo>
                        <a:pt x="42" y="132"/>
                      </a:lnTo>
                      <a:lnTo>
                        <a:pt x="54" y="138"/>
                      </a:lnTo>
                      <a:lnTo>
                        <a:pt x="54" y="168"/>
                      </a:lnTo>
                      <a:lnTo>
                        <a:pt x="48" y="180"/>
                      </a:lnTo>
                      <a:lnTo>
                        <a:pt x="48" y="198"/>
                      </a:lnTo>
                      <a:lnTo>
                        <a:pt x="54" y="216"/>
                      </a:lnTo>
                      <a:lnTo>
                        <a:pt x="60" y="228"/>
                      </a:lnTo>
                      <a:lnTo>
                        <a:pt x="66" y="234"/>
                      </a:lnTo>
                      <a:lnTo>
                        <a:pt x="84" y="234"/>
                      </a:lnTo>
                      <a:lnTo>
                        <a:pt x="90" y="228"/>
                      </a:lnTo>
                      <a:lnTo>
                        <a:pt x="90" y="240"/>
                      </a:lnTo>
                      <a:lnTo>
                        <a:pt x="84" y="252"/>
                      </a:lnTo>
                      <a:lnTo>
                        <a:pt x="84" y="282"/>
                      </a:lnTo>
                      <a:lnTo>
                        <a:pt x="96" y="306"/>
                      </a:lnTo>
                      <a:lnTo>
                        <a:pt x="102" y="312"/>
                      </a:lnTo>
                      <a:lnTo>
                        <a:pt x="114" y="318"/>
                      </a:lnTo>
                      <a:lnTo>
                        <a:pt x="132" y="330"/>
                      </a:lnTo>
                      <a:lnTo>
                        <a:pt x="144" y="336"/>
                      </a:lnTo>
                      <a:lnTo>
                        <a:pt x="162" y="354"/>
                      </a:lnTo>
                      <a:lnTo>
                        <a:pt x="168" y="354"/>
                      </a:lnTo>
                      <a:lnTo>
                        <a:pt x="168" y="366"/>
                      </a:lnTo>
                      <a:lnTo>
                        <a:pt x="174" y="372"/>
                      </a:lnTo>
                      <a:lnTo>
                        <a:pt x="174" y="378"/>
                      </a:lnTo>
                      <a:lnTo>
                        <a:pt x="180" y="384"/>
                      </a:lnTo>
                      <a:lnTo>
                        <a:pt x="186" y="384"/>
                      </a:lnTo>
                      <a:lnTo>
                        <a:pt x="198" y="390"/>
                      </a:lnTo>
                      <a:lnTo>
                        <a:pt x="204" y="396"/>
                      </a:lnTo>
                      <a:lnTo>
                        <a:pt x="216" y="396"/>
                      </a:lnTo>
                      <a:lnTo>
                        <a:pt x="222" y="402"/>
                      </a:lnTo>
                      <a:lnTo>
                        <a:pt x="228" y="402"/>
                      </a:lnTo>
                      <a:lnTo>
                        <a:pt x="252" y="438"/>
                      </a:lnTo>
                      <a:lnTo>
                        <a:pt x="300" y="432"/>
                      </a:lnTo>
                      <a:lnTo>
                        <a:pt x="300" y="420"/>
                      </a:lnTo>
                      <a:lnTo>
                        <a:pt x="306" y="408"/>
                      </a:lnTo>
                      <a:lnTo>
                        <a:pt x="306" y="378"/>
                      </a:lnTo>
                      <a:lnTo>
                        <a:pt x="294" y="354"/>
                      </a:lnTo>
                      <a:lnTo>
                        <a:pt x="270" y="330"/>
                      </a:lnTo>
                      <a:lnTo>
                        <a:pt x="264" y="318"/>
                      </a:lnTo>
                      <a:lnTo>
                        <a:pt x="258" y="312"/>
                      </a:lnTo>
                      <a:lnTo>
                        <a:pt x="258" y="288"/>
                      </a:lnTo>
                      <a:lnTo>
                        <a:pt x="252" y="276"/>
                      </a:lnTo>
                      <a:lnTo>
                        <a:pt x="246" y="270"/>
                      </a:lnTo>
                      <a:lnTo>
                        <a:pt x="246" y="258"/>
                      </a:lnTo>
                      <a:lnTo>
                        <a:pt x="252" y="252"/>
                      </a:lnTo>
                      <a:lnTo>
                        <a:pt x="252" y="126"/>
                      </a:lnTo>
                      <a:lnTo>
                        <a:pt x="246" y="114"/>
                      </a:lnTo>
                      <a:lnTo>
                        <a:pt x="222" y="90"/>
                      </a:lnTo>
                      <a:lnTo>
                        <a:pt x="204" y="84"/>
                      </a:lnTo>
                      <a:lnTo>
                        <a:pt x="192" y="72"/>
                      </a:lnTo>
                      <a:lnTo>
                        <a:pt x="180" y="66"/>
                      </a:lnTo>
                      <a:lnTo>
                        <a:pt x="156" y="42"/>
                      </a:lnTo>
                      <a:lnTo>
                        <a:pt x="150" y="54"/>
                      </a:lnTo>
                      <a:lnTo>
                        <a:pt x="144" y="60"/>
                      </a:lnTo>
                      <a:lnTo>
                        <a:pt x="138" y="72"/>
                      </a:lnTo>
                      <a:lnTo>
                        <a:pt x="138" y="78"/>
                      </a:lnTo>
                      <a:lnTo>
                        <a:pt x="132" y="84"/>
                      </a:lnTo>
                      <a:lnTo>
                        <a:pt x="114" y="66"/>
                      </a:lnTo>
                      <a:lnTo>
                        <a:pt x="108" y="66"/>
                      </a:lnTo>
                      <a:lnTo>
                        <a:pt x="102" y="72"/>
                      </a:lnTo>
                      <a:lnTo>
                        <a:pt x="90" y="72"/>
                      </a:lnTo>
                      <a:lnTo>
                        <a:pt x="90" y="78"/>
                      </a:lnTo>
                      <a:lnTo>
                        <a:pt x="72" y="78"/>
                      </a:lnTo>
                      <a:lnTo>
                        <a:pt x="66" y="72"/>
                      </a:lnTo>
                      <a:lnTo>
                        <a:pt x="66" y="66"/>
                      </a:lnTo>
                      <a:lnTo>
                        <a:pt x="78" y="54"/>
                      </a:lnTo>
                      <a:lnTo>
                        <a:pt x="78" y="42"/>
                      </a:lnTo>
                      <a:lnTo>
                        <a:pt x="66" y="42"/>
                      </a:lnTo>
                      <a:lnTo>
                        <a:pt x="66" y="30"/>
                      </a:lnTo>
                      <a:lnTo>
                        <a:pt x="60" y="24"/>
                      </a:lnTo>
                      <a:lnTo>
                        <a:pt x="48" y="18"/>
                      </a:lnTo>
                      <a:lnTo>
                        <a:pt x="30" y="18"/>
                      </a:lnTo>
                      <a:lnTo>
                        <a:pt x="30" y="12"/>
                      </a:lnTo>
                      <a:lnTo>
                        <a:pt x="24" y="0"/>
                      </a:lnTo>
                      <a:lnTo>
                        <a:pt x="12" y="0"/>
                      </a:lnTo>
                      <a:lnTo>
                        <a:pt x="6" y="6"/>
                      </a:lnTo>
                      <a:lnTo>
                        <a:pt x="6" y="18"/>
                      </a:lnTo>
                      <a:lnTo>
                        <a:pt x="12" y="24"/>
                      </a:lnTo>
                      <a:lnTo>
                        <a:pt x="6" y="36"/>
                      </a:lnTo>
                      <a:lnTo>
                        <a:pt x="0"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0" name="AutoShape 80">
                  <a:extLst>
                    <a:ext uri="{FF2B5EF4-FFF2-40B4-BE49-F238E27FC236}">
                      <a16:creationId xmlns:a16="http://schemas.microsoft.com/office/drawing/2014/main" id="{086B13AF-9A16-4CA8-9CA1-549DC6E9DA30}"/>
                    </a:ext>
                  </a:extLst>
                </p:cNvPr>
                <p:cNvSpPr>
                  <a:spLocks/>
                </p:cNvSpPr>
                <p:nvPr/>
              </p:nvSpPr>
              <p:spPr bwMode="gray">
                <a:xfrm>
                  <a:off x="7188946" y="3157878"/>
                  <a:ext cx="260317" cy="199314"/>
                </a:xfrm>
                <a:custGeom>
                  <a:avLst/>
                  <a:gdLst>
                    <a:gd name="T0" fmla="*/ 2147483647 w 690"/>
                    <a:gd name="T1" fmla="*/ 2147483647 h 528"/>
                    <a:gd name="T2" fmla="*/ 2147483647 w 690"/>
                    <a:gd name="T3" fmla="*/ 2147483647 h 528"/>
                    <a:gd name="T4" fmla="*/ 2147483647 w 690"/>
                    <a:gd name="T5" fmla="*/ 2147483647 h 528"/>
                    <a:gd name="T6" fmla="*/ 2147483647 w 690"/>
                    <a:gd name="T7" fmla="*/ 2147483647 h 528"/>
                    <a:gd name="T8" fmla="*/ 2147483647 w 690"/>
                    <a:gd name="T9" fmla="*/ 2147483647 h 528"/>
                    <a:gd name="T10" fmla="*/ 2147483647 w 690"/>
                    <a:gd name="T11" fmla="*/ 2147483647 h 528"/>
                    <a:gd name="T12" fmla="*/ 2147483647 w 690"/>
                    <a:gd name="T13" fmla="*/ 2147483647 h 528"/>
                    <a:gd name="T14" fmla="*/ 2147483647 w 690"/>
                    <a:gd name="T15" fmla="*/ 2147483647 h 528"/>
                    <a:gd name="T16" fmla="*/ 2147483647 w 690"/>
                    <a:gd name="T17" fmla="*/ 2147483647 h 528"/>
                    <a:gd name="T18" fmla="*/ 2147483647 w 690"/>
                    <a:gd name="T19" fmla="*/ 2147483647 h 528"/>
                    <a:gd name="T20" fmla="*/ 2147483647 w 690"/>
                    <a:gd name="T21" fmla="*/ 2147483647 h 528"/>
                    <a:gd name="T22" fmla="*/ 2147483647 w 690"/>
                    <a:gd name="T23" fmla="*/ 2147483647 h 528"/>
                    <a:gd name="T24" fmla="*/ 2147483647 w 690"/>
                    <a:gd name="T25" fmla="*/ 2147483647 h 528"/>
                    <a:gd name="T26" fmla="*/ 2147483647 w 690"/>
                    <a:gd name="T27" fmla="*/ 2147483647 h 528"/>
                    <a:gd name="T28" fmla="*/ 2147483647 w 690"/>
                    <a:gd name="T29" fmla="*/ 2147483647 h 528"/>
                    <a:gd name="T30" fmla="*/ 2147483647 w 690"/>
                    <a:gd name="T31" fmla="*/ 2147483647 h 528"/>
                    <a:gd name="T32" fmla="*/ 2147483647 w 690"/>
                    <a:gd name="T33" fmla="*/ 2147483647 h 528"/>
                    <a:gd name="T34" fmla="*/ 2147483647 w 690"/>
                    <a:gd name="T35" fmla="*/ 2147483647 h 528"/>
                    <a:gd name="T36" fmla="*/ 2147483647 w 690"/>
                    <a:gd name="T37" fmla="*/ 2147483647 h 528"/>
                    <a:gd name="T38" fmla="*/ 2147483647 w 690"/>
                    <a:gd name="T39" fmla="*/ 2147483647 h 528"/>
                    <a:gd name="T40" fmla="*/ 2147483647 w 690"/>
                    <a:gd name="T41" fmla="*/ 2147483647 h 528"/>
                    <a:gd name="T42" fmla="*/ 2147483647 w 690"/>
                    <a:gd name="T43" fmla="*/ 2147483647 h 528"/>
                    <a:gd name="T44" fmla="*/ 2147483647 w 690"/>
                    <a:gd name="T45" fmla="*/ 2147483647 h 528"/>
                    <a:gd name="T46" fmla="*/ 2147483647 w 690"/>
                    <a:gd name="T47" fmla="*/ 2147483647 h 528"/>
                    <a:gd name="T48" fmla="*/ 2147483647 w 690"/>
                    <a:gd name="T49" fmla="*/ 2147483647 h 528"/>
                    <a:gd name="T50" fmla="*/ 2147483647 w 690"/>
                    <a:gd name="T51" fmla="*/ 2147483647 h 528"/>
                    <a:gd name="T52" fmla="*/ 2147483647 w 690"/>
                    <a:gd name="T53" fmla="*/ 2147483647 h 528"/>
                    <a:gd name="T54" fmla="*/ 2147483647 w 690"/>
                    <a:gd name="T55" fmla="*/ 2147483647 h 528"/>
                    <a:gd name="T56" fmla="*/ 2147483647 w 690"/>
                    <a:gd name="T57" fmla="*/ 2147483647 h 528"/>
                    <a:gd name="T58" fmla="*/ 2147483647 w 690"/>
                    <a:gd name="T59" fmla="*/ 2147483647 h 528"/>
                    <a:gd name="T60" fmla="*/ 2147483647 w 690"/>
                    <a:gd name="T61" fmla="*/ 2147483647 h 528"/>
                    <a:gd name="T62" fmla="*/ 2147483647 w 690"/>
                    <a:gd name="T63" fmla="*/ 2147483647 h 528"/>
                    <a:gd name="T64" fmla="*/ 2147483647 w 690"/>
                    <a:gd name="T65" fmla="*/ 2147483647 h 528"/>
                    <a:gd name="T66" fmla="*/ 2147483647 w 690"/>
                    <a:gd name="T67" fmla="*/ 2147483647 h 528"/>
                    <a:gd name="T68" fmla="*/ 2147483647 w 690"/>
                    <a:gd name="T69" fmla="*/ 2147483647 h 528"/>
                    <a:gd name="T70" fmla="*/ 2147483647 w 690"/>
                    <a:gd name="T71" fmla="*/ 0 h 528"/>
                    <a:gd name="T72" fmla="*/ 2147483647 w 690"/>
                    <a:gd name="T73" fmla="*/ 0 h 528"/>
                    <a:gd name="T74" fmla="*/ 2147483647 w 690"/>
                    <a:gd name="T75" fmla="*/ 2147483647 h 528"/>
                    <a:gd name="T76" fmla="*/ 2147483647 w 690"/>
                    <a:gd name="T77" fmla="*/ 2147483647 h 528"/>
                    <a:gd name="T78" fmla="*/ 2147483647 w 690"/>
                    <a:gd name="T79" fmla="*/ 2147483647 h 528"/>
                    <a:gd name="T80" fmla="*/ 2147483647 w 690"/>
                    <a:gd name="T81" fmla="*/ 2147483647 h 528"/>
                    <a:gd name="T82" fmla="*/ 2147483647 w 690"/>
                    <a:gd name="T83" fmla="*/ 2147483647 h 528"/>
                    <a:gd name="T84" fmla="*/ 2147483647 w 690"/>
                    <a:gd name="T85" fmla="*/ 2147483647 h 528"/>
                    <a:gd name="T86" fmla="*/ 2147483647 w 690"/>
                    <a:gd name="T87" fmla="*/ 2147483647 h 528"/>
                    <a:gd name="T88" fmla="*/ 2147483647 w 690"/>
                    <a:gd name="T89" fmla="*/ 2147483647 h 528"/>
                    <a:gd name="T90" fmla="*/ 2147483647 w 690"/>
                    <a:gd name="T91" fmla="*/ 2147483647 h 528"/>
                    <a:gd name="T92" fmla="*/ 2147483647 w 690"/>
                    <a:gd name="T93" fmla="*/ 2147483647 h 528"/>
                    <a:gd name="T94" fmla="*/ 2147483647 w 690"/>
                    <a:gd name="T95" fmla="*/ 2147483647 h 528"/>
                    <a:gd name="T96" fmla="*/ 2147483647 w 690"/>
                    <a:gd name="T97" fmla="*/ 2147483647 h 528"/>
                    <a:gd name="T98" fmla="*/ 2147483647 w 690"/>
                    <a:gd name="T99" fmla="*/ 2147483647 h 528"/>
                    <a:gd name="T100" fmla="*/ 2147483647 w 690"/>
                    <a:gd name="T101" fmla="*/ 2147483647 h 528"/>
                    <a:gd name="T102" fmla="*/ 2147483647 w 690"/>
                    <a:gd name="T103" fmla="*/ 2147483647 h 528"/>
                    <a:gd name="T104" fmla="*/ 2147483647 w 690"/>
                    <a:gd name="T105" fmla="*/ 2147483647 h 528"/>
                    <a:gd name="T106" fmla="*/ 2147483647 w 690"/>
                    <a:gd name="T107" fmla="*/ 2147483647 h 528"/>
                    <a:gd name="T108" fmla="*/ 2147483647 w 690"/>
                    <a:gd name="T109" fmla="*/ 2147483647 h 528"/>
                    <a:gd name="T110" fmla="*/ 2147483647 w 690"/>
                    <a:gd name="T111" fmla="*/ 2147483647 h 528"/>
                    <a:gd name="T112" fmla="*/ 2147483647 w 690"/>
                    <a:gd name="T113" fmla="*/ 2147483647 h 528"/>
                    <a:gd name="T114" fmla="*/ 0 w 690"/>
                    <a:gd name="T115" fmla="*/ 2147483647 h 5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90"/>
                    <a:gd name="T175" fmla="*/ 0 h 528"/>
                    <a:gd name="T176" fmla="*/ 690 w 690"/>
                    <a:gd name="T177" fmla="*/ 528 h 5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90" h="528">
                      <a:moveTo>
                        <a:pt x="12" y="504"/>
                      </a:moveTo>
                      <a:lnTo>
                        <a:pt x="24" y="510"/>
                      </a:lnTo>
                      <a:lnTo>
                        <a:pt x="30" y="516"/>
                      </a:lnTo>
                      <a:lnTo>
                        <a:pt x="54" y="528"/>
                      </a:lnTo>
                      <a:lnTo>
                        <a:pt x="60" y="528"/>
                      </a:lnTo>
                      <a:lnTo>
                        <a:pt x="78" y="510"/>
                      </a:lnTo>
                      <a:lnTo>
                        <a:pt x="102" y="510"/>
                      </a:lnTo>
                      <a:lnTo>
                        <a:pt x="120" y="516"/>
                      </a:lnTo>
                      <a:lnTo>
                        <a:pt x="144" y="516"/>
                      </a:lnTo>
                      <a:lnTo>
                        <a:pt x="174" y="486"/>
                      </a:lnTo>
                      <a:lnTo>
                        <a:pt x="180" y="474"/>
                      </a:lnTo>
                      <a:lnTo>
                        <a:pt x="222" y="474"/>
                      </a:lnTo>
                      <a:lnTo>
                        <a:pt x="234" y="486"/>
                      </a:lnTo>
                      <a:lnTo>
                        <a:pt x="258" y="498"/>
                      </a:lnTo>
                      <a:lnTo>
                        <a:pt x="264" y="504"/>
                      </a:lnTo>
                      <a:lnTo>
                        <a:pt x="270" y="504"/>
                      </a:lnTo>
                      <a:lnTo>
                        <a:pt x="282" y="492"/>
                      </a:lnTo>
                      <a:lnTo>
                        <a:pt x="294" y="486"/>
                      </a:lnTo>
                      <a:lnTo>
                        <a:pt x="300" y="480"/>
                      </a:lnTo>
                      <a:lnTo>
                        <a:pt x="324" y="480"/>
                      </a:lnTo>
                      <a:lnTo>
                        <a:pt x="354" y="444"/>
                      </a:lnTo>
                      <a:lnTo>
                        <a:pt x="348" y="432"/>
                      </a:lnTo>
                      <a:lnTo>
                        <a:pt x="384" y="402"/>
                      </a:lnTo>
                      <a:lnTo>
                        <a:pt x="378" y="390"/>
                      </a:lnTo>
                      <a:lnTo>
                        <a:pt x="372" y="384"/>
                      </a:lnTo>
                      <a:lnTo>
                        <a:pt x="372" y="360"/>
                      </a:lnTo>
                      <a:lnTo>
                        <a:pt x="378" y="354"/>
                      </a:lnTo>
                      <a:lnTo>
                        <a:pt x="396" y="354"/>
                      </a:lnTo>
                      <a:lnTo>
                        <a:pt x="402" y="342"/>
                      </a:lnTo>
                      <a:lnTo>
                        <a:pt x="402" y="336"/>
                      </a:lnTo>
                      <a:lnTo>
                        <a:pt x="408" y="318"/>
                      </a:lnTo>
                      <a:lnTo>
                        <a:pt x="408" y="264"/>
                      </a:lnTo>
                      <a:lnTo>
                        <a:pt x="414" y="252"/>
                      </a:lnTo>
                      <a:lnTo>
                        <a:pt x="420" y="246"/>
                      </a:lnTo>
                      <a:lnTo>
                        <a:pt x="516" y="246"/>
                      </a:lnTo>
                      <a:lnTo>
                        <a:pt x="540" y="270"/>
                      </a:lnTo>
                      <a:lnTo>
                        <a:pt x="552" y="276"/>
                      </a:lnTo>
                      <a:lnTo>
                        <a:pt x="558" y="282"/>
                      </a:lnTo>
                      <a:lnTo>
                        <a:pt x="576" y="276"/>
                      </a:lnTo>
                      <a:lnTo>
                        <a:pt x="564" y="216"/>
                      </a:lnTo>
                      <a:lnTo>
                        <a:pt x="576" y="222"/>
                      </a:lnTo>
                      <a:lnTo>
                        <a:pt x="582" y="234"/>
                      </a:lnTo>
                      <a:lnTo>
                        <a:pt x="594" y="240"/>
                      </a:lnTo>
                      <a:lnTo>
                        <a:pt x="636" y="240"/>
                      </a:lnTo>
                      <a:lnTo>
                        <a:pt x="630" y="234"/>
                      </a:lnTo>
                      <a:lnTo>
                        <a:pt x="624" y="222"/>
                      </a:lnTo>
                      <a:lnTo>
                        <a:pt x="618" y="216"/>
                      </a:lnTo>
                      <a:lnTo>
                        <a:pt x="606" y="192"/>
                      </a:lnTo>
                      <a:lnTo>
                        <a:pt x="606" y="186"/>
                      </a:lnTo>
                      <a:lnTo>
                        <a:pt x="612" y="180"/>
                      </a:lnTo>
                      <a:lnTo>
                        <a:pt x="624" y="180"/>
                      </a:lnTo>
                      <a:lnTo>
                        <a:pt x="642" y="186"/>
                      </a:lnTo>
                      <a:lnTo>
                        <a:pt x="654" y="186"/>
                      </a:lnTo>
                      <a:lnTo>
                        <a:pt x="660" y="192"/>
                      </a:lnTo>
                      <a:lnTo>
                        <a:pt x="666" y="192"/>
                      </a:lnTo>
                      <a:lnTo>
                        <a:pt x="690" y="162"/>
                      </a:lnTo>
                      <a:lnTo>
                        <a:pt x="666" y="156"/>
                      </a:lnTo>
                      <a:lnTo>
                        <a:pt x="660" y="144"/>
                      </a:lnTo>
                      <a:lnTo>
                        <a:pt x="642" y="126"/>
                      </a:lnTo>
                      <a:lnTo>
                        <a:pt x="630" y="120"/>
                      </a:lnTo>
                      <a:lnTo>
                        <a:pt x="612" y="120"/>
                      </a:lnTo>
                      <a:lnTo>
                        <a:pt x="600" y="114"/>
                      </a:lnTo>
                      <a:lnTo>
                        <a:pt x="588" y="114"/>
                      </a:lnTo>
                      <a:lnTo>
                        <a:pt x="588" y="108"/>
                      </a:lnTo>
                      <a:lnTo>
                        <a:pt x="582" y="102"/>
                      </a:lnTo>
                      <a:lnTo>
                        <a:pt x="582" y="90"/>
                      </a:lnTo>
                      <a:lnTo>
                        <a:pt x="576" y="78"/>
                      </a:lnTo>
                      <a:lnTo>
                        <a:pt x="564" y="66"/>
                      </a:lnTo>
                      <a:lnTo>
                        <a:pt x="540" y="54"/>
                      </a:lnTo>
                      <a:lnTo>
                        <a:pt x="534" y="60"/>
                      </a:lnTo>
                      <a:lnTo>
                        <a:pt x="528" y="60"/>
                      </a:lnTo>
                      <a:lnTo>
                        <a:pt x="510" y="0"/>
                      </a:lnTo>
                      <a:lnTo>
                        <a:pt x="504" y="18"/>
                      </a:lnTo>
                      <a:lnTo>
                        <a:pt x="492" y="0"/>
                      </a:lnTo>
                      <a:lnTo>
                        <a:pt x="480" y="60"/>
                      </a:lnTo>
                      <a:lnTo>
                        <a:pt x="468" y="66"/>
                      </a:lnTo>
                      <a:lnTo>
                        <a:pt x="462" y="66"/>
                      </a:lnTo>
                      <a:lnTo>
                        <a:pt x="450" y="72"/>
                      </a:lnTo>
                      <a:lnTo>
                        <a:pt x="438" y="96"/>
                      </a:lnTo>
                      <a:lnTo>
                        <a:pt x="438" y="114"/>
                      </a:lnTo>
                      <a:lnTo>
                        <a:pt x="408" y="126"/>
                      </a:lnTo>
                      <a:lnTo>
                        <a:pt x="420" y="162"/>
                      </a:lnTo>
                      <a:lnTo>
                        <a:pt x="408" y="162"/>
                      </a:lnTo>
                      <a:lnTo>
                        <a:pt x="390" y="156"/>
                      </a:lnTo>
                      <a:lnTo>
                        <a:pt x="378" y="156"/>
                      </a:lnTo>
                      <a:lnTo>
                        <a:pt x="360" y="150"/>
                      </a:lnTo>
                      <a:lnTo>
                        <a:pt x="354" y="150"/>
                      </a:lnTo>
                      <a:lnTo>
                        <a:pt x="342" y="156"/>
                      </a:lnTo>
                      <a:lnTo>
                        <a:pt x="342" y="168"/>
                      </a:lnTo>
                      <a:lnTo>
                        <a:pt x="336" y="180"/>
                      </a:lnTo>
                      <a:lnTo>
                        <a:pt x="336" y="204"/>
                      </a:lnTo>
                      <a:lnTo>
                        <a:pt x="294" y="246"/>
                      </a:lnTo>
                      <a:lnTo>
                        <a:pt x="294" y="258"/>
                      </a:lnTo>
                      <a:lnTo>
                        <a:pt x="282" y="294"/>
                      </a:lnTo>
                      <a:lnTo>
                        <a:pt x="276" y="306"/>
                      </a:lnTo>
                      <a:lnTo>
                        <a:pt x="264" y="318"/>
                      </a:lnTo>
                      <a:lnTo>
                        <a:pt x="228" y="336"/>
                      </a:lnTo>
                      <a:lnTo>
                        <a:pt x="186" y="342"/>
                      </a:lnTo>
                      <a:lnTo>
                        <a:pt x="162" y="348"/>
                      </a:lnTo>
                      <a:lnTo>
                        <a:pt x="156" y="354"/>
                      </a:lnTo>
                      <a:lnTo>
                        <a:pt x="132" y="366"/>
                      </a:lnTo>
                      <a:lnTo>
                        <a:pt x="114" y="384"/>
                      </a:lnTo>
                      <a:lnTo>
                        <a:pt x="102" y="390"/>
                      </a:lnTo>
                      <a:lnTo>
                        <a:pt x="84" y="426"/>
                      </a:lnTo>
                      <a:lnTo>
                        <a:pt x="102" y="444"/>
                      </a:lnTo>
                      <a:lnTo>
                        <a:pt x="102" y="462"/>
                      </a:lnTo>
                      <a:lnTo>
                        <a:pt x="96" y="474"/>
                      </a:lnTo>
                      <a:lnTo>
                        <a:pt x="84" y="480"/>
                      </a:lnTo>
                      <a:lnTo>
                        <a:pt x="72" y="480"/>
                      </a:lnTo>
                      <a:lnTo>
                        <a:pt x="48" y="468"/>
                      </a:lnTo>
                      <a:lnTo>
                        <a:pt x="42" y="462"/>
                      </a:lnTo>
                      <a:lnTo>
                        <a:pt x="30" y="456"/>
                      </a:lnTo>
                      <a:lnTo>
                        <a:pt x="24" y="456"/>
                      </a:lnTo>
                      <a:lnTo>
                        <a:pt x="12" y="462"/>
                      </a:lnTo>
                      <a:lnTo>
                        <a:pt x="0" y="474"/>
                      </a:lnTo>
                      <a:lnTo>
                        <a:pt x="0" y="492"/>
                      </a:lnTo>
                      <a:lnTo>
                        <a:pt x="12" y="50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1" name="Laos">
                  <a:extLst>
                    <a:ext uri="{FF2B5EF4-FFF2-40B4-BE49-F238E27FC236}">
                      <a16:creationId xmlns:a16="http://schemas.microsoft.com/office/drawing/2014/main" id="{A9648A7D-FEC7-4D7D-9201-B32B17309CF0}"/>
                    </a:ext>
                  </a:extLst>
                </p:cNvPr>
                <p:cNvSpPr>
                  <a:spLocks/>
                </p:cNvSpPr>
                <p:nvPr/>
              </p:nvSpPr>
              <p:spPr bwMode="gray">
                <a:xfrm>
                  <a:off x="6881026" y="2698265"/>
                  <a:ext cx="227592" cy="261786"/>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2" name="Korea, South">
                  <a:extLst>
                    <a:ext uri="{FF2B5EF4-FFF2-40B4-BE49-F238E27FC236}">
                      <a16:creationId xmlns:a16="http://schemas.microsoft.com/office/drawing/2014/main" id="{98C2A701-6D0C-4E8F-82F2-EB1BACF8EACD}"/>
                    </a:ext>
                  </a:extLst>
                </p:cNvPr>
                <p:cNvSpPr>
                  <a:spLocks noEditPoints="1"/>
                </p:cNvSpPr>
                <p:nvPr/>
              </p:nvSpPr>
              <p:spPr bwMode="gray">
                <a:xfrm>
                  <a:off x="7422486" y="2211879"/>
                  <a:ext cx="102640" cy="160641"/>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3" name="Korea, North">
                  <a:extLst>
                    <a:ext uri="{FF2B5EF4-FFF2-40B4-BE49-F238E27FC236}">
                      <a16:creationId xmlns:a16="http://schemas.microsoft.com/office/drawing/2014/main" id="{995F48C5-8CC5-48BA-AE35-E175D5698EBA}"/>
                    </a:ext>
                  </a:extLst>
                </p:cNvPr>
                <p:cNvSpPr>
                  <a:spLocks/>
                </p:cNvSpPr>
                <p:nvPr/>
              </p:nvSpPr>
              <p:spPr bwMode="gray">
                <a:xfrm>
                  <a:off x="7336210" y="2079500"/>
                  <a:ext cx="123466" cy="157666"/>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4" name="Japan">
                  <a:extLst>
                    <a:ext uri="{FF2B5EF4-FFF2-40B4-BE49-F238E27FC236}">
                      <a16:creationId xmlns:a16="http://schemas.microsoft.com/office/drawing/2014/main" id="{31A49BB2-7435-4544-8890-DCB9C5E7FCD2}"/>
                    </a:ext>
                  </a:extLst>
                </p:cNvPr>
                <p:cNvSpPr>
                  <a:spLocks noEditPoints="1"/>
                </p:cNvSpPr>
                <p:nvPr/>
              </p:nvSpPr>
              <p:spPr bwMode="gray">
                <a:xfrm>
                  <a:off x="7480501" y="2002154"/>
                  <a:ext cx="330231" cy="644052"/>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5" name="Indonesia">
                  <a:extLst>
                    <a:ext uri="{FF2B5EF4-FFF2-40B4-BE49-F238E27FC236}">
                      <a16:creationId xmlns:a16="http://schemas.microsoft.com/office/drawing/2014/main" id="{CFF67D71-90B6-4DF7-9451-07B71D7C1E25}"/>
                    </a:ext>
                  </a:extLst>
                </p:cNvPr>
                <p:cNvSpPr>
                  <a:spLocks noEditPoints="1"/>
                </p:cNvSpPr>
                <p:nvPr/>
              </p:nvSpPr>
              <p:spPr bwMode="gray">
                <a:xfrm>
                  <a:off x="6791775" y="3209937"/>
                  <a:ext cx="1231673" cy="490848"/>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6" name="India">
                  <a:extLst>
                    <a:ext uri="{FF2B5EF4-FFF2-40B4-BE49-F238E27FC236}">
                      <a16:creationId xmlns:a16="http://schemas.microsoft.com/office/drawing/2014/main" id="{837A1D1C-04DD-4175-B274-F99194C2CC62}"/>
                    </a:ext>
                  </a:extLst>
                </p:cNvPr>
                <p:cNvSpPr>
                  <a:spLocks noEditPoints="1"/>
                </p:cNvSpPr>
                <p:nvPr/>
              </p:nvSpPr>
              <p:spPr bwMode="gray">
                <a:xfrm>
                  <a:off x="6037598" y="2287738"/>
                  <a:ext cx="737814" cy="889476"/>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37" name="East Timor">
                  <a:extLst>
                    <a:ext uri="{FF2B5EF4-FFF2-40B4-BE49-F238E27FC236}">
                      <a16:creationId xmlns:a16="http://schemas.microsoft.com/office/drawing/2014/main" id="{FFC793C0-F70A-4711-827A-917237608212}"/>
                    </a:ext>
                  </a:extLst>
                </p:cNvPr>
                <p:cNvSpPr>
                  <a:spLocks noEditPoints="1"/>
                </p:cNvSpPr>
                <p:nvPr/>
              </p:nvSpPr>
              <p:spPr bwMode="gray">
                <a:xfrm>
                  <a:off x="7557852" y="3632364"/>
                  <a:ext cx="93715" cy="44623"/>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8" name="China">
                  <a:extLst>
                    <a:ext uri="{FF2B5EF4-FFF2-40B4-BE49-F238E27FC236}">
                      <a16:creationId xmlns:a16="http://schemas.microsoft.com/office/drawing/2014/main" id="{1334A50B-4021-4C94-88A6-008A30CA6917}"/>
                    </a:ext>
                  </a:extLst>
                </p:cNvPr>
                <p:cNvSpPr>
                  <a:spLocks noEditPoints="1"/>
                </p:cNvSpPr>
                <p:nvPr/>
              </p:nvSpPr>
              <p:spPr bwMode="gray">
                <a:xfrm>
                  <a:off x="6089662" y="1762679"/>
                  <a:ext cx="1378938" cy="1064992"/>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9" name="Cambodia">
                  <a:extLst>
                    <a:ext uri="{FF2B5EF4-FFF2-40B4-BE49-F238E27FC236}">
                      <a16:creationId xmlns:a16="http://schemas.microsoft.com/office/drawing/2014/main" id="{F7132ECF-9C57-4F40-8CFA-11BD6F48EC6B}"/>
                    </a:ext>
                  </a:extLst>
                </p:cNvPr>
                <p:cNvSpPr>
                  <a:spLocks/>
                </p:cNvSpPr>
                <p:nvPr/>
              </p:nvSpPr>
              <p:spPr bwMode="gray">
                <a:xfrm>
                  <a:off x="6968791" y="2940715"/>
                  <a:ext cx="144291" cy="126431"/>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40" name="Venezuela">
                  <a:extLst>
                    <a:ext uri="{FF2B5EF4-FFF2-40B4-BE49-F238E27FC236}">
                      <a16:creationId xmlns:a16="http://schemas.microsoft.com/office/drawing/2014/main" id="{4D770339-3B28-43D2-BFB8-C0FABD82BDD6}"/>
                    </a:ext>
                  </a:extLst>
                </p:cNvPr>
                <p:cNvSpPr>
                  <a:spLocks noEditPoints="1"/>
                </p:cNvSpPr>
                <p:nvPr/>
              </p:nvSpPr>
              <p:spPr bwMode="gray">
                <a:xfrm>
                  <a:off x="2278615" y="3012111"/>
                  <a:ext cx="359981" cy="351031"/>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1" name="Peru">
                  <a:extLst>
                    <a:ext uri="{FF2B5EF4-FFF2-40B4-BE49-F238E27FC236}">
                      <a16:creationId xmlns:a16="http://schemas.microsoft.com/office/drawing/2014/main" id="{9814DF96-8CF8-4B1B-9967-FD8B6B08735B}"/>
                    </a:ext>
                  </a:extLst>
                </p:cNvPr>
                <p:cNvSpPr>
                  <a:spLocks/>
                </p:cNvSpPr>
                <p:nvPr/>
              </p:nvSpPr>
              <p:spPr bwMode="gray">
                <a:xfrm>
                  <a:off x="2056973" y="3380990"/>
                  <a:ext cx="355519" cy="562244"/>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2" name="Guyane (French Guiana)">
                  <a:extLst>
                    <a:ext uri="{FF2B5EF4-FFF2-40B4-BE49-F238E27FC236}">
                      <a16:creationId xmlns:a16="http://schemas.microsoft.com/office/drawing/2014/main" id="{E32E2AED-3963-4A30-A337-D9E1AD1F8667}"/>
                    </a:ext>
                  </a:extLst>
                </p:cNvPr>
                <p:cNvSpPr>
                  <a:spLocks/>
                </p:cNvSpPr>
                <p:nvPr/>
              </p:nvSpPr>
              <p:spPr bwMode="gray">
                <a:xfrm>
                  <a:off x="2772474" y="3206963"/>
                  <a:ext cx="77352" cy="111556"/>
                </a:xfrm>
                <a:custGeom>
                  <a:avLst/>
                  <a:gdLst>
                    <a:gd name="T0" fmla="*/ 2147483647 w 52"/>
                    <a:gd name="T1" fmla="*/ 2147483647 h 76"/>
                    <a:gd name="T2" fmla="*/ 2147483647 w 52"/>
                    <a:gd name="T3" fmla="*/ 2147483647 h 76"/>
                    <a:gd name="T4" fmla="*/ 2147483647 w 52"/>
                    <a:gd name="T5" fmla="*/ 2147483647 h 76"/>
                    <a:gd name="T6" fmla="*/ 2147483647 w 52"/>
                    <a:gd name="T7" fmla="*/ 2147483647 h 76"/>
                    <a:gd name="T8" fmla="*/ 2147483647 w 52"/>
                    <a:gd name="T9" fmla="*/ 2147483647 h 76"/>
                    <a:gd name="T10" fmla="*/ 2147483647 w 52"/>
                    <a:gd name="T11" fmla="*/ 2147483647 h 76"/>
                    <a:gd name="T12" fmla="*/ 2147483647 w 52"/>
                    <a:gd name="T13" fmla="*/ 2147483647 h 76"/>
                    <a:gd name="T14" fmla="*/ 2147483647 w 52"/>
                    <a:gd name="T15" fmla="*/ 2147483647 h 76"/>
                    <a:gd name="T16" fmla="*/ 2147483647 w 52"/>
                    <a:gd name="T17" fmla="*/ 2147483647 h 76"/>
                    <a:gd name="T18" fmla="*/ 2147483647 w 52"/>
                    <a:gd name="T19" fmla="*/ 2147483647 h 76"/>
                    <a:gd name="T20" fmla="*/ 2147483647 w 52"/>
                    <a:gd name="T21" fmla="*/ 2147483647 h 76"/>
                    <a:gd name="T22" fmla="*/ 2147483647 w 52"/>
                    <a:gd name="T23" fmla="*/ 0 h 76"/>
                    <a:gd name="T24" fmla="*/ 2147483647 w 52"/>
                    <a:gd name="T25" fmla="*/ 2147483647 h 76"/>
                    <a:gd name="T26" fmla="*/ 2147483647 w 52"/>
                    <a:gd name="T27" fmla="*/ 2147483647 h 76"/>
                    <a:gd name="T28" fmla="*/ 2147483647 w 52"/>
                    <a:gd name="T29" fmla="*/ 2147483647 h 76"/>
                    <a:gd name="T30" fmla="*/ 2147483647 w 52"/>
                    <a:gd name="T31" fmla="*/ 2147483647 h 76"/>
                    <a:gd name="T32" fmla="*/ 2147483647 w 52"/>
                    <a:gd name="T33" fmla="*/ 2147483647 h 76"/>
                    <a:gd name="T34" fmla="*/ 2147483647 w 52"/>
                    <a:gd name="T35" fmla="*/ 2147483647 h 76"/>
                    <a:gd name="T36" fmla="*/ 2147483647 w 52"/>
                    <a:gd name="T37" fmla="*/ 2147483647 h 76"/>
                    <a:gd name="T38" fmla="*/ 2147483647 w 52"/>
                    <a:gd name="T39" fmla="*/ 2147483647 h 76"/>
                    <a:gd name="T40" fmla="*/ 2147483647 w 52"/>
                    <a:gd name="T41" fmla="*/ 2147483647 h 76"/>
                    <a:gd name="T42" fmla="*/ 2147483647 w 52"/>
                    <a:gd name="T43" fmla="*/ 2147483647 h 76"/>
                    <a:gd name="T44" fmla="*/ 2147483647 w 52"/>
                    <a:gd name="T45" fmla="*/ 2147483647 h 76"/>
                    <a:gd name="T46" fmla="*/ 2147483647 w 52"/>
                    <a:gd name="T47" fmla="*/ 2147483647 h 76"/>
                    <a:gd name="T48" fmla="*/ 2147483647 w 52"/>
                    <a:gd name="T49" fmla="*/ 2147483647 h 76"/>
                    <a:gd name="T50" fmla="*/ 2147483647 w 52"/>
                    <a:gd name="T51" fmla="*/ 2147483647 h 76"/>
                    <a:gd name="T52" fmla="*/ 2147483647 w 52"/>
                    <a:gd name="T53" fmla="*/ 2147483647 h 76"/>
                    <a:gd name="T54" fmla="*/ 2147483647 w 52"/>
                    <a:gd name="T55" fmla="*/ 2147483647 h 76"/>
                    <a:gd name="T56" fmla="*/ 2147483647 w 52"/>
                    <a:gd name="T57" fmla="*/ 2147483647 h 76"/>
                    <a:gd name="T58" fmla="*/ 2147483647 w 52"/>
                    <a:gd name="T59" fmla="*/ 2147483647 h 76"/>
                    <a:gd name="T60" fmla="*/ 2147483647 w 52"/>
                    <a:gd name="T61" fmla="*/ 2147483647 h 76"/>
                    <a:gd name="T62" fmla="*/ 2147483647 w 52"/>
                    <a:gd name="T63" fmla="*/ 2147483647 h 76"/>
                    <a:gd name="T64" fmla="*/ 0 w 52"/>
                    <a:gd name="T65" fmla="*/ 2147483647 h 76"/>
                    <a:gd name="T66" fmla="*/ 0 w 52"/>
                    <a:gd name="T67" fmla="*/ 2147483647 h 76"/>
                    <a:gd name="T68" fmla="*/ 2147483647 w 52"/>
                    <a:gd name="T69" fmla="*/ 2147483647 h 76"/>
                    <a:gd name="T70" fmla="*/ 2147483647 w 52"/>
                    <a:gd name="T71" fmla="*/ 2147483647 h 76"/>
                    <a:gd name="T72" fmla="*/ 2147483647 w 52"/>
                    <a:gd name="T73" fmla="*/ 2147483647 h 76"/>
                    <a:gd name="T74" fmla="*/ 2147483647 w 52"/>
                    <a:gd name="T75" fmla="*/ 2147483647 h 76"/>
                    <a:gd name="T76" fmla="*/ 2147483647 w 52"/>
                    <a:gd name="T77" fmla="*/ 2147483647 h 76"/>
                    <a:gd name="T78" fmla="*/ 2147483647 w 52"/>
                    <a:gd name="T79" fmla="*/ 2147483647 h 76"/>
                    <a:gd name="T80" fmla="*/ 2147483647 w 52"/>
                    <a:gd name="T81" fmla="*/ 2147483647 h 76"/>
                    <a:gd name="T82" fmla="*/ 2147483647 w 52"/>
                    <a:gd name="T83" fmla="*/ 2147483647 h 76"/>
                    <a:gd name="T84" fmla="*/ 2147483647 w 52"/>
                    <a:gd name="T85" fmla="*/ 2147483647 h 76"/>
                    <a:gd name="T86" fmla="*/ 2147483647 w 52"/>
                    <a:gd name="T87" fmla="*/ 2147483647 h 76"/>
                    <a:gd name="T88" fmla="*/ 2147483647 w 52"/>
                    <a:gd name="T89" fmla="*/ 2147483647 h 76"/>
                    <a:gd name="T90" fmla="*/ 2147483647 w 52"/>
                    <a:gd name="T91" fmla="*/ 2147483647 h 76"/>
                    <a:gd name="T92" fmla="*/ 2147483647 w 52"/>
                    <a:gd name="T93" fmla="*/ 2147483647 h 76"/>
                    <a:gd name="T94" fmla="*/ 2147483647 w 52"/>
                    <a:gd name="T95" fmla="*/ 2147483647 h 76"/>
                    <a:gd name="T96" fmla="*/ 2147483647 w 52"/>
                    <a:gd name="T97" fmla="*/ 2147483647 h 76"/>
                    <a:gd name="T98" fmla="*/ 2147483647 w 52"/>
                    <a:gd name="T99" fmla="*/ 2147483647 h 76"/>
                    <a:gd name="T100" fmla="*/ 2147483647 w 52"/>
                    <a:gd name="T101" fmla="*/ 2147483647 h 76"/>
                    <a:gd name="T102" fmla="*/ 2147483647 w 52"/>
                    <a:gd name="T103" fmla="*/ 2147483647 h 76"/>
                    <a:gd name="T104" fmla="*/ 2147483647 w 52"/>
                    <a:gd name="T105" fmla="*/ 2147483647 h 76"/>
                    <a:gd name="T106" fmla="*/ 2147483647 w 52"/>
                    <a:gd name="T107" fmla="*/ 2147483647 h 76"/>
                    <a:gd name="T108" fmla="*/ 2147483647 w 52"/>
                    <a:gd name="T109" fmla="*/ 2147483647 h 76"/>
                    <a:gd name="T110" fmla="*/ 2147483647 w 52"/>
                    <a:gd name="T111" fmla="*/ 2147483647 h 76"/>
                    <a:gd name="T112" fmla="*/ 2147483647 w 52"/>
                    <a:gd name="T113" fmla="*/ 2147483647 h 76"/>
                    <a:gd name="T114" fmla="*/ 2147483647 w 52"/>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3" name="Ecuador">
                  <a:extLst>
                    <a:ext uri="{FF2B5EF4-FFF2-40B4-BE49-F238E27FC236}">
                      <a16:creationId xmlns:a16="http://schemas.microsoft.com/office/drawing/2014/main" id="{91362B1B-F7EE-4583-9775-E05F7483394D}"/>
                    </a:ext>
                  </a:extLst>
                </p:cNvPr>
                <p:cNvSpPr>
                  <a:spLocks noEditPoints="1"/>
                </p:cNvSpPr>
                <p:nvPr/>
              </p:nvSpPr>
              <p:spPr bwMode="gray">
                <a:xfrm>
                  <a:off x="2061436" y="3333392"/>
                  <a:ext cx="156191" cy="199314"/>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4" name="Colombia">
                  <a:extLst>
                    <a:ext uri="{FF2B5EF4-FFF2-40B4-BE49-F238E27FC236}">
                      <a16:creationId xmlns:a16="http://schemas.microsoft.com/office/drawing/2014/main" id="{6EFF4D2A-B807-4FC1-9836-27F13F5AA418}"/>
                    </a:ext>
                  </a:extLst>
                </p:cNvPr>
                <p:cNvSpPr>
                  <a:spLocks/>
                </p:cNvSpPr>
                <p:nvPr/>
              </p:nvSpPr>
              <p:spPr bwMode="gray">
                <a:xfrm>
                  <a:off x="2116475" y="3003186"/>
                  <a:ext cx="327256" cy="507210"/>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5" name="Brazil">
                  <a:extLst>
                    <a:ext uri="{FF2B5EF4-FFF2-40B4-BE49-F238E27FC236}">
                      <a16:creationId xmlns:a16="http://schemas.microsoft.com/office/drawing/2014/main" id="{6C8B9C51-0A3F-4D00-A42F-249C65FC8CD0}"/>
                    </a:ext>
                  </a:extLst>
                </p:cNvPr>
                <p:cNvSpPr>
                  <a:spLocks noEditPoints="1"/>
                </p:cNvSpPr>
                <p:nvPr/>
              </p:nvSpPr>
              <p:spPr bwMode="gray">
                <a:xfrm>
                  <a:off x="2257790" y="3221837"/>
                  <a:ext cx="1050194" cy="1186960"/>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6" name="Paraguay">
                  <a:extLst>
                    <a:ext uri="{FF2B5EF4-FFF2-40B4-BE49-F238E27FC236}">
                      <a16:creationId xmlns:a16="http://schemas.microsoft.com/office/drawing/2014/main" id="{8E6D8419-4BF0-493A-AE26-598492DB115B}"/>
                    </a:ext>
                  </a:extLst>
                </p:cNvPr>
                <p:cNvSpPr>
                  <a:spLocks/>
                </p:cNvSpPr>
                <p:nvPr/>
              </p:nvSpPr>
              <p:spPr bwMode="gray">
                <a:xfrm>
                  <a:off x="2599920" y="3967034"/>
                  <a:ext cx="226105" cy="255836"/>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47" name="Bolivia">
                  <a:extLst>
                    <a:ext uri="{FF2B5EF4-FFF2-40B4-BE49-F238E27FC236}">
                      <a16:creationId xmlns:a16="http://schemas.microsoft.com/office/drawing/2014/main" id="{03F0E152-AB9D-423B-AB3B-B73B31E8E398}"/>
                    </a:ext>
                  </a:extLst>
                </p:cNvPr>
                <p:cNvSpPr>
                  <a:spLocks/>
                </p:cNvSpPr>
                <p:nvPr/>
              </p:nvSpPr>
              <p:spPr bwMode="gray">
                <a:xfrm>
                  <a:off x="2382741" y="3676987"/>
                  <a:ext cx="336181" cy="400116"/>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48" name="Puerto Rico">
                  <a:extLst>
                    <a:ext uri="{FF2B5EF4-FFF2-40B4-BE49-F238E27FC236}">
                      <a16:creationId xmlns:a16="http://schemas.microsoft.com/office/drawing/2014/main" id="{CEA18C3B-7E18-4C29-A85F-13D6C4D535B6}"/>
                    </a:ext>
                  </a:extLst>
                </p:cNvPr>
                <p:cNvSpPr>
                  <a:spLocks/>
                </p:cNvSpPr>
                <p:nvPr/>
              </p:nvSpPr>
              <p:spPr bwMode="gray">
                <a:xfrm>
                  <a:off x="2467530" y="2823209"/>
                  <a:ext cx="52064" cy="22311"/>
                </a:xfrm>
                <a:custGeom>
                  <a:avLst/>
                  <a:gdLst>
                    <a:gd name="T0" fmla="*/ 2147483647 w 138"/>
                    <a:gd name="T1" fmla="*/ 2147483647 h 60"/>
                    <a:gd name="T2" fmla="*/ 2147483647 w 138"/>
                    <a:gd name="T3" fmla="*/ 2147483647 h 60"/>
                    <a:gd name="T4" fmla="*/ 2147483647 w 138"/>
                    <a:gd name="T5" fmla="*/ 0 h 60"/>
                    <a:gd name="T6" fmla="*/ 2147483647 w 138"/>
                    <a:gd name="T7" fmla="*/ 0 h 60"/>
                    <a:gd name="T8" fmla="*/ 2147483647 w 138"/>
                    <a:gd name="T9" fmla="*/ 2147483647 h 60"/>
                    <a:gd name="T10" fmla="*/ 0 w 138"/>
                    <a:gd name="T11" fmla="*/ 2147483647 h 60"/>
                    <a:gd name="T12" fmla="*/ 0 w 138"/>
                    <a:gd name="T13" fmla="*/ 2147483647 h 60"/>
                    <a:gd name="T14" fmla="*/ 2147483647 w 138"/>
                    <a:gd name="T15" fmla="*/ 2147483647 h 60"/>
                    <a:gd name="T16" fmla="*/ 2147483647 w 138"/>
                    <a:gd name="T17" fmla="*/ 2147483647 h 60"/>
                    <a:gd name="T18" fmla="*/ 2147483647 w 138"/>
                    <a:gd name="T19" fmla="*/ 2147483647 h 60"/>
                    <a:gd name="T20" fmla="*/ 2147483647 w 138"/>
                    <a:gd name="T21" fmla="*/ 2147483647 h 60"/>
                    <a:gd name="T22" fmla="*/ 2147483647 w 138"/>
                    <a:gd name="T23" fmla="*/ 2147483647 h 60"/>
                    <a:gd name="T24" fmla="*/ 2147483647 w 138"/>
                    <a:gd name="T25" fmla="*/ 2147483647 h 60"/>
                    <a:gd name="T26" fmla="*/ 2147483647 w 138"/>
                    <a:gd name="T27" fmla="*/ 2147483647 h 60"/>
                    <a:gd name="T28" fmla="*/ 2147483647 w 138"/>
                    <a:gd name="T29" fmla="*/ 2147483647 h 60"/>
                    <a:gd name="T30" fmla="*/ 2147483647 w 138"/>
                    <a:gd name="T31" fmla="*/ 2147483647 h 60"/>
                    <a:gd name="T32" fmla="*/ 2147483647 w 138"/>
                    <a:gd name="T33" fmla="*/ 2147483647 h 60"/>
                    <a:gd name="T34" fmla="*/ 2147483647 w 138"/>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60"/>
                    <a:gd name="T56" fmla="*/ 138 w 138"/>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60">
                      <a:moveTo>
                        <a:pt x="84" y="12"/>
                      </a:moveTo>
                      <a:lnTo>
                        <a:pt x="72" y="12"/>
                      </a:lnTo>
                      <a:lnTo>
                        <a:pt x="36" y="0"/>
                      </a:lnTo>
                      <a:lnTo>
                        <a:pt x="12" y="0"/>
                      </a:lnTo>
                      <a:lnTo>
                        <a:pt x="6" y="12"/>
                      </a:lnTo>
                      <a:lnTo>
                        <a:pt x="0" y="18"/>
                      </a:lnTo>
                      <a:lnTo>
                        <a:pt x="0" y="48"/>
                      </a:lnTo>
                      <a:lnTo>
                        <a:pt x="36" y="60"/>
                      </a:lnTo>
                      <a:lnTo>
                        <a:pt x="48" y="48"/>
                      </a:lnTo>
                      <a:lnTo>
                        <a:pt x="102" y="48"/>
                      </a:lnTo>
                      <a:lnTo>
                        <a:pt x="120" y="36"/>
                      </a:lnTo>
                      <a:lnTo>
                        <a:pt x="132" y="30"/>
                      </a:lnTo>
                      <a:lnTo>
                        <a:pt x="138" y="18"/>
                      </a:lnTo>
                      <a:lnTo>
                        <a:pt x="138" y="12"/>
                      </a:lnTo>
                      <a:lnTo>
                        <a:pt x="132" y="6"/>
                      </a:lnTo>
                      <a:lnTo>
                        <a:pt x="114" y="6"/>
                      </a:lnTo>
                      <a:lnTo>
                        <a:pt x="102" y="12"/>
                      </a:lnTo>
                      <a:lnTo>
                        <a:pt x="84" y="1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49" name="Panama">
                  <a:extLst>
                    <a:ext uri="{FF2B5EF4-FFF2-40B4-BE49-F238E27FC236}">
                      <a16:creationId xmlns:a16="http://schemas.microsoft.com/office/drawing/2014/main" id="{BF423B6F-59F3-47BC-84C2-1285AD67CBD2}"/>
                    </a:ext>
                  </a:extLst>
                </p:cNvPr>
                <p:cNvSpPr>
                  <a:spLocks/>
                </p:cNvSpPr>
                <p:nvPr/>
              </p:nvSpPr>
              <p:spPr bwMode="gray">
                <a:xfrm>
                  <a:off x="2019784" y="3090945"/>
                  <a:ext cx="153216" cy="72884"/>
                </a:xfrm>
                <a:custGeom>
                  <a:avLst/>
                  <a:gdLst>
                    <a:gd name="T0" fmla="*/ 2147483647 w 408"/>
                    <a:gd name="T1" fmla="*/ 2147483647 h 198"/>
                    <a:gd name="T2" fmla="*/ 2147483647 w 408"/>
                    <a:gd name="T3" fmla="*/ 2147483647 h 198"/>
                    <a:gd name="T4" fmla="*/ 2147483647 w 408"/>
                    <a:gd name="T5" fmla="*/ 2147483647 h 198"/>
                    <a:gd name="T6" fmla="*/ 2147483647 w 408"/>
                    <a:gd name="T7" fmla="*/ 2147483647 h 198"/>
                    <a:gd name="T8" fmla="*/ 2147483647 w 408"/>
                    <a:gd name="T9" fmla="*/ 2147483647 h 198"/>
                    <a:gd name="T10" fmla="*/ 2147483647 w 408"/>
                    <a:gd name="T11" fmla="*/ 2147483647 h 198"/>
                    <a:gd name="T12" fmla="*/ 2147483647 w 408"/>
                    <a:gd name="T13" fmla="*/ 2147483647 h 198"/>
                    <a:gd name="T14" fmla="*/ 2147483647 w 408"/>
                    <a:gd name="T15" fmla="*/ 2147483647 h 198"/>
                    <a:gd name="T16" fmla="*/ 2147483647 w 408"/>
                    <a:gd name="T17" fmla="*/ 2147483647 h 198"/>
                    <a:gd name="T18" fmla="*/ 2147483647 w 408"/>
                    <a:gd name="T19" fmla="*/ 2147483647 h 198"/>
                    <a:gd name="T20" fmla="*/ 2147483647 w 408"/>
                    <a:gd name="T21" fmla="*/ 2147483647 h 198"/>
                    <a:gd name="T22" fmla="*/ 2147483647 w 408"/>
                    <a:gd name="T23" fmla="*/ 2147483647 h 198"/>
                    <a:gd name="T24" fmla="*/ 2147483647 w 408"/>
                    <a:gd name="T25" fmla="*/ 2147483647 h 198"/>
                    <a:gd name="T26" fmla="*/ 2147483647 w 408"/>
                    <a:gd name="T27" fmla="*/ 2147483647 h 198"/>
                    <a:gd name="T28" fmla="*/ 2147483647 w 408"/>
                    <a:gd name="T29" fmla="*/ 2147483647 h 198"/>
                    <a:gd name="T30" fmla="*/ 2147483647 w 408"/>
                    <a:gd name="T31" fmla="*/ 2147483647 h 198"/>
                    <a:gd name="T32" fmla="*/ 2147483647 w 408"/>
                    <a:gd name="T33" fmla="*/ 0 h 198"/>
                    <a:gd name="T34" fmla="*/ 2147483647 w 408"/>
                    <a:gd name="T35" fmla="*/ 2147483647 h 198"/>
                    <a:gd name="T36" fmla="*/ 2147483647 w 408"/>
                    <a:gd name="T37" fmla="*/ 2147483647 h 198"/>
                    <a:gd name="T38" fmla="*/ 2147483647 w 408"/>
                    <a:gd name="T39" fmla="*/ 2147483647 h 198"/>
                    <a:gd name="T40" fmla="*/ 2147483647 w 408"/>
                    <a:gd name="T41" fmla="*/ 2147483647 h 198"/>
                    <a:gd name="T42" fmla="*/ 2147483647 w 408"/>
                    <a:gd name="T43" fmla="*/ 2147483647 h 198"/>
                    <a:gd name="T44" fmla="*/ 2147483647 w 408"/>
                    <a:gd name="T45" fmla="*/ 2147483647 h 198"/>
                    <a:gd name="T46" fmla="*/ 2147483647 w 408"/>
                    <a:gd name="T47" fmla="*/ 2147483647 h 198"/>
                    <a:gd name="T48" fmla="*/ 2147483647 w 408"/>
                    <a:gd name="T49" fmla="*/ 2147483647 h 198"/>
                    <a:gd name="T50" fmla="*/ 2147483647 w 408"/>
                    <a:gd name="T51" fmla="*/ 2147483647 h 198"/>
                    <a:gd name="T52" fmla="*/ 2147483647 w 408"/>
                    <a:gd name="T53" fmla="*/ 2147483647 h 198"/>
                    <a:gd name="T54" fmla="*/ 2147483647 w 408"/>
                    <a:gd name="T55" fmla="*/ 2147483647 h 198"/>
                    <a:gd name="T56" fmla="*/ 0 w 408"/>
                    <a:gd name="T57" fmla="*/ 2147483647 h 198"/>
                    <a:gd name="T58" fmla="*/ 2147483647 w 408"/>
                    <a:gd name="T59" fmla="*/ 2147483647 h 198"/>
                    <a:gd name="T60" fmla="*/ 2147483647 w 408"/>
                    <a:gd name="T61" fmla="*/ 2147483647 h 198"/>
                    <a:gd name="T62" fmla="*/ 2147483647 w 408"/>
                    <a:gd name="T63" fmla="*/ 2147483647 h 198"/>
                    <a:gd name="T64" fmla="*/ 0 w 408"/>
                    <a:gd name="T65" fmla="*/ 2147483647 h 198"/>
                    <a:gd name="T66" fmla="*/ 2147483647 w 408"/>
                    <a:gd name="T67" fmla="*/ 2147483647 h 198"/>
                    <a:gd name="T68" fmla="*/ 2147483647 w 408"/>
                    <a:gd name="T69" fmla="*/ 2147483647 h 198"/>
                    <a:gd name="T70" fmla="*/ 2147483647 w 408"/>
                    <a:gd name="T71" fmla="*/ 2147483647 h 198"/>
                    <a:gd name="T72" fmla="*/ 2147483647 w 408"/>
                    <a:gd name="T73" fmla="*/ 2147483647 h 198"/>
                    <a:gd name="T74" fmla="*/ 2147483647 w 408"/>
                    <a:gd name="T75" fmla="*/ 2147483647 h 198"/>
                    <a:gd name="T76" fmla="*/ 2147483647 w 408"/>
                    <a:gd name="T77" fmla="*/ 2147483647 h 198"/>
                    <a:gd name="T78" fmla="*/ 2147483647 w 408"/>
                    <a:gd name="T79" fmla="*/ 2147483647 h 198"/>
                    <a:gd name="T80" fmla="*/ 2147483647 w 408"/>
                    <a:gd name="T81" fmla="*/ 2147483647 h 198"/>
                    <a:gd name="T82" fmla="*/ 2147483647 w 408"/>
                    <a:gd name="T83" fmla="*/ 2147483647 h 198"/>
                    <a:gd name="T84" fmla="*/ 2147483647 w 408"/>
                    <a:gd name="T85" fmla="*/ 2147483647 h 198"/>
                    <a:gd name="T86" fmla="*/ 2147483647 w 408"/>
                    <a:gd name="T87" fmla="*/ 2147483647 h 198"/>
                    <a:gd name="T88" fmla="*/ 2147483647 w 408"/>
                    <a:gd name="T89" fmla="*/ 2147483647 h 198"/>
                    <a:gd name="T90" fmla="*/ 2147483647 w 408"/>
                    <a:gd name="T91" fmla="*/ 2147483647 h 198"/>
                    <a:gd name="T92" fmla="*/ 2147483647 w 408"/>
                    <a:gd name="T93" fmla="*/ 2147483647 h 198"/>
                    <a:gd name="T94" fmla="*/ 2147483647 w 408"/>
                    <a:gd name="T95" fmla="*/ 2147483647 h 198"/>
                    <a:gd name="T96" fmla="*/ 2147483647 w 408"/>
                    <a:gd name="T97" fmla="*/ 2147483647 h 198"/>
                    <a:gd name="T98" fmla="*/ 2147483647 w 408"/>
                    <a:gd name="T99" fmla="*/ 2147483647 h 198"/>
                    <a:gd name="T100" fmla="*/ 2147483647 w 408"/>
                    <a:gd name="T101" fmla="*/ 2147483647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8"/>
                    <a:gd name="T154" fmla="*/ 0 h 198"/>
                    <a:gd name="T155" fmla="*/ 408 w 408"/>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8" h="198">
                      <a:moveTo>
                        <a:pt x="306" y="66"/>
                      </a:moveTo>
                      <a:lnTo>
                        <a:pt x="318" y="78"/>
                      </a:lnTo>
                      <a:lnTo>
                        <a:pt x="324" y="90"/>
                      </a:lnTo>
                      <a:lnTo>
                        <a:pt x="330" y="96"/>
                      </a:lnTo>
                      <a:lnTo>
                        <a:pt x="342" y="90"/>
                      </a:lnTo>
                      <a:lnTo>
                        <a:pt x="372" y="120"/>
                      </a:lnTo>
                      <a:lnTo>
                        <a:pt x="342" y="102"/>
                      </a:lnTo>
                      <a:lnTo>
                        <a:pt x="342" y="120"/>
                      </a:lnTo>
                      <a:lnTo>
                        <a:pt x="336" y="132"/>
                      </a:lnTo>
                      <a:lnTo>
                        <a:pt x="336" y="162"/>
                      </a:lnTo>
                      <a:lnTo>
                        <a:pt x="342" y="168"/>
                      </a:lnTo>
                      <a:lnTo>
                        <a:pt x="348" y="180"/>
                      </a:lnTo>
                      <a:lnTo>
                        <a:pt x="354" y="186"/>
                      </a:lnTo>
                      <a:lnTo>
                        <a:pt x="360" y="186"/>
                      </a:lnTo>
                      <a:lnTo>
                        <a:pt x="372" y="156"/>
                      </a:lnTo>
                      <a:lnTo>
                        <a:pt x="378" y="162"/>
                      </a:lnTo>
                      <a:lnTo>
                        <a:pt x="390" y="168"/>
                      </a:lnTo>
                      <a:lnTo>
                        <a:pt x="396" y="162"/>
                      </a:lnTo>
                      <a:lnTo>
                        <a:pt x="408" y="138"/>
                      </a:lnTo>
                      <a:lnTo>
                        <a:pt x="408" y="126"/>
                      </a:lnTo>
                      <a:lnTo>
                        <a:pt x="396" y="120"/>
                      </a:lnTo>
                      <a:lnTo>
                        <a:pt x="390" y="108"/>
                      </a:lnTo>
                      <a:lnTo>
                        <a:pt x="390" y="90"/>
                      </a:lnTo>
                      <a:lnTo>
                        <a:pt x="396" y="84"/>
                      </a:lnTo>
                      <a:lnTo>
                        <a:pt x="372" y="66"/>
                      </a:lnTo>
                      <a:lnTo>
                        <a:pt x="372" y="60"/>
                      </a:lnTo>
                      <a:lnTo>
                        <a:pt x="366" y="54"/>
                      </a:lnTo>
                      <a:lnTo>
                        <a:pt x="366" y="42"/>
                      </a:lnTo>
                      <a:lnTo>
                        <a:pt x="360" y="30"/>
                      </a:lnTo>
                      <a:lnTo>
                        <a:pt x="348" y="24"/>
                      </a:lnTo>
                      <a:lnTo>
                        <a:pt x="330" y="18"/>
                      </a:lnTo>
                      <a:lnTo>
                        <a:pt x="288" y="18"/>
                      </a:lnTo>
                      <a:lnTo>
                        <a:pt x="282" y="0"/>
                      </a:lnTo>
                      <a:lnTo>
                        <a:pt x="246" y="0"/>
                      </a:lnTo>
                      <a:lnTo>
                        <a:pt x="234" y="6"/>
                      </a:lnTo>
                      <a:lnTo>
                        <a:pt x="228" y="12"/>
                      </a:lnTo>
                      <a:lnTo>
                        <a:pt x="222" y="24"/>
                      </a:lnTo>
                      <a:lnTo>
                        <a:pt x="210" y="36"/>
                      </a:lnTo>
                      <a:lnTo>
                        <a:pt x="204" y="36"/>
                      </a:lnTo>
                      <a:lnTo>
                        <a:pt x="198" y="30"/>
                      </a:lnTo>
                      <a:lnTo>
                        <a:pt x="192" y="30"/>
                      </a:lnTo>
                      <a:lnTo>
                        <a:pt x="168" y="42"/>
                      </a:lnTo>
                      <a:lnTo>
                        <a:pt x="144" y="66"/>
                      </a:lnTo>
                      <a:lnTo>
                        <a:pt x="132" y="72"/>
                      </a:lnTo>
                      <a:lnTo>
                        <a:pt x="120" y="72"/>
                      </a:lnTo>
                      <a:lnTo>
                        <a:pt x="114" y="66"/>
                      </a:lnTo>
                      <a:lnTo>
                        <a:pt x="102" y="60"/>
                      </a:lnTo>
                      <a:lnTo>
                        <a:pt x="90" y="42"/>
                      </a:lnTo>
                      <a:lnTo>
                        <a:pt x="78" y="54"/>
                      </a:lnTo>
                      <a:lnTo>
                        <a:pt x="60" y="54"/>
                      </a:lnTo>
                      <a:lnTo>
                        <a:pt x="48" y="42"/>
                      </a:lnTo>
                      <a:lnTo>
                        <a:pt x="48" y="18"/>
                      </a:lnTo>
                      <a:lnTo>
                        <a:pt x="36" y="6"/>
                      </a:lnTo>
                      <a:lnTo>
                        <a:pt x="24" y="6"/>
                      </a:lnTo>
                      <a:lnTo>
                        <a:pt x="18" y="12"/>
                      </a:lnTo>
                      <a:lnTo>
                        <a:pt x="6" y="12"/>
                      </a:lnTo>
                      <a:lnTo>
                        <a:pt x="0" y="18"/>
                      </a:lnTo>
                      <a:lnTo>
                        <a:pt x="0" y="36"/>
                      </a:lnTo>
                      <a:lnTo>
                        <a:pt x="6" y="42"/>
                      </a:lnTo>
                      <a:lnTo>
                        <a:pt x="6" y="48"/>
                      </a:lnTo>
                      <a:lnTo>
                        <a:pt x="24" y="48"/>
                      </a:lnTo>
                      <a:lnTo>
                        <a:pt x="30" y="54"/>
                      </a:lnTo>
                      <a:lnTo>
                        <a:pt x="12" y="72"/>
                      </a:lnTo>
                      <a:lnTo>
                        <a:pt x="6" y="72"/>
                      </a:lnTo>
                      <a:lnTo>
                        <a:pt x="6" y="96"/>
                      </a:lnTo>
                      <a:lnTo>
                        <a:pt x="0" y="102"/>
                      </a:lnTo>
                      <a:lnTo>
                        <a:pt x="6" y="108"/>
                      </a:lnTo>
                      <a:lnTo>
                        <a:pt x="48" y="102"/>
                      </a:lnTo>
                      <a:lnTo>
                        <a:pt x="60" y="120"/>
                      </a:lnTo>
                      <a:lnTo>
                        <a:pt x="90" y="114"/>
                      </a:lnTo>
                      <a:lnTo>
                        <a:pt x="90" y="126"/>
                      </a:lnTo>
                      <a:lnTo>
                        <a:pt x="84" y="132"/>
                      </a:lnTo>
                      <a:lnTo>
                        <a:pt x="84" y="150"/>
                      </a:lnTo>
                      <a:lnTo>
                        <a:pt x="90" y="156"/>
                      </a:lnTo>
                      <a:lnTo>
                        <a:pt x="108" y="156"/>
                      </a:lnTo>
                      <a:lnTo>
                        <a:pt x="114" y="150"/>
                      </a:lnTo>
                      <a:lnTo>
                        <a:pt x="120" y="150"/>
                      </a:lnTo>
                      <a:lnTo>
                        <a:pt x="120" y="132"/>
                      </a:lnTo>
                      <a:lnTo>
                        <a:pt x="138" y="126"/>
                      </a:lnTo>
                      <a:lnTo>
                        <a:pt x="138" y="150"/>
                      </a:lnTo>
                      <a:lnTo>
                        <a:pt x="144" y="168"/>
                      </a:lnTo>
                      <a:lnTo>
                        <a:pt x="144" y="180"/>
                      </a:lnTo>
                      <a:lnTo>
                        <a:pt x="150" y="192"/>
                      </a:lnTo>
                      <a:lnTo>
                        <a:pt x="156" y="198"/>
                      </a:lnTo>
                      <a:lnTo>
                        <a:pt x="162" y="198"/>
                      </a:lnTo>
                      <a:lnTo>
                        <a:pt x="180" y="192"/>
                      </a:lnTo>
                      <a:lnTo>
                        <a:pt x="198" y="174"/>
                      </a:lnTo>
                      <a:lnTo>
                        <a:pt x="204" y="174"/>
                      </a:lnTo>
                      <a:lnTo>
                        <a:pt x="198" y="168"/>
                      </a:lnTo>
                      <a:lnTo>
                        <a:pt x="186" y="162"/>
                      </a:lnTo>
                      <a:lnTo>
                        <a:pt x="180" y="150"/>
                      </a:lnTo>
                      <a:lnTo>
                        <a:pt x="174" y="144"/>
                      </a:lnTo>
                      <a:lnTo>
                        <a:pt x="168" y="132"/>
                      </a:lnTo>
                      <a:lnTo>
                        <a:pt x="162" y="126"/>
                      </a:lnTo>
                      <a:lnTo>
                        <a:pt x="186" y="102"/>
                      </a:lnTo>
                      <a:lnTo>
                        <a:pt x="222" y="84"/>
                      </a:lnTo>
                      <a:lnTo>
                        <a:pt x="228" y="72"/>
                      </a:lnTo>
                      <a:lnTo>
                        <a:pt x="246" y="54"/>
                      </a:lnTo>
                      <a:lnTo>
                        <a:pt x="258" y="48"/>
                      </a:lnTo>
                      <a:lnTo>
                        <a:pt x="276" y="54"/>
                      </a:lnTo>
                      <a:lnTo>
                        <a:pt x="288" y="60"/>
                      </a:lnTo>
                      <a:lnTo>
                        <a:pt x="306" y="6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0" name="Nicaragua">
                  <a:extLst>
                    <a:ext uri="{FF2B5EF4-FFF2-40B4-BE49-F238E27FC236}">
                      <a16:creationId xmlns:a16="http://schemas.microsoft.com/office/drawing/2014/main" id="{B891BF84-3996-4DFA-B4D5-1FA822A96F9A}"/>
                    </a:ext>
                  </a:extLst>
                </p:cNvPr>
                <p:cNvSpPr>
                  <a:spLocks/>
                </p:cNvSpPr>
                <p:nvPr/>
              </p:nvSpPr>
              <p:spPr bwMode="gray">
                <a:xfrm>
                  <a:off x="1905245" y="2931790"/>
                  <a:ext cx="123466" cy="124943"/>
                </a:xfrm>
                <a:custGeom>
                  <a:avLst/>
                  <a:gdLst>
                    <a:gd name="T0" fmla="*/ 2147483647 w 324"/>
                    <a:gd name="T1" fmla="*/ 2147483647 h 330"/>
                    <a:gd name="T2" fmla="*/ 2147483647 w 324"/>
                    <a:gd name="T3" fmla="*/ 0 h 330"/>
                    <a:gd name="T4" fmla="*/ 2147483647 w 324"/>
                    <a:gd name="T5" fmla="*/ 2147483647 h 330"/>
                    <a:gd name="T6" fmla="*/ 2147483647 w 324"/>
                    <a:gd name="T7" fmla="*/ 2147483647 h 330"/>
                    <a:gd name="T8" fmla="*/ 2147483647 w 324"/>
                    <a:gd name="T9" fmla="*/ 0 h 330"/>
                    <a:gd name="T10" fmla="*/ 2147483647 w 324"/>
                    <a:gd name="T11" fmla="*/ 2147483647 h 330"/>
                    <a:gd name="T12" fmla="*/ 2147483647 w 324"/>
                    <a:gd name="T13" fmla="*/ 2147483647 h 330"/>
                    <a:gd name="T14" fmla="*/ 2147483647 w 324"/>
                    <a:gd name="T15" fmla="*/ 2147483647 h 330"/>
                    <a:gd name="T16" fmla="*/ 2147483647 w 324"/>
                    <a:gd name="T17" fmla="*/ 2147483647 h 330"/>
                    <a:gd name="T18" fmla="*/ 2147483647 w 324"/>
                    <a:gd name="T19" fmla="*/ 2147483647 h 330"/>
                    <a:gd name="T20" fmla="*/ 2147483647 w 324"/>
                    <a:gd name="T21" fmla="*/ 2147483647 h 330"/>
                    <a:gd name="T22" fmla="*/ 2147483647 w 324"/>
                    <a:gd name="T23" fmla="*/ 2147483647 h 330"/>
                    <a:gd name="T24" fmla="*/ 2147483647 w 324"/>
                    <a:gd name="T25" fmla="*/ 2147483647 h 330"/>
                    <a:gd name="T26" fmla="*/ 2147483647 w 324"/>
                    <a:gd name="T27" fmla="*/ 2147483647 h 330"/>
                    <a:gd name="T28" fmla="*/ 2147483647 w 324"/>
                    <a:gd name="T29" fmla="*/ 2147483647 h 330"/>
                    <a:gd name="T30" fmla="*/ 2147483647 w 324"/>
                    <a:gd name="T31" fmla="*/ 2147483647 h 330"/>
                    <a:gd name="T32" fmla="*/ 2147483647 w 324"/>
                    <a:gd name="T33" fmla="*/ 2147483647 h 330"/>
                    <a:gd name="T34" fmla="*/ 2147483647 w 324"/>
                    <a:gd name="T35" fmla="*/ 2147483647 h 330"/>
                    <a:gd name="T36" fmla="*/ 2147483647 w 324"/>
                    <a:gd name="T37" fmla="*/ 2147483647 h 330"/>
                    <a:gd name="T38" fmla="*/ 2147483647 w 324"/>
                    <a:gd name="T39" fmla="*/ 2147483647 h 330"/>
                    <a:gd name="T40" fmla="*/ 2147483647 w 324"/>
                    <a:gd name="T41" fmla="*/ 2147483647 h 330"/>
                    <a:gd name="T42" fmla="*/ 2147483647 w 324"/>
                    <a:gd name="T43" fmla="*/ 2147483647 h 330"/>
                    <a:gd name="T44" fmla="*/ 2147483647 w 324"/>
                    <a:gd name="T45" fmla="*/ 2147483647 h 330"/>
                    <a:gd name="T46" fmla="*/ 2147483647 w 324"/>
                    <a:gd name="T47" fmla="*/ 2147483647 h 330"/>
                    <a:gd name="T48" fmla="*/ 2147483647 w 324"/>
                    <a:gd name="T49" fmla="*/ 2147483647 h 330"/>
                    <a:gd name="T50" fmla="*/ 2147483647 w 324"/>
                    <a:gd name="T51" fmla="*/ 2147483647 h 330"/>
                    <a:gd name="T52" fmla="*/ 2147483647 w 324"/>
                    <a:gd name="T53" fmla="*/ 2147483647 h 330"/>
                    <a:gd name="T54" fmla="*/ 2147483647 w 324"/>
                    <a:gd name="T55" fmla="*/ 2147483647 h 330"/>
                    <a:gd name="T56" fmla="*/ 2147483647 w 324"/>
                    <a:gd name="T57" fmla="*/ 2147483647 h 330"/>
                    <a:gd name="T58" fmla="*/ 2147483647 w 324"/>
                    <a:gd name="T59" fmla="*/ 2147483647 h 330"/>
                    <a:gd name="T60" fmla="*/ 2147483647 w 324"/>
                    <a:gd name="T61" fmla="*/ 2147483647 h 330"/>
                    <a:gd name="T62" fmla="*/ 2147483647 w 324"/>
                    <a:gd name="T63" fmla="*/ 2147483647 h 330"/>
                    <a:gd name="T64" fmla="*/ 2147483647 w 324"/>
                    <a:gd name="T65" fmla="*/ 2147483647 h 330"/>
                    <a:gd name="T66" fmla="*/ 2147483647 w 324"/>
                    <a:gd name="T67" fmla="*/ 2147483647 h 330"/>
                    <a:gd name="T68" fmla="*/ 2147483647 w 324"/>
                    <a:gd name="T69" fmla="*/ 2147483647 h 330"/>
                    <a:gd name="T70" fmla="*/ 2147483647 w 324"/>
                    <a:gd name="T71" fmla="*/ 2147483647 h 330"/>
                    <a:gd name="T72" fmla="*/ 2147483647 w 324"/>
                    <a:gd name="T73" fmla="*/ 2147483647 h 330"/>
                    <a:gd name="T74" fmla="*/ 2147483647 w 324"/>
                    <a:gd name="T75" fmla="*/ 2147483647 h 330"/>
                    <a:gd name="T76" fmla="*/ 2147483647 w 324"/>
                    <a:gd name="T77" fmla="*/ 2147483647 h 330"/>
                    <a:gd name="T78" fmla="*/ 2147483647 w 324"/>
                    <a:gd name="T79" fmla="*/ 2147483647 h 330"/>
                    <a:gd name="T80" fmla="*/ 2147483647 w 324"/>
                    <a:gd name="T81" fmla="*/ 2147483647 h 3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4"/>
                    <a:gd name="T124" fmla="*/ 0 h 330"/>
                    <a:gd name="T125" fmla="*/ 324 w 324"/>
                    <a:gd name="T126" fmla="*/ 330 h 3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4" h="330">
                      <a:moveTo>
                        <a:pt x="324" y="18"/>
                      </a:moveTo>
                      <a:lnTo>
                        <a:pt x="318" y="12"/>
                      </a:lnTo>
                      <a:lnTo>
                        <a:pt x="318" y="6"/>
                      </a:lnTo>
                      <a:lnTo>
                        <a:pt x="312" y="0"/>
                      </a:lnTo>
                      <a:lnTo>
                        <a:pt x="264" y="0"/>
                      </a:lnTo>
                      <a:lnTo>
                        <a:pt x="264" y="6"/>
                      </a:lnTo>
                      <a:lnTo>
                        <a:pt x="252" y="18"/>
                      </a:lnTo>
                      <a:lnTo>
                        <a:pt x="240" y="18"/>
                      </a:lnTo>
                      <a:lnTo>
                        <a:pt x="222" y="0"/>
                      </a:lnTo>
                      <a:lnTo>
                        <a:pt x="210" y="0"/>
                      </a:lnTo>
                      <a:lnTo>
                        <a:pt x="198" y="12"/>
                      </a:lnTo>
                      <a:lnTo>
                        <a:pt x="198" y="30"/>
                      </a:lnTo>
                      <a:lnTo>
                        <a:pt x="180" y="30"/>
                      </a:lnTo>
                      <a:lnTo>
                        <a:pt x="168" y="54"/>
                      </a:lnTo>
                      <a:lnTo>
                        <a:pt x="144" y="78"/>
                      </a:lnTo>
                      <a:lnTo>
                        <a:pt x="126" y="78"/>
                      </a:lnTo>
                      <a:lnTo>
                        <a:pt x="120" y="72"/>
                      </a:lnTo>
                      <a:lnTo>
                        <a:pt x="120" y="66"/>
                      </a:lnTo>
                      <a:lnTo>
                        <a:pt x="108" y="66"/>
                      </a:lnTo>
                      <a:lnTo>
                        <a:pt x="102" y="72"/>
                      </a:lnTo>
                      <a:lnTo>
                        <a:pt x="96" y="84"/>
                      </a:lnTo>
                      <a:lnTo>
                        <a:pt x="60" y="84"/>
                      </a:lnTo>
                      <a:lnTo>
                        <a:pt x="54" y="90"/>
                      </a:lnTo>
                      <a:lnTo>
                        <a:pt x="54" y="102"/>
                      </a:lnTo>
                      <a:lnTo>
                        <a:pt x="60" y="108"/>
                      </a:lnTo>
                      <a:lnTo>
                        <a:pt x="60" y="120"/>
                      </a:lnTo>
                      <a:lnTo>
                        <a:pt x="66" y="126"/>
                      </a:lnTo>
                      <a:lnTo>
                        <a:pt x="48" y="126"/>
                      </a:lnTo>
                      <a:lnTo>
                        <a:pt x="48" y="144"/>
                      </a:lnTo>
                      <a:lnTo>
                        <a:pt x="36" y="150"/>
                      </a:lnTo>
                      <a:lnTo>
                        <a:pt x="0" y="150"/>
                      </a:lnTo>
                      <a:lnTo>
                        <a:pt x="48" y="204"/>
                      </a:lnTo>
                      <a:lnTo>
                        <a:pt x="48" y="210"/>
                      </a:lnTo>
                      <a:lnTo>
                        <a:pt x="54" y="216"/>
                      </a:lnTo>
                      <a:lnTo>
                        <a:pt x="54" y="228"/>
                      </a:lnTo>
                      <a:lnTo>
                        <a:pt x="66" y="252"/>
                      </a:lnTo>
                      <a:lnTo>
                        <a:pt x="72" y="258"/>
                      </a:lnTo>
                      <a:lnTo>
                        <a:pt x="96" y="270"/>
                      </a:lnTo>
                      <a:lnTo>
                        <a:pt x="108" y="282"/>
                      </a:lnTo>
                      <a:lnTo>
                        <a:pt x="114" y="294"/>
                      </a:lnTo>
                      <a:lnTo>
                        <a:pt x="138" y="294"/>
                      </a:lnTo>
                      <a:lnTo>
                        <a:pt x="132" y="294"/>
                      </a:lnTo>
                      <a:lnTo>
                        <a:pt x="120" y="282"/>
                      </a:lnTo>
                      <a:lnTo>
                        <a:pt x="120" y="276"/>
                      </a:lnTo>
                      <a:lnTo>
                        <a:pt x="126" y="270"/>
                      </a:lnTo>
                      <a:lnTo>
                        <a:pt x="138" y="270"/>
                      </a:lnTo>
                      <a:lnTo>
                        <a:pt x="138" y="264"/>
                      </a:lnTo>
                      <a:lnTo>
                        <a:pt x="132" y="258"/>
                      </a:lnTo>
                      <a:lnTo>
                        <a:pt x="126" y="258"/>
                      </a:lnTo>
                      <a:lnTo>
                        <a:pt x="120" y="264"/>
                      </a:lnTo>
                      <a:lnTo>
                        <a:pt x="114" y="264"/>
                      </a:lnTo>
                      <a:lnTo>
                        <a:pt x="114" y="222"/>
                      </a:lnTo>
                      <a:lnTo>
                        <a:pt x="120" y="222"/>
                      </a:lnTo>
                      <a:lnTo>
                        <a:pt x="132" y="228"/>
                      </a:lnTo>
                      <a:lnTo>
                        <a:pt x="144" y="240"/>
                      </a:lnTo>
                      <a:lnTo>
                        <a:pt x="156" y="246"/>
                      </a:lnTo>
                      <a:lnTo>
                        <a:pt x="180" y="270"/>
                      </a:lnTo>
                      <a:lnTo>
                        <a:pt x="192" y="306"/>
                      </a:lnTo>
                      <a:lnTo>
                        <a:pt x="210" y="306"/>
                      </a:lnTo>
                      <a:lnTo>
                        <a:pt x="216" y="312"/>
                      </a:lnTo>
                      <a:lnTo>
                        <a:pt x="222" y="312"/>
                      </a:lnTo>
                      <a:lnTo>
                        <a:pt x="222" y="318"/>
                      </a:lnTo>
                      <a:lnTo>
                        <a:pt x="234" y="330"/>
                      </a:lnTo>
                      <a:lnTo>
                        <a:pt x="270" y="330"/>
                      </a:lnTo>
                      <a:lnTo>
                        <a:pt x="270" y="324"/>
                      </a:lnTo>
                      <a:lnTo>
                        <a:pt x="258" y="312"/>
                      </a:lnTo>
                      <a:lnTo>
                        <a:pt x="252" y="300"/>
                      </a:lnTo>
                      <a:lnTo>
                        <a:pt x="252" y="276"/>
                      </a:lnTo>
                      <a:lnTo>
                        <a:pt x="264" y="264"/>
                      </a:lnTo>
                      <a:lnTo>
                        <a:pt x="270" y="264"/>
                      </a:lnTo>
                      <a:lnTo>
                        <a:pt x="270" y="246"/>
                      </a:lnTo>
                      <a:lnTo>
                        <a:pt x="264" y="234"/>
                      </a:lnTo>
                      <a:lnTo>
                        <a:pt x="264" y="222"/>
                      </a:lnTo>
                      <a:lnTo>
                        <a:pt x="270" y="174"/>
                      </a:lnTo>
                      <a:lnTo>
                        <a:pt x="282" y="192"/>
                      </a:lnTo>
                      <a:lnTo>
                        <a:pt x="288" y="108"/>
                      </a:lnTo>
                      <a:lnTo>
                        <a:pt x="288" y="102"/>
                      </a:lnTo>
                      <a:lnTo>
                        <a:pt x="294" y="96"/>
                      </a:lnTo>
                      <a:lnTo>
                        <a:pt x="306" y="72"/>
                      </a:lnTo>
                      <a:lnTo>
                        <a:pt x="312" y="66"/>
                      </a:lnTo>
                      <a:lnTo>
                        <a:pt x="324" y="42"/>
                      </a:lnTo>
                      <a:lnTo>
                        <a:pt x="324"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1" name="Jamaica">
                  <a:extLst>
                    <a:ext uri="{FF2B5EF4-FFF2-40B4-BE49-F238E27FC236}">
                      <a16:creationId xmlns:a16="http://schemas.microsoft.com/office/drawing/2014/main" id="{BC3033C3-B53B-4F6D-A0AF-79FE3755BD5B}"/>
                    </a:ext>
                  </a:extLst>
                </p:cNvPr>
                <p:cNvSpPr>
                  <a:spLocks/>
                </p:cNvSpPr>
                <p:nvPr/>
              </p:nvSpPr>
              <p:spPr bwMode="gray">
                <a:xfrm>
                  <a:off x="2165562" y="2823209"/>
                  <a:ext cx="58014" cy="19337"/>
                </a:xfrm>
                <a:custGeom>
                  <a:avLst/>
                  <a:gdLst>
                    <a:gd name="T0" fmla="*/ 2147483647 w 156"/>
                    <a:gd name="T1" fmla="*/ 2147483647 h 54"/>
                    <a:gd name="T2" fmla="*/ 2147483647 w 156"/>
                    <a:gd name="T3" fmla="*/ 2147483647 h 54"/>
                    <a:gd name="T4" fmla="*/ 2147483647 w 156"/>
                    <a:gd name="T5" fmla="*/ 2147483647 h 54"/>
                    <a:gd name="T6" fmla="*/ 2147483647 w 156"/>
                    <a:gd name="T7" fmla="*/ 2147483647 h 54"/>
                    <a:gd name="T8" fmla="*/ 2147483647 w 156"/>
                    <a:gd name="T9" fmla="*/ 2147483647 h 54"/>
                    <a:gd name="T10" fmla="*/ 2147483647 w 156"/>
                    <a:gd name="T11" fmla="*/ 2147483647 h 54"/>
                    <a:gd name="T12" fmla="*/ 2147483647 w 156"/>
                    <a:gd name="T13" fmla="*/ 2147483647 h 54"/>
                    <a:gd name="T14" fmla="*/ 2147483647 w 156"/>
                    <a:gd name="T15" fmla="*/ 2147483647 h 54"/>
                    <a:gd name="T16" fmla="*/ 2147483647 w 156"/>
                    <a:gd name="T17" fmla="*/ 0 h 54"/>
                    <a:gd name="T18" fmla="*/ 2147483647 w 156"/>
                    <a:gd name="T19" fmla="*/ 0 h 54"/>
                    <a:gd name="T20" fmla="*/ 2147483647 w 156"/>
                    <a:gd name="T21" fmla="*/ 2147483647 h 54"/>
                    <a:gd name="T22" fmla="*/ 0 w 156"/>
                    <a:gd name="T23" fmla="*/ 2147483647 h 54"/>
                    <a:gd name="T24" fmla="*/ 2147483647 w 156"/>
                    <a:gd name="T25" fmla="*/ 2147483647 h 54"/>
                    <a:gd name="T26" fmla="*/ 2147483647 w 156"/>
                    <a:gd name="T27" fmla="*/ 2147483647 h 54"/>
                    <a:gd name="T28" fmla="*/ 2147483647 w 156"/>
                    <a:gd name="T29" fmla="*/ 2147483647 h 54"/>
                    <a:gd name="T30" fmla="*/ 2147483647 w 156"/>
                    <a:gd name="T31" fmla="*/ 2147483647 h 54"/>
                    <a:gd name="T32" fmla="*/ 2147483647 w 156"/>
                    <a:gd name="T33" fmla="*/ 2147483647 h 54"/>
                    <a:gd name="T34" fmla="*/ 2147483647 w 156"/>
                    <a:gd name="T35" fmla="*/ 2147483647 h 54"/>
                    <a:gd name="T36" fmla="*/ 2147483647 w 156"/>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54"/>
                    <a:gd name="T59" fmla="*/ 156 w 15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54">
                      <a:moveTo>
                        <a:pt x="108" y="54"/>
                      </a:moveTo>
                      <a:lnTo>
                        <a:pt x="114" y="36"/>
                      </a:lnTo>
                      <a:lnTo>
                        <a:pt x="156" y="48"/>
                      </a:lnTo>
                      <a:lnTo>
                        <a:pt x="156" y="42"/>
                      </a:lnTo>
                      <a:lnTo>
                        <a:pt x="150" y="36"/>
                      </a:lnTo>
                      <a:lnTo>
                        <a:pt x="144" y="24"/>
                      </a:lnTo>
                      <a:lnTo>
                        <a:pt x="126" y="6"/>
                      </a:lnTo>
                      <a:lnTo>
                        <a:pt x="84" y="6"/>
                      </a:lnTo>
                      <a:lnTo>
                        <a:pt x="66" y="0"/>
                      </a:lnTo>
                      <a:lnTo>
                        <a:pt x="24" y="0"/>
                      </a:lnTo>
                      <a:lnTo>
                        <a:pt x="12" y="6"/>
                      </a:lnTo>
                      <a:lnTo>
                        <a:pt x="0" y="6"/>
                      </a:lnTo>
                      <a:lnTo>
                        <a:pt x="6" y="18"/>
                      </a:lnTo>
                      <a:lnTo>
                        <a:pt x="18" y="24"/>
                      </a:lnTo>
                      <a:lnTo>
                        <a:pt x="24" y="36"/>
                      </a:lnTo>
                      <a:lnTo>
                        <a:pt x="36" y="42"/>
                      </a:lnTo>
                      <a:lnTo>
                        <a:pt x="60" y="42"/>
                      </a:lnTo>
                      <a:lnTo>
                        <a:pt x="78" y="48"/>
                      </a:lnTo>
                      <a:lnTo>
                        <a:pt x="108" y="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2" name="Honduras">
                  <a:extLst>
                    <a:ext uri="{FF2B5EF4-FFF2-40B4-BE49-F238E27FC236}">
                      <a16:creationId xmlns:a16="http://schemas.microsoft.com/office/drawing/2014/main" id="{5CAE8AEA-9A06-4364-BB7E-94A428D81D2A}"/>
                    </a:ext>
                  </a:extLst>
                </p:cNvPr>
                <p:cNvSpPr>
                  <a:spLocks/>
                </p:cNvSpPr>
                <p:nvPr/>
              </p:nvSpPr>
              <p:spPr bwMode="gray">
                <a:xfrm>
                  <a:off x="1863595" y="2896092"/>
                  <a:ext cx="169578" cy="92220"/>
                </a:xfrm>
                <a:custGeom>
                  <a:avLst/>
                  <a:gdLst>
                    <a:gd name="T0" fmla="*/ 2147483647 w 444"/>
                    <a:gd name="T1" fmla="*/ 2147483647 h 246"/>
                    <a:gd name="T2" fmla="*/ 2147483647 w 444"/>
                    <a:gd name="T3" fmla="*/ 2147483647 h 246"/>
                    <a:gd name="T4" fmla="*/ 2147483647 w 444"/>
                    <a:gd name="T5" fmla="*/ 2147483647 h 246"/>
                    <a:gd name="T6" fmla="*/ 2147483647 w 444"/>
                    <a:gd name="T7" fmla="*/ 2147483647 h 246"/>
                    <a:gd name="T8" fmla="*/ 2147483647 w 444"/>
                    <a:gd name="T9" fmla="*/ 2147483647 h 246"/>
                    <a:gd name="T10" fmla="*/ 2147483647 w 444"/>
                    <a:gd name="T11" fmla="*/ 2147483647 h 246"/>
                    <a:gd name="T12" fmla="*/ 2147483647 w 444"/>
                    <a:gd name="T13" fmla="*/ 2147483647 h 246"/>
                    <a:gd name="T14" fmla="*/ 2147483647 w 444"/>
                    <a:gd name="T15" fmla="*/ 2147483647 h 246"/>
                    <a:gd name="T16" fmla="*/ 2147483647 w 444"/>
                    <a:gd name="T17" fmla="*/ 2147483647 h 246"/>
                    <a:gd name="T18" fmla="*/ 2147483647 w 444"/>
                    <a:gd name="T19" fmla="*/ 2147483647 h 246"/>
                    <a:gd name="T20" fmla="*/ 2147483647 w 444"/>
                    <a:gd name="T21" fmla="*/ 2147483647 h 246"/>
                    <a:gd name="T22" fmla="*/ 2147483647 w 444"/>
                    <a:gd name="T23" fmla="*/ 2147483647 h 246"/>
                    <a:gd name="T24" fmla="*/ 2147483647 w 444"/>
                    <a:gd name="T25" fmla="*/ 2147483647 h 246"/>
                    <a:gd name="T26" fmla="*/ 2147483647 w 444"/>
                    <a:gd name="T27" fmla="*/ 2147483647 h 246"/>
                    <a:gd name="T28" fmla="*/ 2147483647 w 444"/>
                    <a:gd name="T29" fmla="*/ 2147483647 h 246"/>
                    <a:gd name="T30" fmla="*/ 2147483647 w 444"/>
                    <a:gd name="T31" fmla="*/ 2147483647 h 246"/>
                    <a:gd name="T32" fmla="*/ 2147483647 w 444"/>
                    <a:gd name="T33" fmla="*/ 2147483647 h 246"/>
                    <a:gd name="T34" fmla="*/ 2147483647 w 444"/>
                    <a:gd name="T35" fmla="*/ 2147483647 h 246"/>
                    <a:gd name="T36" fmla="*/ 2147483647 w 444"/>
                    <a:gd name="T37" fmla="*/ 2147483647 h 246"/>
                    <a:gd name="T38" fmla="*/ 2147483647 w 444"/>
                    <a:gd name="T39" fmla="*/ 0 h 246"/>
                    <a:gd name="T40" fmla="*/ 2147483647 w 444"/>
                    <a:gd name="T41" fmla="*/ 2147483647 h 246"/>
                    <a:gd name="T42" fmla="*/ 2147483647 w 444"/>
                    <a:gd name="T43" fmla="*/ 2147483647 h 246"/>
                    <a:gd name="T44" fmla="*/ 2147483647 w 444"/>
                    <a:gd name="T45" fmla="*/ 0 h 246"/>
                    <a:gd name="T46" fmla="*/ 2147483647 w 444"/>
                    <a:gd name="T47" fmla="*/ 2147483647 h 246"/>
                    <a:gd name="T48" fmla="*/ 2147483647 w 444"/>
                    <a:gd name="T49" fmla="*/ 2147483647 h 246"/>
                    <a:gd name="T50" fmla="*/ 2147483647 w 444"/>
                    <a:gd name="T51" fmla="*/ 2147483647 h 246"/>
                    <a:gd name="T52" fmla="*/ 2147483647 w 444"/>
                    <a:gd name="T53" fmla="*/ 2147483647 h 246"/>
                    <a:gd name="T54" fmla="*/ 2147483647 w 444"/>
                    <a:gd name="T55" fmla="*/ 2147483647 h 246"/>
                    <a:gd name="T56" fmla="*/ 2147483647 w 444"/>
                    <a:gd name="T57" fmla="*/ 2147483647 h 246"/>
                    <a:gd name="T58" fmla="*/ 2147483647 w 444"/>
                    <a:gd name="T59" fmla="*/ 2147483647 h 246"/>
                    <a:gd name="T60" fmla="*/ 2147483647 w 444"/>
                    <a:gd name="T61" fmla="*/ 0 h 246"/>
                    <a:gd name="T62" fmla="*/ 2147483647 w 444"/>
                    <a:gd name="T63" fmla="*/ 2147483647 h 246"/>
                    <a:gd name="T64" fmla="*/ 2147483647 w 444"/>
                    <a:gd name="T65" fmla="*/ 2147483647 h 246"/>
                    <a:gd name="T66" fmla="*/ 2147483647 w 444"/>
                    <a:gd name="T67" fmla="*/ 2147483647 h 246"/>
                    <a:gd name="T68" fmla="*/ 2147483647 w 444"/>
                    <a:gd name="T69" fmla="*/ 2147483647 h 246"/>
                    <a:gd name="T70" fmla="*/ 2147483647 w 444"/>
                    <a:gd name="T71" fmla="*/ 2147483647 h 246"/>
                    <a:gd name="T72" fmla="*/ 0 w 444"/>
                    <a:gd name="T73" fmla="*/ 2147483647 h 246"/>
                    <a:gd name="T74" fmla="*/ 2147483647 w 444"/>
                    <a:gd name="T75" fmla="*/ 2147483647 h 246"/>
                    <a:gd name="T76" fmla="*/ 2147483647 w 444"/>
                    <a:gd name="T77" fmla="*/ 2147483647 h 246"/>
                    <a:gd name="T78" fmla="*/ 2147483647 w 444"/>
                    <a:gd name="T79" fmla="*/ 2147483647 h 246"/>
                    <a:gd name="T80" fmla="*/ 2147483647 w 444"/>
                    <a:gd name="T81" fmla="*/ 2147483647 h 246"/>
                    <a:gd name="T82" fmla="*/ 2147483647 w 444"/>
                    <a:gd name="T83" fmla="*/ 2147483647 h 246"/>
                    <a:gd name="T84" fmla="*/ 2147483647 w 444"/>
                    <a:gd name="T85" fmla="*/ 2147483647 h 246"/>
                    <a:gd name="T86" fmla="*/ 2147483647 w 444"/>
                    <a:gd name="T87" fmla="*/ 2147483647 h 2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4"/>
                    <a:gd name="T133" fmla="*/ 0 h 246"/>
                    <a:gd name="T134" fmla="*/ 444 w 444"/>
                    <a:gd name="T135" fmla="*/ 246 h 2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4" h="246">
                      <a:moveTo>
                        <a:pt x="156" y="240"/>
                      </a:moveTo>
                      <a:lnTo>
                        <a:pt x="156" y="222"/>
                      </a:lnTo>
                      <a:lnTo>
                        <a:pt x="174" y="222"/>
                      </a:lnTo>
                      <a:lnTo>
                        <a:pt x="168" y="216"/>
                      </a:lnTo>
                      <a:lnTo>
                        <a:pt x="168" y="204"/>
                      </a:lnTo>
                      <a:lnTo>
                        <a:pt x="162" y="198"/>
                      </a:lnTo>
                      <a:lnTo>
                        <a:pt x="162" y="186"/>
                      </a:lnTo>
                      <a:lnTo>
                        <a:pt x="168" y="180"/>
                      </a:lnTo>
                      <a:lnTo>
                        <a:pt x="204" y="180"/>
                      </a:lnTo>
                      <a:lnTo>
                        <a:pt x="210" y="168"/>
                      </a:lnTo>
                      <a:lnTo>
                        <a:pt x="216" y="162"/>
                      </a:lnTo>
                      <a:lnTo>
                        <a:pt x="228" y="162"/>
                      </a:lnTo>
                      <a:lnTo>
                        <a:pt x="228" y="168"/>
                      </a:lnTo>
                      <a:lnTo>
                        <a:pt x="234" y="174"/>
                      </a:lnTo>
                      <a:lnTo>
                        <a:pt x="252" y="174"/>
                      </a:lnTo>
                      <a:lnTo>
                        <a:pt x="276" y="150"/>
                      </a:lnTo>
                      <a:lnTo>
                        <a:pt x="288" y="126"/>
                      </a:lnTo>
                      <a:lnTo>
                        <a:pt x="306" y="126"/>
                      </a:lnTo>
                      <a:lnTo>
                        <a:pt x="306" y="108"/>
                      </a:lnTo>
                      <a:lnTo>
                        <a:pt x="318" y="96"/>
                      </a:lnTo>
                      <a:lnTo>
                        <a:pt x="330" y="96"/>
                      </a:lnTo>
                      <a:lnTo>
                        <a:pt x="348" y="114"/>
                      </a:lnTo>
                      <a:lnTo>
                        <a:pt x="360" y="114"/>
                      </a:lnTo>
                      <a:lnTo>
                        <a:pt x="372" y="102"/>
                      </a:lnTo>
                      <a:lnTo>
                        <a:pt x="372" y="96"/>
                      </a:lnTo>
                      <a:lnTo>
                        <a:pt x="420" y="96"/>
                      </a:lnTo>
                      <a:lnTo>
                        <a:pt x="426" y="90"/>
                      </a:lnTo>
                      <a:lnTo>
                        <a:pt x="432" y="90"/>
                      </a:lnTo>
                      <a:lnTo>
                        <a:pt x="444" y="84"/>
                      </a:lnTo>
                      <a:lnTo>
                        <a:pt x="444" y="78"/>
                      </a:lnTo>
                      <a:lnTo>
                        <a:pt x="426" y="60"/>
                      </a:lnTo>
                      <a:lnTo>
                        <a:pt x="402" y="48"/>
                      </a:lnTo>
                      <a:lnTo>
                        <a:pt x="396" y="48"/>
                      </a:lnTo>
                      <a:lnTo>
                        <a:pt x="390" y="42"/>
                      </a:lnTo>
                      <a:lnTo>
                        <a:pt x="384" y="30"/>
                      </a:lnTo>
                      <a:lnTo>
                        <a:pt x="372" y="24"/>
                      </a:lnTo>
                      <a:lnTo>
                        <a:pt x="366" y="18"/>
                      </a:lnTo>
                      <a:lnTo>
                        <a:pt x="348" y="18"/>
                      </a:lnTo>
                      <a:lnTo>
                        <a:pt x="342" y="6"/>
                      </a:lnTo>
                      <a:lnTo>
                        <a:pt x="336" y="0"/>
                      </a:lnTo>
                      <a:lnTo>
                        <a:pt x="312" y="0"/>
                      </a:lnTo>
                      <a:lnTo>
                        <a:pt x="300" y="6"/>
                      </a:lnTo>
                      <a:lnTo>
                        <a:pt x="294" y="12"/>
                      </a:lnTo>
                      <a:lnTo>
                        <a:pt x="282" y="12"/>
                      </a:lnTo>
                      <a:lnTo>
                        <a:pt x="270" y="0"/>
                      </a:lnTo>
                      <a:lnTo>
                        <a:pt x="252" y="0"/>
                      </a:lnTo>
                      <a:lnTo>
                        <a:pt x="240" y="6"/>
                      </a:lnTo>
                      <a:lnTo>
                        <a:pt x="234" y="18"/>
                      </a:lnTo>
                      <a:lnTo>
                        <a:pt x="222" y="24"/>
                      </a:lnTo>
                      <a:lnTo>
                        <a:pt x="186" y="24"/>
                      </a:lnTo>
                      <a:lnTo>
                        <a:pt x="174" y="18"/>
                      </a:lnTo>
                      <a:lnTo>
                        <a:pt x="168" y="12"/>
                      </a:lnTo>
                      <a:lnTo>
                        <a:pt x="156" y="12"/>
                      </a:lnTo>
                      <a:lnTo>
                        <a:pt x="150" y="18"/>
                      </a:lnTo>
                      <a:lnTo>
                        <a:pt x="144" y="18"/>
                      </a:lnTo>
                      <a:lnTo>
                        <a:pt x="138" y="24"/>
                      </a:lnTo>
                      <a:lnTo>
                        <a:pt x="132" y="24"/>
                      </a:lnTo>
                      <a:lnTo>
                        <a:pt x="132" y="18"/>
                      </a:lnTo>
                      <a:lnTo>
                        <a:pt x="126" y="12"/>
                      </a:lnTo>
                      <a:lnTo>
                        <a:pt x="126" y="6"/>
                      </a:lnTo>
                      <a:lnTo>
                        <a:pt x="120" y="0"/>
                      </a:lnTo>
                      <a:lnTo>
                        <a:pt x="114" y="0"/>
                      </a:lnTo>
                      <a:lnTo>
                        <a:pt x="96" y="18"/>
                      </a:lnTo>
                      <a:lnTo>
                        <a:pt x="90" y="18"/>
                      </a:lnTo>
                      <a:lnTo>
                        <a:pt x="84" y="30"/>
                      </a:lnTo>
                      <a:lnTo>
                        <a:pt x="72" y="36"/>
                      </a:lnTo>
                      <a:lnTo>
                        <a:pt x="60" y="48"/>
                      </a:lnTo>
                      <a:lnTo>
                        <a:pt x="48" y="54"/>
                      </a:lnTo>
                      <a:lnTo>
                        <a:pt x="36" y="66"/>
                      </a:lnTo>
                      <a:lnTo>
                        <a:pt x="24" y="72"/>
                      </a:lnTo>
                      <a:lnTo>
                        <a:pt x="18" y="84"/>
                      </a:lnTo>
                      <a:lnTo>
                        <a:pt x="18" y="102"/>
                      </a:lnTo>
                      <a:lnTo>
                        <a:pt x="12" y="114"/>
                      </a:lnTo>
                      <a:lnTo>
                        <a:pt x="0" y="126"/>
                      </a:lnTo>
                      <a:lnTo>
                        <a:pt x="6" y="138"/>
                      </a:lnTo>
                      <a:lnTo>
                        <a:pt x="18" y="150"/>
                      </a:lnTo>
                      <a:lnTo>
                        <a:pt x="42" y="150"/>
                      </a:lnTo>
                      <a:lnTo>
                        <a:pt x="42" y="168"/>
                      </a:lnTo>
                      <a:lnTo>
                        <a:pt x="48" y="174"/>
                      </a:lnTo>
                      <a:lnTo>
                        <a:pt x="60" y="174"/>
                      </a:lnTo>
                      <a:lnTo>
                        <a:pt x="66" y="168"/>
                      </a:lnTo>
                      <a:lnTo>
                        <a:pt x="102" y="168"/>
                      </a:lnTo>
                      <a:lnTo>
                        <a:pt x="102" y="210"/>
                      </a:lnTo>
                      <a:lnTo>
                        <a:pt x="126" y="222"/>
                      </a:lnTo>
                      <a:lnTo>
                        <a:pt x="132" y="228"/>
                      </a:lnTo>
                      <a:lnTo>
                        <a:pt x="132" y="246"/>
                      </a:lnTo>
                      <a:lnTo>
                        <a:pt x="144" y="246"/>
                      </a:lnTo>
                      <a:lnTo>
                        <a:pt x="156" y="24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3" name="Haiti">
                  <a:extLst>
                    <a:ext uri="{FF2B5EF4-FFF2-40B4-BE49-F238E27FC236}">
                      <a16:creationId xmlns:a16="http://schemas.microsoft.com/office/drawing/2014/main" id="{DA266215-1CD8-4E53-A53B-E3613DA89941}"/>
                    </a:ext>
                  </a:extLst>
                </p:cNvPr>
                <p:cNvSpPr>
                  <a:spLocks/>
                </p:cNvSpPr>
                <p:nvPr/>
              </p:nvSpPr>
              <p:spPr bwMode="gray">
                <a:xfrm>
                  <a:off x="2277127" y="2778586"/>
                  <a:ext cx="74377" cy="58010"/>
                </a:xfrm>
                <a:custGeom>
                  <a:avLst/>
                  <a:gdLst>
                    <a:gd name="T0" fmla="*/ 2147483647 w 198"/>
                    <a:gd name="T1" fmla="*/ 2147483647 h 156"/>
                    <a:gd name="T2" fmla="*/ 2147483647 w 198"/>
                    <a:gd name="T3" fmla="*/ 2147483647 h 156"/>
                    <a:gd name="T4" fmla="*/ 2147483647 w 198"/>
                    <a:gd name="T5" fmla="*/ 2147483647 h 156"/>
                    <a:gd name="T6" fmla="*/ 2147483647 w 198"/>
                    <a:gd name="T7" fmla="*/ 2147483647 h 156"/>
                    <a:gd name="T8" fmla="*/ 2147483647 w 198"/>
                    <a:gd name="T9" fmla="*/ 2147483647 h 156"/>
                    <a:gd name="T10" fmla="*/ 2147483647 w 198"/>
                    <a:gd name="T11" fmla="*/ 2147483647 h 156"/>
                    <a:gd name="T12" fmla="*/ 2147483647 w 198"/>
                    <a:gd name="T13" fmla="*/ 2147483647 h 156"/>
                    <a:gd name="T14" fmla="*/ 2147483647 w 198"/>
                    <a:gd name="T15" fmla="*/ 2147483647 h 156"/>
                    <a:gd name="T16" fmla="*/ 2147483647 w 198"/>
                    <a:gd name="T17" fmla="*/ 2147483647 h 156"/>
                    <a:gd name="T18" fmla="*/ 2147483647 w 198"/>
                    <a:gd name="T19" fmla="*/ 2147483647 h 156"/>
                    <a:gd name="T20" fmla="*/ 2147483647 w 198"/>
                    <a:gd name="T21" fmla="*/ 2147483647 h 156"/>
                    <a:gd name="T22" fmla="*/ 2147483647 w 198"/>
                    <a:gd name="T23" fmla="*/ 2147483647 h 156"/>
                    <a:gd name="T24" fmla="*/ 2147483647 w 198"/>
                    <a:gd name="T25" fmla="*/ 2147483647 h 156"/>
                    <a:gd name="T26" fmla="*/ 2147483647 w 198"/>
                    <a:gd name="T27" fmla="*/ 2147483647 h 156"/>
                    <a:gd name="T28" fmla="*/ 2147483647 w 198"/>
                    <a:gd name="T29" fmla="*/ 2147483647 h 156"/>
                    <a:gd name="T30" fmla="*/ 2147483647 w 198"/>
                    <a:gd name="T31" fmla="*/ 2147483647 h 156"/>
                    <a:gd name="T32" fmla="*/ 2147483647 w 198"/>
                    <a:gd name="T33" fmla="*/ 2147483647 h 156"/>
                    <a:gd name="T34" fmla="*/ 2147483647 w 198"/>
                    <a:gd name="T35" fmla="*/ 0 h 156"/>
                    <a:gd name="T36" fmla="*/ 2147483647 w 198"/>
                    <a:gd name="T37" fmla="*/ 0 h 156"/>
                    <a:gd name="T38" fmla="*/ 2147483647 w 198"/>
                    <a:gd name="T39" fmla="*/ 2147483647 h 156"/>
                    <a:gd name="T40" fmla="*/ 2147483647 w 198"/>
                    <a:gd name="T41" fmla="*/ 2147483647 h 156"/>
                    <a:gd name="T42" fmla="*/ 2147483647 w 198"/>
                    <a:gd name="T43" fmla="*/ 2147483647 h 156"/>
                    <a:gd name="T44" fmla="*/ 2147483647 w 198"/>
                    <a:gd name="T45" fmla="*/ 2147483647 h 156"/>
                    <a:gd name="T46" fmla="*/ 2147483647 w 198"/>
                    <a:gd name="T47" fmla="*/ 2147483647 h 156"/>
                    <a:gd name="T48" fmla="*/ 2147483647 w 198"/>
                    <a:gd name="T49" fmla="*/ 2147483647 h 156"/>
                    <a:gd name="T50" fmla="*/ 2147483647 w 198"/>
                    <a:gd name="T51" fmla="*/ 2147483647 h 156"/>
                    <a:gd name="T52" fmla="*/ 2147483647 w 198"/>
                    <a:gd name="T53" fmla="*/ 2147483647 h 156"/>
                    <a:gd name="T54" fmla="*/ 2147483647 w 198"/>
                    <a:gd name="T55" fmla="*/ 2147483647 h 156"/>
                    <a:gd name="T56" fmla="*/ 2147483647 w 198"/>
                    <a:gd name="T57" fmla="*/ 2147483647 h 156"/>
                    <a:gd name="T58" fmla="*/ 2147483647 w 198"/>
                    <a:gd name="T59" fmla="*/ 2147483647 h 156"/>
                    <a:gd name="T60" fmla="*/ 2147483647 w 198"/>
                    <a:gd name="T61" fmla="*/ 2147483647 h 156"/>
                    <a:gd name="T62" fmla="*/ 2147483647 w 198"/>
                    <a:gd name="T63" fmla="*/ 2147483647 h 156"/>
                    <a:gd name="T64" fmla="*/ 2147483647 w 198"/>
                    <a:gd name="T65" fmla="*/ 2147483647 h 156"/>
                    <a:gd name="T66" fmla="*/ 2147483647 w 198"/>
                    <a:gd name="T67" fmla="*/ 2147483647 h 156"/>
                    <a:gd name="T68" fmla="*/ 2147483647 w 198"/>
                    <a:gd name="T69" fmla="*/ 2147483647 h 156"/>
                    <a:gd name="T70" fmla="*/ 2147483647 w 198"/>
                    <a:gd name="T71" fmla="*/ 2147483647 h 156"/>
                    <a:gd name="T72" fmla="*/ 2147483647 w 198"/>
                    <a:gd name="T73" fmla="*/ 2147483647 h 156"/>
                    <a:gd name="T74" fmla="*/ 2147483647 w 198"/>
                    <a:gd name="T75" fmla="*/ 2147483647 h 156"/>
                    <a:gd name="T76" fmla="*/ 2147483647 w 198"/>
                    <a:gd name="T77" fmla="*/ 2147483647 h 156"/>
                    <a:gd name="T78" fmla="*/ 2147483647 w 198"/>
                    <a:gd name="T79" fmla="*/ 2147483647 h 156"/>
                    <a:gd name="T80" fmla="*/ 2147483647 w 198"/>
                    <a:gd name="T81" fmla="*/ 2147483647 h 156"/>
                    <a:gd name="T82" fmla="*/ 0 w 198"/>
                    <a:gd name="T83" fmla="*/ 2147483647 h 156"/>
                    <a:gd name="T84" fmla="*/ 0 w 198"/>
                    <a:gd name="T85" fmla="*/ 2147483647 h 156"/>
                    <a:gd name="T86" fmla="*/ 2147483647 w 198"/>
                    <a:gd name="T87" fmla="*/ 2147483647 h 156"/>
                    <a:gd name="T88" fmla="*/ 2147483647 w 198"/>
                    <a:gd name="T89" fmla="*/ 2147483647 h 156"/>
                    <a:gd name="T90" fmla="*/ 2147483647 w 198"/>
                    <a:gd name="T91" fmla="*/ 2147483647 h 156"/>
                    <a:gd name="T92" fmla="*/ 2147483647 w 198"/>
                    <a:gd name="T93" fmla="*/ 2147483647 h 156"/>
                    <a:gd name="T94" fmla="*/ 2147483647 w 198"/>
                    <a:gd name="T95" fmla="*/ 2147483647 h 156"/>
                    <a:gd name="T96" fmla="*/ 2147483647 w 198"/>
                    <a:gd name="T97" fmla="*/ 2147483647 h 156"/>
                    <a:gd name="T98" fmla="*/ 2147483647 w 198"/>
                    <a:gd name="T99" fmla="*/ 2147483647 h 156"/>
                    <a:gd name="T100" fmla="*/ 2147483647 w 198"/>
                    <a:gd name="T101" fmla="*/ 2147483647 h 156"/>
                    <a:gd name="T102" fmla="*/ 2147483647 w 198"/>
                    <a:gd name="T103" fmla="*/ 2147483647 h 156"/>
                    <a:gd name="T104" fmla="*/ 2147483647 w 198"/>
                    <a:gd name="T105" fmla="*/ 2147483647 h 156"/>
                    <a:gd name="T106" fmla="*/ 2147483647 w 198"/>
                    <a:gd name="T107" fmla="*/ 2147483647 h 156"/>
                    <a:gd name="T108" fmla="*/ 2147483647 w 198"/>
                    <a:gd name="T109" fmla="*/ 2147483647 h 156"/>
                    <a:gd name="T110" fmla="*/ 2147483647 w 198"/>
                    <a:gd name="T111" fmla="*/ 2147483647 h 156"/>
                    <a:gd name="T112" fmla="*/ 2147483647 w 198"/>
                    <a:gd name="T113" fmla="*/ 2147483647 h 1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8"/>
                    <a:gd name="T172" fmla="*/ 0 h 156"/>
                    <a:gd name="T173" fmla="*/ 198 w 198"/>
                    <a:gd name="T174" fmla="*/ 156 h 1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8" h="156">
                      <a:moveTo>
                        <a:pt x="168" y="114"/>
                      </a:moveTo>
                      <a:lnTo>
                        <a:pt x="168" y="108"/>
                      </a:lnTo>
                      <a:lnTo>
                        <a:pt x="174" y="102"/>
                      </a:lnTo>
                      <a:lnTo>
                        <a:pt x="180" y="90"/>
                      </a:lnTo>
                      <a:lnTo>
                        <a:pt x="180" y="78"/>
                      </a:lnTo>
                      <a:lnTo>
                        <a:pt x="186" y="72"/>
                      </a:lnTo>
                      <a:lnTo>
                        <a:pt x="192" y="60"/>
                      </a:lnTo>
                      <a:lnTo>
                        <a:pt x="198" y="54"/>
                      </a:lnTo>
                      <a:lnTo>
                        <a:pt x="198" y="42"/>
                      </a:lnTo>
                      <a:lnTo>
                        <a:pt x="186" y="6"/>
                      </a:lnTo>
                      <a:lnTo>
                        <a:pt x="180" y="12"/>
                      </a:lnTo>
                      <a:lnTo>
                        <a:pt x="180" y="18"/>
                      </a:lnTo>
                      <a:lnTo>
                        <a:pt x="174" y="18"/>
                      </a:lnTo>
                      <a:lnTo>
                        <a:pt x="168" y="12"/>
                      </a:lnTo>
                      <a:lnTo>
                        <a:pt x="156" y="12"/>
                      </a:lnTo>
                      <a:lnTo>
                        <a:pt x="144" y="6"/>
                      </a:lnTo>
                      <a:lnTo>
                        <a:pt x="126" y="6"/>
                      </a:lnTo>
                      <a:lnTo>
                        <a:pt x="114" y="0"/>
                      </a:lnTo>
                      <a:lnTo>
                        <a:pt x="84" y="0"/>
                      </a:lnTo>
                      <a:lnTo>
                        <a:pt x="72" y="6"/>
                      </a:lnTo>
                      <a:lnTo>
                        <a:pt x="66" y="12"/>
                      </a:lnTo>
                      <a:lnTo>
                        <a:pt x="66" y="18"/>
                      </a:lnTo>
                      <a:lnTo>
                        <a:pt x="72" y="24"/>
                      </a:lnTo>
                      <a:lnTo>
                        <a:pt x="108" y="24"/>
                      </a:lnTo>
                      <a:lnTo>
                        <a:pt x="114" y="30"/>
                      </a:lnTo>
                      <a:lnTo>
                        <a:pt x="120" y="42"/>
                      </a:lnTo>
                      <a:lnTo>
                        <a:pt x="126" y="48"/>
                      </a:lnTo>
                      <a:lnTo>
                        <a:pt x="114" y="54"/>
                      </a:lnTo>
                      <a:lnTo>
                        <a:pt x="108" y="60"/>
                      </a:lnTo>
                      <a:lnTo>
                        <a:pt x="108" y="72"/>
                      </a:lnTo>
                      <a:lnTo>
                        <a:pt x="114" y="84"/>
                      </a:lnTo>
                      <a:lnTo>
                        <a:pt x="114" y="96"/>
                      </a:lnTo>
                      <a:lnTo>
                        <a:pt x="120" y="102"/>
                      </a:lnTo>
                      <a:lnTo>
                        <a:pt x="114" y="108"/>
                      </a:lnTo>
                      <a:lnTo>
                        <a:pt x="96" y="108"/>
                      </a:lnTo>
                      <a:lnTo>
                        <a:pt x="78" y="102"/>
                      </a:lnTo>
                      <a:lnTo>
                        <a:pt x="66" y="102"/>
                      </a:lnTo>
                      <a:lnTo>
                        <a:pt x="54" y="96"/>
                      </a:lnTo>
                      <a:lnTo>
                        <a:pt x="36" y="96"/>
                      </a:lnTo>
                      <a:lnTo>
                        <a:pt x="24" y="102"/>
                      </a:lnTo>
                      <a:lnTo>
                        <a:pt x="6" y="102"/>
                      </a:lnTo>
                      <a:lnTo>
                        <a:pt x="0" y="108"/>
                      </a:lnTo>
                      <a:lnTo>
                        <a:pt x="0" y="114"/>
                      </a:lnTo>
                      <a:lnTo>
                        <a:pt x="6" y="120"/>
                      </a:lnTo>
                      <a:lnTo>
                        <a:pt x="12" y="132"/>
                      </a:lnTo>
                      <a:lnTo>
                        <a:pt x="24" y="138"/>
                      </a:lnTo>
                      <a:lnTo>
                        <a:pt x="30" y="150"/>
                      </a:lnTo>
                      <a:lnTo>
                        <a:pt x="36" y="156"/>
                      </a:lnTo>
                      <a:lnTo>
                        <a:pt x="42" y="156"/>
                      </a:lnTo>
                      <a:lnTo>
                        <a:pt x="48" y="150"/>
                      </a:lnTo>
                      <a:lnTo>
                        <a:pt x="54" y="138"/>
                      </a:lnTo>
                      <a:lnTo>
                        <a:pt x="60" y="132"/>
                      </a:lnTo>
                      <a:lnTo>
                        <a:pt x="138" y="132"/>
                      </a:lnTo>
                      <a:lnTo>
                        <a:pt x="156" y="126"/>
                      </a:lnTo>
                      <a:lnTo>
                        <a:pt x="168" y="126"/>
                      </a:lnTo>
                      <a:lnTo>
                        <a:pt x="180" y="144"/>
                      </a:lnTo>
                      <a:lnTo>
                        <a:pt x="168" y="11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4" name="Guatemala">
                  <a:extLst>
                    <a:ext uri="{FF2B5EF4-FFF2-40B4-BE49-F238E27FC236}">
                      <a16:creationId xmlns:a16="http://schemas.microsoft.com/office/drawing/2014/main" id="{14CDA498-34E4-420F-AB12-02FA23E4C18B}"/>
                    </a:ext>
                  </a:extLst>
                </p:cNvPr>
                <p:cNvSpPr>
                  <a:spLocks/>
                </p:cNvSpPr>
                <p:nvPr/>
              </p:nvSpPr>
              <p:spPr bwMode="gray">
                <a:xfrm>
                  <a:off x="1786243" y="2838083"/>
                  <a:ext cx="111565" cy="126431"/>
                </a:xfrm>
                <a:custGeom>
                  <a:avLst/>
                  <a:gdLst>
                    <a:gd name="T0" fmla="*/ 2147483647 w 300"/>
                    <a:gd name="T1" fmla="*/ 2147483647 h 336"/>
                    <a:gd name="T2" fmla="*/ 2147483647 w 300"/>
                    <a:gd name="T3" fmla="*/ 2147483647 h 336"/>
                    <a:gd name="T4" fmla="*/ 2147483647 w 300"/>
                    <a:gd name="T5" fmla="*/ 2147483647 h 336"/>
                    <a:gd name="T6" fmla="*/ 2147483647 w 300"/>
                    <a:gd name="T7" fmla="*/ 2147483647 h 336"/>
                    <a:gd name="T8" fmla="*/ 2147483647 w 300"/>
                    <a:gd name="T9" fmla="*/ 2147483647 h 336"/>
                    <a:gd name="T10" fmla="*/ 2147483647 w 300"/>
                    <a:gd name="T11" fmla="*/ 0 h 336"/>
                    <a:gd name="T12" fmla="*/ 2147483647 w 300"/>
                    <a:gd name="T13" fmla="*/ 2147483647 h 336"/>
                    <a:gd name="T14" fmla="*/ 2147483647 w 300"/>
                    <a:gd name="T15" fmla="*/ 2147483647 h 336"/>
                    <a:gd name="T16" fmla="*/ 2147483647 w 300"/>
                    <a:gd name="T17" fmla="*/ 2147483647 h 336"/>
                    <a:gd name="T18" fmla="*/ 2147483647 w 300"/>
                    <a:gd name="T19" fmla="*/ 2147483647 h 336"/>
                    <a:gd name="T20" fmla="*/ 2147483647 w 300"/>
                    <a:gd name="T21" fmla="*/ 2147483647 h 336"/>
                    <a:gd name="T22" fmla="*/ 2147483647 w 300"/>
                    <a:gd name="T23" fmla="*/ 2147483647 h 336"/>
                    <a:gd name="T24" fmla="*/ 2147483647 w 300"/>
                    <a:gd name="T25" fmla="*/ 2147483647 h 336"/>
                    <a:gd name="T26" fmla="*/ 2147483647 w 300"/>
                    <a:gd name="T27" fmla="*/ 2147483647 h 336"/>
                    <a:gd name="T28" fmla="*/ 2147483647 w 300"/>
                    <a:gd name="T29" fmla="*/ 2147483647 h 336"/>
                    <a:gd name="T30" fmla="*/ 2147483647 w 300"/>
                    <a:gd name="T31" fmla="*/ 2147483647 h 336"/>
                    <a:gd name="T32" fmla="*/ 2147483647 w 300"/>
                    <a:gd name="T33" fmla="*/ 2147483647 h 336"/>
                    <a:gd name="T34" fmla="*/ 2147483647 w 300"/>
                    <a:gd name="T35" fmla="*/ 2147483647 h 336"/>
                    <a:gd name="T36" fmla="*/ 2147483647 w 300"/>
                    <a:gd name="T37" fmla="*/ 2147483647 h 336"/>
                    <a:gd name="T38" fmla="*/ 2147483647 w 300"/>
                    <a:gd name="T39" fmla="*/ 2147483647 h 336"/>
                    <a:gd name="T40" fmla="*/ 2147483647 w 300"/>
                    <a:gd name="T41" fmla="*/ 2147483647 h 336"/>
                    <a:gd name="T42" fmla="*/ 2147483647 w 300"/>
                    <a:gd name="T43" fmla="*/ 2147483647 h 336"/>
                    <a:gd name="T44" fmla="*/ 2147483647 w 300"/>
                    <a:gd name="T45" fmla="*/ 2147483647 h 336"/>
                    <a:gd name="T46" fmla="*/ 2147483647 w 300"/>
                    <a:gd name="T47" fmla="*/ 2147483647 h 336"/>
                    <a:gd name="T48" fmla="*/ 2147483647 w 300"/>
                    <a:gd name="T49" fmla="*/ 2147483647 h 336"/>
                    <a:gd name="T50" fmla="*/ 2147483647 w 300"/>
                    <a:gd name="T51" fmla="*/ 2147483647 h 336"/>
                    <a:gd name="T52" fmla="*/ 2147483647 w 300"/>
                    <a:gd name="T53" fmla="*/ 2147483647 h 336"/>
                    <a:gd name="T54" fmla="*/ 2147483647 w 300"/>
                    <a:gd name="T55" fmla="*/ 2147483647 h 336"/>
                    <a:gd name="T56" fmla="*/ 2147483647 w 300"/>
                    <a:gd name="T57" fmla="*/ 2147483647 h 336"/>
                    <a:gd name="T58" fmla="*/ 0 w 300"/>
                    <a:gd name="T59" fmla="*/ 2147483647 h 336"/>
                    <a:gd name="T60" fmla="*/ 2147483647 w 300"/>
                    <a:gd name="T61" fmla="*/ 2147483647 h 336"/>
                    <a:gd name="T62" fmla="*/ 2147483647 w 300"/>
                    <a:gd name="T63" fmla="*/ 2147483647 h 336"/>
                    <a:gd name="T64" fmla="*/ 2147483647 w 300"/>
                    <a:gd name="T65" fmla="*/ 2147483647 h 336"/>
                    <a:gd name="T66" fmla="*/ 2147483647 w 300"/>
                    <a:gd name="T67" fmla="*/ 2147483647 h 336"/>
                    <a:gd name="T68" fmla="*/ 2147483647 w 300"/>
                    <a:gd name="T69" fmla="*/ 2147483647 h 336"/>
                    <a:gd name="T70" fmla="*/ 2147483647 w 300"/>
                    <a:gd name="T71" fmla="*/ 2147483647 h 336"/>
                    <a:gd name="T72" fmla="*/ 2147483647 w 300"/>
                    <a:gd name="T73" fmla="*/ 2147483647 h 336"/>
                    <a:gd name="T74" fmla="*/ 2147483647 w 300"/>
                    <a:gd name="T75" fmla="*/ 2147483647 h 336"/>
                    <a:gd name="T76" fmla="*/ 2147483647 w 300"/>
                    <a:gd name="T77" fmla="*/ 2147483647 h 336"/>
                    <a:gd name="T78" fmla="*/ 2147483647 w 300"/>
                    <a:gd name="T79" fmla="*/ 2147483647 h 336"/>
                    <a:gd name="T80" fmla="*/ 2147483647 w 300"/>
                    <a:gd name="T81" fmla="*/ 2147483647 h 336"/>
                    <a:gd name="T82" fmla="*/ 2147483647 w 300"/>
                    <a:gd name="T83" fmla="*/ 2147483647 h 336"/>
                    <a:gd name="T84" fmla="*/ 2147483647 w 300"/>
                    <a:gd name="T85" fmla="*/ 2147483647 h 336"/>
                    <a:gd name="T86" fmla="*/ 2147483647 w 300"/>
                    <a:gd name="T87" fmla="*/ 2147483647 h 336"/>
                    <a:gd name="T88" fmla="*/ 2147483647 w 300"/>
                    <a:gd name="T89" fmla="*/ 2147483647 h 336"/>
                    <a:gd name="T90" fmla="*/ 2147483647 w 300"/>
                    <a:gd name="T91" fmla="*/ 2147483647 h 336"/>
                    <a:gd name="T92" fmla="*/ 2147483647 w 300"/>
                    <a:gd name="T93" fmla="*/ 2147483647 h 336"/>
                    <a:gd name="T94" fmla="*/ 2147483647 w 300"/>
                    <a:gd name="T95" fmla="*/ 2147483647 h 336"/>
                    <a:gd name="T96" fmla="*/ 2147483647 w 300"/>
                    <a:gd name="T97" fmla="*/ 2147483647 h 336"/>
                    <a:gd name="T98" fmla="*/ 2147483647 w 300"/>
                    <a:gd name="T99" fmla="*/ 2147483647 h 336"/>
                    <a:gd name="T100" fmla="*/ 2147483647 w 300"/>
                    <a:gd name="T101" fmla="*/ 2147483647 h 336"/>
                    <a:gd name="T102" fmla="*/ 2147483647 w 300"/>
                    <a:gd name="T103" fmla="*/ 2147483647 h 336"/>
                    <a:gd name="T104" fmla="*/ 2147483647 w 300"/>
                    <a:gd name="T105" fmla="*/ 2147483647 h 336"/>
                    <a:gd name="T106" fmla="*/ 2147483647 w 300"/>
                    <a:gd name="T107" fmla="*/ 2147483647 h 336"/>
                    <a:gd name="T108" fmla="*/ 2147483647 w 300"/>
                    <a:gd name="T109" fmla="*/ 2147483647 h 336"/>
                    <a:gd name="T110" fmla="*/ 2147483647 w 300"/>
                    <a:gd name="T111" fmla="*/ 2147483647 h 336"/>
                    <a:gd name="T112" fmla="*/ 2147483647 w 300"/>
                    <a:gd name="T113" fmla="*/ 2147483647 h 336"/>
                    <a:gd name="T114" fmla="*/ 2147483647 w 300"/>
                    <a:gd name="T115" fmla="*/ 2147483647 h 336"/>
                    <a:gd name="T116" fmla="*/ 2147483647 w 300"/>
                    <a:gd name="T117" fmla="*/ 2147483647 h 336"/>
                    <a:gd name="T118" fmla="*/ 2147483647 w 300"/>
                    <a:gd name="T119" fmla="*/ 2147483647 h 336"/>
                    <a:gd name="T120" fmla="*/ 2147483647 w 300"/>
                    <a:gd name="T121" fmla="*/ 2147483647 h 3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36"/>
                    <a:gd name="T185" fmla="*/ 300 w 300"/>
                    <a:gd name="T186" fmla="*/ 336 h 3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36">
                      <a:moveTo>
                        <a:pt x="288" y="156"/>
                      </a:moveTo>
                      <a:lnTo>
                        <a:pt x="270" y="168"/>
                      </a:lnTo>
                      <a:lnTo>
                        <a:pt x="258" y="162"/>
                      </a:lnTo>
                      <a:lnTo>
                        <a:pt x="228" y="162"/>
                      </a:lnTo>
                      <a:lnTo>
                        <a:pt x="252" y="6"/>
                      </a:lnTo>
                      <a:lnTo>
                        <a:pt x="120" y="0"/>
                      </a:lnTo>
                      <a:lnTo>
                        <a:pt x="120" y="12"/>
                      </a:lnTo>
                      <a:lnTo>
                        <a:pt x="126" y="24"/>
                      </a:lnTo>
                      <a:lnTo>
                        <a:pt x="126" y="48"/>
                      </a:lnTo>
                      <a:lnTo>
                        <a:pt x="120" y="48"/>
                      </a:lnTo>
                      <a:lnTo>
                        <a:pt x="108" y="54"/>
                      </a:lnTo>
                      <a:lnTo>
                        <a:pt x="84" y="54"/>
                      </a:lnTo>
                      <a:lnTo>
                        <a:pt x="96" y="60"/>
                      </a:lnTo>
                      <a:lnTo>
                        <a:pt x="96" y="66"/>
                      </a:lnTo>
                      <a:lnTo>
                        <a:pt x="102" y="78"/>
                      </a:lnTo>
                      <a:lnTo>
                        <a:pt x="108" y="84"/>
                      </a:lnTo>
                      <a:lnTo>
                        <a:pt x="114" y="84"/>
                      </a:lnTo>
                      <a:lnTo>
                        <a:pt x="126" y="90"/>
                      </a:lnTo>
                      <a:lnTo>
                        <a:pt x="132" y="90"/>
                      </a:lnTo>
                      <a:lnTo>
                        <a:pt x="138" y="114"/>
                      </a:lnTo>
                      <a:lnTo>
                        <a:pt x="156" y="114"/>
                      </a:lnTo>
                      <a:lnTo>
                        <a:pt x="156" y="126"/>
                      </a:lnTo>
                      <a:lnTo>
                        <a:pt x="150" y="132"/>
                      </a:lnTo>
                      <a:lnTo>
                        <a:pt x="144" y="132"/>
                      </a:lnTo>
                      <a:lnTo>
                        <a:pt x="144" y="150"/>
                      </a:lnTo>
                      <a:lnTo>
                        <a:pt x="54" y="144"/>
                      </a:lnTo>
                      <a:lnTo>
                        <a:pt x="24" y="192"/>
                      </a:lnTo>
                      <a:lnTo>
                        <a:pt x="24" y="264"/>
                      </a:lnTo>
                      <a:lnTo>
                        <a:pt x="18" y="270"/>
                      </a:lnTo>
                      <a:lnTo>
                        <a:pt x="0" y="270"/>
                      </a:lnTo>
                      <a:lnTo>
                        <a:pt x="6" y="282"/>
                      </a:lnTo>
                      <a:lnTo>
                        <a:pt x="12" y="288"/>
                      </a:lnTo>
                      <a:lnTo>
                        <a:pt x="24" y="288"/>
                      </a:lnTo>
                      <a:lnTo>
                        <a:pt x="42" y="300"/>
                      </a:lnTo>
                      <a:lnTo>
                        <a:pt x="60" y="318"/>
                      </a:lnTo>
                      <a:lnTo>
                        <a:pt x="72" y="324"/>
                      </a:lnTo>
                      <a:lnTo>
                        <a:pt x="120" y="324"/>
                      </a:lnTo>
                      <a:lnTo>
                        <a:pt x="126" y="330"/>
                      </a:lnTo>
                      <a:lnTo>
                        <a:pt x="132" y="330"/>
                      </a:lnTo>
                      <a:lnTo>
                        <a:pt x="138" y="336"/>
                      </a:lnTo>
                      <a:lnTo>
                        <a:pt x="150" y="324"/>
                      </a:lnTo>
                      <a:lnTo>
                        <a:pt x="162" y="318"/>
                      </a:lnTo>
                      <a:lnTo>
                        <a:pt x="168" y="312"/>
                      </a:lnTo>
                      <a:lnTo>
                        <a:pt x="174" y="312"/>
                      </a:lnTo>
                      <a:lnTo>
                        <a:pt x="180" y="300"/>
                      </a:lnTo>
                      <a:lnTo>
                        <a:pt x="186" y="294"/>
                      </a:lnTo>
                      <a:lnTo>
                        <a:pt x="186" y="282"/>
                      </a:lnTo>
                      <a:lnTo>
                        <a:pt x="204" y="282"/>
                      </a:lnTo>
                      <a:lnTo>
                        <a:pt x="210" y="276"/>
                      </a:lnTo>
                      <a:lnTo>
                        <a:pt x="222" y="270"/>
                      </a:lnTo>
                      <a:lnTo>
                        <a:pt x="222" y="264"/>
                      </a:lnTo>
                      <a:lnTo>
                        <a:pt x="228" y="252"/>
                      </a:lnTo>
                      <a:lnTo>
                        <a:pt x="228" y="234"/>
                      </a:lnTo>
                      <a:lnTo>
                        <a:pt x="234" y="222"/>
                      </a:lnTo>
                      <a:lnTo>
                        <a:pt x="246" y="216"/>
                      </a:lnTo>
                      <a:lnTo>
                        <a:pt x="258" y="204"/>
                      </a:lnTo>
                      <a:lnTo>
                        <a:pt x="270" y="198"/>
                      </a:lnTo>
                      <a:lnTo>
                        <a:pt x="282" y="186"/>
                      </a:lnTo>
                      <a:lnTo>
                        <a:pt x="294" y="180"/>
                      </a:lnTo>
                      <a:lnTo>
                        <a:pt x="300" y="168"/>
                      </a:lnTo>
                      <a:lnTo>
                        <a:pt x="288" y="15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5" name="El Salvador">
                  <a:extLst>
                    <a:ext uri="{FF2B5EF4-FFF2-40B4-BE49-F238E27FC236}">
                      <a16:creationId xmlns:a16="http://schemas.microsoft.com/office/drawing/2014/main" id="{F5AAAD13-A52F-483C-A79F-E1E8734E3F34}"/>
                    </a:ext>
                  </a:extLst>
                </p:cNvPr>
                <p:cNvSpPr>
                  <a:spLocks/>
                </p:cNvSpPr>
                <p:nvPr/>
              </p:nvSpPr>
              <p:spPr bwMode="gray">
                <a:xfrm>
                  <a:off x="1838306" y="2943690"/>
                  <a:ext cx="63964" cy="41648"/>
                </a:xfrm>
                <a:custGeom>
                  <a:avLst/>
                  <a:gdLst>
                    <a:gd name="T0" fmla="*/ 2147483647 w 174"/>
                    <a:gd name="T1" fmla="*/ 2147483647 h 114"/>
                    <a:gd name="T2" fmla="*/ 2147483647 w 174"/>
                    <a:gd name="T3" fmla="*/ 2147483647 h 114"/>
                    <a:gd name="T4" fmla="*/ 2147483647 w 174"/>
                    <a:gd name="T5" fmla="*/ 2147483647 h 114"/>
                    <a:gd name="T6" fmla="*/ 2147483647 w 174"/>
                    <a:gd name="T7" fmla="*/ 2147483647 h 114"/>
                    <a:gd name="T8" fmla="*/ 2147483647 w 174"/>
                    <a:gd name="T9" fmla="*/ 2147483647 h 114"/>
                    <a:gd name="T10" fmla="*/ 2147483647 w 174"/>
                    <a:gd name="T11" fmla="*/ 2147483647 h 114"/>
                    <a:gd name="T12" fmla="*/ 2147483647 w 174"/>
                    <a:gd name="T13" fmla="*/ 2147483647 h 114"/>
                    <a:gd name="T14" fmla="*/ 2147483647 w 174"/>
                    <a:gd name="T15" fmla="*/ 2147483647 h 114"/>
                    <a:gd name="T16" fmla="*/ 2147483647 w 174"/>
                    <a:gd name="T17" fmla="*/ 2147483647 h 114"/>
                    <a:gd name="T18" fmla="*/ 2147483647 w 174"/>
                    <a:gd name="T19" fmla="*/ 0 h 114"/>
                    <a:gd name="T20" fmla="*/ 2147483647 w 174"/>
                    <a:gd name="T21" fmla="*/ 2147483647 h 114"/>
                    <a:gd name="T22" fmla="*/ 2147483647 w 174"/>
                    <a:gd name="T23" fmla="*/ 2147483647 h 114"/>
                    <a:gd name="T24" fmla="*/ 2147483647 w 174"/>
                    <a:gd name="T25" fmla="*/ 2147483647 h 114"/>
                    <a:gd name="T26" fmla="*/ 2147483647 w 174"/>
                    <a:gd name="T27" fmla="*/ 2147483647 h 114"/>
                    <a:gd name="T28" fmla="*/ 2147483647 w 174"/>
                    <a:gd name="T29" fmla="*/ 2147483647 h 114"/>
                    <a:gd name="T30" fmla="*/ 2147483647 w 174"/>
                    <a:gd name="T31" fmla="*/ 2147483647 h 114"/>
                    <a:gd name="T32" fmla="*/ 2147483647 w 174"/>
                    <a:gd name="T33" fmla="*/ 2147483647 h 114"/>
                    <a:gd name="T34" fmla="*/ 2147483647 w 174"/>
                    <a:gd name="T35" fmla="*/ 2147483647 h 114"/>
                    <a:gd name="T36" fmla="*/ 0 w 174"/>
                    <a:gd name="T37" fmla="*/ 2147483647 h 114"/>
                    <a:gd name="T38" fmla="*/ 2147483647 w 174"/>
                    <a:gd name="T39" fmla="*/ 2147483647 h 114"/>
                    <a:gd name="T40" fmla="*/ 2147483647 w 174"/>
                    <a:gd name="T41" fmla="*/ 2147483647 h 114"/>
                    <a:gd name="T42" fmla="*/ 2147483647 w 174"/>
                    <a:gd name="T43" fmla="*/ 2147483647 h 114"/>
                    <a:gd name="T44" fmla="*/ 2147483647 w 174"/>
                    <a:gd name="T45" fmla="*/ 2147483647 h 114"/>
                    <a:gd name="T46" fmla="*/ 2147483647 w 174"/>
                    <a:gd name="T47" fmla="*/ 2147483647 h 114"/>
                    <a:gd name="T48" fmla="*/ 2147483647 w 174"/>
                    <a:gd name="T49" fmla="*/ 2147483647 h 114"/>
                    <a:gd name="T50" fmla="*/ 2147483647 w 174"/>
                    <a:gd name="T51" fmla="*/ 2147483647 h 114"/>
                    <a:gd name="T52" fmla="*/ 2147483647 w 174"/>
                    <a:gd name="T53" fmla="*/ 2147483647 h 114"/>
                    <a:gd name="T54" fmla="*/ 2147483647 w 174"/>
                    <a:gd name="T55" fmla="*/ 2147483647 h 114"/>
                    <a:gd name="T56" fmla="*/ 2147483647 w 174"/>
                    <a:gd name="T57" fmla="*/ 2147483647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4"/>
                    <a:gd name="T88" fmla="*/ 0 h 114"/>
                    <a:gd name="T89" fmla="*/ 174 w 174"/>
                    <a:gd name="T90" fmla="*/ 114 h 1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4" h="114">
                      <a:moveTo>
                        <a:pt x="174" y="84"/>
                      </a:moveTo>
                      <a:lnTo>
                        <a:pt x="174" y="42"/>
                      </a:lnTo>
                      <a:lnTo>
                        <a:pt x="138" y="42"/>
                      </a:lnTo>
                      <a:lnTo>
                        <a:pt x="132" y="48"/>
                      </a:lnTo>
                      <a:lnTo>
                        <a:pt x="120" y="48"/>
                      </a:lnTo>
                      <a:lnTo>
                        <a:pt x="114" y="42"/>
                      </a:lnTo>
                      <a:lnTo>
                        <a:pt x="114" y="24"/>
                      </a:lnTo>
                      <a:lnTo>
                        <a:pt x="90" y="24"/>
                      </a:lnTo>
                      <a:lnTo>
                        <a:pt x="78" y="12"/>
                      </a:lnTo>
                      <a:lnTo>
                        <a:pt x="72" y="0"/>
                      </a:lnTo>
                      <a:lnTo>
                        <a:pt x="60" y="6"/>
                      </a:lnTo>
                      <a:lnTo>
                        <a:pt x="48" y="6"/>
                      </a:lnTo>
                      <a:lnTo>
                        <a:pt x="48" y="18"/>
                      </a:lnTo>
                      <a:lnTo>
                        <a:pt x="42" y="24"/>
                      </a:lnTo>
                      <a:lnTo>
                        <a:pt x="36" y="36"/>
                      </a:lnTo>
                      <a:lnTo>
                        <a:pt x="30" y="36"/>
                      </a:lnTo>
                      <a:lnTo>
                        <a:pt x="24" y="42"/>
                      </a:lnTo>
                      <a:lnTo>
                        <a:pt x="12" y="48"/>
                      </a:lnTo>
                      <a:lnTo>
                        <a:pt x="0" y="60"/>
                      </a:lnTo>
                      <a:lnTo>
                        <a:pt x="6" y="66"/>
                      </a:lnTo>
                      <a:lnTo>
                        <a:pt x="18" y="72"/>
                      </a:lnTo>
                      <a:lnTo>
                        <a:pt x="24" y="78"/>
                      </a:lnTo>
                      <a:lnTo>
                        <a:pt x="72" y="78"/>
                      </a:lnTo>
                      <a:lnTo>
                        <a:pt x="96" y="102"/>
                      </a:lnTo>
                      <a:lnTo>
                        <a:pt x="132" y="96"/>
                      </a:lnTo>
                      <a:lnTo>
                        <a:pt x="150" y="114"/>
                      </a:lnTo>
                      <a:lnTo>
                        <a:pt x="168" y="84"/>
                      </a:lnTo>
                      <a:lnTo>
                        <a:pt x="174" y="90"/>
                      </a:lnTo>
                      <a:lnTo>
                        <a:pt x="174" y="8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6" name="Dominican Republic">
                  <a:extLst>
                    <a:ext uri="{FF2B5EF4-FFF2-40B4-BE49-F238E27FC236}">
                      <a16:creationId xmlns:a16="http://schemas.microsoft.com/office/drawing/2014/main" id="{604BEB05-A53C-4CB2-A100-B06E2675129F}"/>
                    </a:ext>
                  </a:extLst>
                </p:cNvPr>
                <p:cNvSpPr>
                  <a:spLocks/>
                </p:cNvSpPr>
                <p:nvPr/>
              </p:nvSpPr>
              <p:spPr bwMode="gray">
                <a:xfrm>
                  <a:off x="2341090" y="2778586"/>
                  <a:ext cx="93715" cy="62472"/>
                </a:xfrm>
                <a:custGeom>
                  <a:avLst/>
                  <a:gdLst>
                    <a:gd name="T0" fmla="*/ 2147483647 w 252"/>
                    <a:gd name="T1" fmla="*/ 2147483647 h 168"/>
                    <a:gd name="T2" fmla="*/ 2147483647 w 252"/>
                    <a:gd name="T3" fmla="*/ 2147483647 h 168"/>
                    <a:gd name="T4" fmla="*/ 2147483647 w 252"/>
                    <a:gd name="T5" fmla="*/ 2147483647 h 168"/>
                    <a:gd name="T6" fmla="*/ 2147483647 w 252"/>
                    <a:gd name="T7" fmla="*/ 2147483647 h 168"/>
                    <a:gd name="T8" fmla="*/ 2147483647 w 252"/>
                    <a:gd name="T9" fmla="*/ 2147483647 h 168"/>
                    <a:gd name="T10" fmla="*/ 2147483647 w 252"/>
                    <a:gd name="T11" fmla="*/ 2147483647 h 168"/>
                    <a:gd name="T12" fmla="*/ 2147483647 w 252"/>
                    <a:gd name="T13" fmla="*/ 2147483647 h 168"/>
                    <a:gd name="T14" fmla="*/ 2147483647 w 252"/>
                    <a:gd name="T15" fmla="*/ 2147483647 h 168"/>
                    <a:gd name="T16" fmla="*/ 2147483647 w 252"/>
                    <a:gd name="T17" fmla="*/ 2147483647 h 168"/>
                    <a:gd name="T18" fmla="*/ 2147483647 w 252"/>
                    <a:gd name="T19" fmla="*/ 2147483647 h 168"/>
                    <a:gd name="T20" fmla="*/ 2147483647 w 252"/>
                    <a:gd name="T21" fmla="*/ 0 h 168"/>
                    <a:gd name="T22" fmla="*/ 2147483647 w 252"/>
                    <a:gd name="T23" fmla="*/ 0 h 168"/>
                    <a:gd name="T24" fmla="*/ 2147483647 w 252"/>
                    <a:gd name="T25" fmla="*/ 2147483647 h 168"/>
                    <a:gd name="T26" fmla="*/ 2147483647 w 252"/>
                    <a:gd name="T27" fmla="*/ 2147483647 h 168"/>
                    <a:gd name="T28" fmla="*/ 2147483647 w 252"/>
                    <a:gd name="T29" fmla="*/ 2147483647 h 168"/>
                    <a:gd name="T30" fmla="*/ 2147483647 w 252"/>
                    <a:gd name="T31" fmla="*/ 2147483647 h 168"/>
                    <a:gd name="T32" fmla="*/ 2147483647 w 252"/>
                    <a:gd name="T33" fmla="*/ 2147483647 h 168"/>
                    <a:gd name="T34" fmla="*/ 2147483647 w 252"/>
                    <a:gd name="T35" fmla="*/ 2147483647 h 168"/>
                    <a:gd name="T36" fmla="*/ 2147483647 w 252"/>
                    <a:gd name="T37" fmla="*/ 2147483647 h 168"/>
                    <a:gd name="T38" fmla="*/ 2147483647 w 252"/>
                    <a:gd name="T39" fmla="*/ 2147483647 h 168"/>
                    <a:gd name="T40" fmla="*/ 2147483647 w 252"/>
                    <a:gd name="T41" fmla="*/ 2147483647 h 168"/>
                    <a:gd name="T42" fmla="*/ 0 w 252"/>
                    <a:gd name="T43" fmla="*/ 2147483647 h 168"/>
                    <a:gd name="T44" fmla="*/ 0 w 252"/>
                    <a:gd name="T45" fmla="*/ 2147483647 h 168"/>
                    <a:gd name="T46" fmla="*/ 2147483647 w 252"/>
                    <a:gd name="T47" fmla="*/ 2147483647 h 168"/>
                    <a:gd name="T48" fmla="*/ 0 w 252"/>
                    <a:gd name="T49" fmla="*/ 2147483647 h 168"/>
                    <a:gd name="T50" fmla="*/ 2147483647 w 252"/>
                    <a:gd name="T51" fmla="*/ 2147483647 h 168"/>
                    <a:gd name="T52" fmla="*/ 2147483647 w 252"/>
                    <a:gd name="T53" fmla="*/ 2147483647 h 168"/>
                    <a:gd name="T54" fmla="*/ 2147483647 w 252"/>
                    <a:gd name="T55" fmla="*/ 2147483647 h 168"/>
                    <a:gd name="T56" fmla="*/ 2147483647 w 252"/>
                    <a:gd name="T57" fmla="*/ 2147483647 h 168"/>
                    <a:gd name="T58" fmla="*/ 2147483647 w 252"/>
                    <a:gd name="T59" fmla="*/ 2147483647 h 168"/>
                    <a:gd name="T60" fmla="*/ 2147483647 w 252"/>
                    <a:gd name="T61" fmla="*/ 2147483647 h 168"/>
                    <a:gd name="T62" fmla="*/ 2147483647 w 252"/>
                    <a:gd name="T63" fmla="*/ 2147483647 h 168"/>
                    <a:gd name="T64" fmla="*/ 2147483647 w 252"/>
                    <a:gd name="T65" fmla="*/ 2147483647 h 168"/>
                    <a:gd name="T66" fmla="*/ 2147483647 w 252"/>
                    <a:gd name="T67" fmla="*/ 2147483647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2"/>
                    <a:gd name="T103" fmla="*/ 0 h 168"/>
                    <a:gd name="T104" fmla="*/ 252 w 252"/>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2" h="168">
                      <a:moveTo>
                        <a:pt x="246" y="102"/>
                      </a:moveTo>
                      <a:lnTo>
                        <a:pt x="234" y="96"/>
                      </a:lnTo>
                      <a:lnTo>
                        <a:pt x="216" y="78"/>
                      </a:lnTo>
                      <a:lnTo>
                        <a:pt x="192" y="66"/>
                      </a:lnTo>
                      <a:lnTo>
                        <a:pt x="156" y="54"/>
                      </a:lnTo>
                      <a:lnTo>
                        <a:pt x="132" y="42"/>
                      </a:lnTo>
                      <a:lnTo>
                        <a:pt x="126" y="30"/>
                      </a:lnTo>
                      <a:lnTo>
                        <a:pt x="108" y="12"/>
                      </a:lnTo>
                      <a:lnTo>
                        <a:pt x="96" y="6"/>
                      </a:lnTo>
                      <a:lnTo>
                        <a:pt x="84" y="6"/>
                      </a:lnTo>
                      <a:lnTo>
                        <a:pt x="60" y="0"/>
                      </a:lnTo>
                      <a:lnTo>
                        <a:pt x="30" y="0"/>
                      </a:lnTo>
                      <a:lnTo>
                        <a:pt x="24" y="6"/>
                      </a:lnTo>
                      <a:lnTo>
                        <a:pt x="18" y="6"/>
                      </a:lnTo>
                      <a:lnTo>
                        <a:pt x="30" y="42"/>
                      </a:lnTo>
                      <a:lnTo>
                        <a:pt x="30" y="54"/>
                      </a:lnTo>
                      <a:lnTo>
                        <a:pt x="24" y="60"/>
                      </a:lnTo>
                      <a:lnTo>
                        <a:pt x="18" y="72"/>
                      </a:lnTo>
                      <a:lnTo>
                        <a:pt x="12" y="78"/>
                      </a:lnTo>
                      <a:lnTo>
                        <a:pt x="12" y="90"/>
                      </a:lnTo>
                      <a:lnTo>
                        <a:pt x="6" y="102"/>
                      </a:lnTo>
                      <a:lnTo>
                        <a:pt x="0" y="108"/>
                      </a:lnTo>
                      <a:lnTo>
                        <a:pt x="0" y="114"/>
                      </a:lnTo>
                      <a:lnTo>
                        <a:pt x="12" y="144"/>
                      </a:lnTo>
                      <a:lnTo>
                        <a:pt x="0" y="126"/>
                      </a:lnTo>
                      <a:lnTo>
                        <a:pt x="30" y="168"/>
                      </a:lnTo>
                      <a:lnTo>
                        <a:pt x="78" y="132"/>
                      </a:lnTo>
                      <a:lnTo>
                        <a:pt x="174" y="132"/>
                      </a:lnTo>
                      <a:lnTo>
                        <a:pt x="186" y="138"/>
                      </a:lnTo>
                      <a:lnTo>
                        <a:pt x="240" y="138"/>
                      </a:lnTo>
                      <a:lnTo>
                        <a:pt x="246" y="132"/>
                      </a:lnTo>
                      <a:lnTo>
                        <a:pt x="252" y="120"/>
                      </a:lnTo>
                      <a:lnTo>
                        <a:pt x="252" y="114"/>
                      </a:lnTo>
                      <a:lnTo>
                        <a:pt x="246" y="10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7" name="Cuba">
                  <a:extLst>
                    <a:ext uri="{FF2B5EF4-FFF2-40B4-BE49-F238E27FC236}">
                      <a16:creationId xmlns:a16="http://schemas.microsoft.com/office/drawing/2014/main" id="{366D9B56-4003-46C2-BB6E-344F6B83F269}"/>
                    </a:ext>
                  </a:extLst>
                </p:cNvPr>
                <p:cNvSpPr>
                  <a:spLocks noEditPoints="1"/>
                </p:cNvSpPr>
                <p:nvPr/>
              </p:nvSpPr>
              <p:spPr bwMode="gray">
                <a:xfrm>
                  <a:off x="2012347" y="2675955"/>
                  <a:ext cx="278168" cy="102633"/>
                </a:xfrm>
                <a:custGeom>
                  <a:avLst/>
                  <a:gdLst>
                    <a:gd name="T0" fmla="*/ 2147483647 w 738"/>
                    <a:gd name="T1" fmla="*/ 2147483647 h 270"/>
                    <a:gd name="T2" fmla="*/ 2147483647 w 738"/>
                    <a:gd name="T3" fmla="*/ 2147483647 h 270"/>
                    <a:gd name="T4" fmla="*/ 2147483647 w 738"/>
                    <a:gd name="T5" fmla="*/ 2147483647 h 270"/>
                    <a:gd name="T6" fmla="*/ 2147483647 w 738"/>
                    <a:gd name="T7" fmla="*/ 2147483647 h 270"/>
                    <a:gd name="T8" fmla="*/ 2147483647 w 738"/>
                    <a:gd name="T9" fmla="*/ 2147483647 h 270"/>
                    <a:gd name="T10" fmla="*/ 2147483647 w 738"/>
                    <a:gd name="T11" fmla="*/ 2147483647 h 270"/>
                    <a:gd name="T12" fmla="*/ 2147483647 w 738"/>
                    <a:gd name="T13" fmla="*/ 2147483647 h 270"/>
                    <a:gd name="T14" fmla="*/ 2147483647 w 738"/>
                    <a:gd name="T15" fmla="*/ 2147483647 h 270"/>
                    <a:gd name="T16" fmla="*/ 2147483647 w 738"/>
                    <a:gd name="T17" fmla="*/ 2147483647 h 270"/>
                    <a:gd name="T18" fmla="*/ 2147483647 w 738"/>
                    <a:gd name="T19" fmla="*/ 2147483647 h 270"/>
                    <a:gd name="T20" fmla="*/ 2147483647 w 738"/>
                    <a:gd name="T21" fmla="*/ 2147483647 h 270"/>
                    <a:gd name="T22" fmla="*/ 2147483647 w 738"/>
                    <a:gd name="T23" fmla="*/ 2147483647 h 270"/>
                    <a:gd name="T24" fmla="*/ 2147483647 w 738"/>
                    <a:gd name="T25" fmla="*/ 2147483647 h 270"/>
                    <a:gd name="T26" fmla="*/ 2147483647 w 738"/>
                    <a:gd name="T27" fmla="*/ 2147483647 h 270"/>
                    <a:gd name="T28" fmla="*/ 2147483647 w 738"/>
                    <a:gd name="T29" fmla="*/ 2147483647 h 270"/>
                    <a:gd name="T30" fmla="*/ 2147483647 w 738"/>
                    <a:gd name="T31" fmla="*/ 2147483647 h 270"/>
                    <a:gd name="T32" fmla="*/ 2147483647 w 738"/>
                    <a:gd name="T33" fmla="*/ 2147483647 h 270"/>
                    <a:gd name="T34" fmla="*/ 2147483647 w 738"/>
                    <a:gd name="T35" fmla="*/ 2147483647 h 270"/>
                    <a:gd name="T36" fmla="*/ 2147483647 w 738"/>
                    <a:gd name="T37" fmla="*/ 0 h 270"/>
                    <a:gd name="T38" fmla="*/ 2147483647 w 738"/>
                    <a:gd name="T39" fmla="*/ 2147483647 h 270"/>
                    <a:gd name="T40" fmla="*/ 2147483647 w 738"/>
                    <a:gd name="T41" fmla="*/ 2147483647 h 270"/>
                    <a:gd name="T42" fmla="*/ 2147483647 w 738"/>
                    <a:gd name="T43" fmla="*/ 2147483647 h 270"/>
                    <a:gd name="T44" fmla="*/ 2147483647 w 738"/>
                    <a:gd name="T45" fmla="*/ 2147483647 h 270"/>
                    <a:gd name="T46" fmla="*/ 2147483647 w 738"/>
                    <a:gd name="T47" fmla="*/ 2147483647 h 270"/>
                    <a:gd name="T48" fmla="*/ 2147483647 w 738"/>
                    <a:gd name="T49" fmla="*/ 2147483647 h 270"/>
                    <a:gd name="T50" fmla="*/ 2147483647 w 738"/>
                    <a:gd name="T51" fmla="*/ 2147483647 h 270"/>
                    <a:gd name="T52" fmla="*/ 2147483647 w 738"/>
                    <a:gd name="T53" fmla="*/ 2147483647 h 270"/>
                    <a:gd name="T54" fmla="*/ 2147483647 w 738"/>
                    <a:gd name="T55" fmla="*/ 2147483647 h 270"/>
                    <a:gd name="T56" fmla="*/ 2147483647 w 738"/>
                    <a:gd name="T57" fmla="*/ 2147483647 h 270"/>
                    <a:gd name="T58" fmla="*/ 2147483647 w 738"/>
                    <a:gd name="T59" fmla="*/ 2147483647 h 270"/>
                    <a:gd name="T60" fmla="*/ 2147483647 w 738"/>
                    <a:gd name="T61" fmla="*/ 2147483647 h 270"/>
                    <a:gd name="T62" fmla="*/ 2147483647 w 738"/>
                    <a:gd name="T63" fmla="*/ 2147483647 h 270"/>
                    <a:gd name="T64" fmla="*/ 2147483647 w 738"/>
                    <a:gd name="T65" fmla="*/ 2147483647 h 270"/>
                    <a:gd name="T66" fmla="*/ 2147483647 w 738"/>
                    <a:gd name="T67" fmla="*/ 2147483647 h 270"/>
                    <a:gd name="T68" fmla="*/ 2147483647 w 738"/>
                    <a:gd name="T69" fmla="*/ 2147483647 h 270"/>
                    <a:gd name="T70" fmla="*/ 2147483647 w 738"/>
                    <a:gd name="T71" fmla="*/ 2147483647 h 270"/>
                    <a:gd name="T72" fmla="*/ 2147483647 w 738"/>
                    <a:gd name="T73" fmla="*/ 2147483647 h 270"/>
                    <a:gd name="T74" fmla="*/ 2147483647 w 738"/>
                    <a:gd name="T75" fmla="*/ 2147483647 h 270"/>
                    <a:gd name="T76" fmla="*/ 2147483647 w 738"/>
                    <a:gd name="T77" fmla="*/ 2147483647 h 270"/>
                    <a:gd name="T78" fmla="*/ 2147483647 w 738"/>
                    <a:gd name="T79" fmla="*/ 2147483647 h 270"/>
                    <a:gd name="T80" fmla="*/ 2147483647 w 738"/>
                    <a:gd name="T81" fmla="*/ 2147483647 h 270"/>
                    <a:gd name="T82" fmla="*/ 2147483647 w 738"/>
                    <a:gd name="T83" fmla="*/ 2147483647 h 270"/>
                    <a:gd name="T84" fmla="*/ 2147483647 w 738"/>
                    <a:gd name="T85" fmla="*/ 2147483647 h 270"/>
                    <a:gd name="T86" fmla="*/ 2147483647 w 738"/>
                    <a:gd name="T87" fmla="*/ 2147483647 h 270"/>
                    <a:gd name="T88" fmla="*/ 2147483647 w 738"/>
                    <a:gd name="T89" fmla="*/ 2147483647 h 270"/>
                    <a:gd name="T90" fmla="*/ 2147483647 w 738"/>
                    <a:gd name="T91" fmla="*/ 2147483647 h 270"/>
                    <a:gd name="T92" fmla="*/ 2147483647 w 738"/>
                    <a:gd name="T93" fmla="*/ 2147483647 h 270"/>
                    <a:gd name="T94" fmla="*/ 2147483647 w 738"/>
                    <a:gd name="T95" fmla="*/ 2147483647 h 270"/>
                    <a:gd name="T96" fmla="*/ 2147483647 w 738"/>
                    <a:gd name="T97" fmla="*/ 2147483647 h 270"/>
                    <a:gd name="T98" fmla="*/ 2147483647 w 738"/>
                    <a:gd name="T99" fmla="*/ 2147483647 h 270"/>
                    <a:gd name="T100" fmla="*/ 2147483647 w 738"/>
                    <a:gd name="T101" fmla="*/ 2147483647 h 270"/>
                    <a:gd name="T102" fmla="*/ 2147483647 w 738"/>
                    <a:gd name="T103" fmla="*/ 2147483647 h 270"/>
                    <a:gd name="T104" fmla="*/ 2147483647 w 738"/>
                    <a:gd name="T105" fmla="*/ 2147483647 h 270"/>
                    <a:gd name="T106" fmla="*/ 2147483647 w 738"/>
                    <a:gd name="T107" fmla="*/ 2147483647 h 270"/>
                    <a:gd name="T108" fmla="*/ 2147483647 w 738"/>
                    <a:gd name="T109" fmla="*/ 2147483647 h 270"/>
                    <a:gd name="T110" fmla="*/ 2147483647 w 738"/>
                    <a:gd name="T111" fmla="*/ 2147483647 h 270"/>
                    <a:gd name="T112" fmla="*/ 2147483647 w 738"/>
                    <a:gd name="T113" fmla="*/ 2147483647 h 270"/>
                    <a:gd name="T114" fmla="*/ 2147483647 w 738"/>
                    <a:gd name="T115" fmla="*/ 2147483647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270"/>
                    <a:gd name="T176" fmla="*/ 738 w 738"/>
                    <a:gd name="T177" fmla="*/ 270 h 2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270">
                      <a:moveTo>
                        <a:pt x="708" y="228"/>
                      </a:moveTo>
                      <a:lnTo>
                        <a:pt x="690" y="222"/>
                      </a:lnTo>
                      <a:lnTo>
                        <a:pt x="666" y="222"/>
                      </a:lnTo>
                      <a:lnTo>
                        <a:pt x="666" y="204"/>
                      </a:lnTo>
                      <a:lnTo>
                        <a:pt x="660" y="198"/>
                      </a:lnTo>
                      <a:lnTo>
                        <a:pt x="648" y="192"/>
                      </a:lnTo>
                      <a:lnTo>
                        <a:pt x="600" y="192"/>
                      </a:lnTo>
                      <a:lnTo>
                        <a:pt x="624" y="168"/>
                      </a:lnTo>
                      <a:lnTo>
                        <a:pt x="612" y="168"/>
                      </a:lnTo>
                      <a:lnTo>
                        <a:pt x="600" y="162"/>
                      </a:lnTo>
                      <a:lnTo>
                        <a:pt x="558" y="162"/>
                      </a:lnTo>
                      <a:lnTo>
                        <a:pt x="534" y="150"/>
                      </a:lnTo>
                      <a:lnTo>
                        <a:pt x="528" y="144"/>
                      </a:lnTo>
                      <a:lnTo>
                        <a:pt x="522" y="144"/>
                      </a:lnTo>
                      <a:lnTo>
                        <a:pt x="528" y="138"/>
                      </a:lnTo>
                      <a:lnTo>
                        <a:pt x="528" y="132"/>
                      </a:lnTo>
                      <a:lnTo>
                        <a:pt x="534" y="126"/>
                      </a:lnTo>
                      <a:lnTo>
                        <a:pt x="534" y="120"/>
                      </a:lnTo>
                      <a:lnTo>
                        <a:pt x="522" y="120"/>
                      </a:lnTo>
                      <a:lnTo>
                        <a:pt x="510" y="114"/>
                      </a:lnTo>
                      <a:lnTo>
                        <a:pt x="504" y="114"/>
                      </a:lnTo>
                      <a:lnTo>
                        <a:pt x="474" y="84"/>
                      </a:lnTo>
                      <a:lnTo>
                        <a:pt x="462" y="78"/>
                      </a:lnTo>
                      <a:lnTo>
                        <a:pt x="450" y="66"/>
                      </a:lnTo>
                      <a:lnTo>
                        <a:pt x="432" y="66"/>
                      </a:lnTo>
                      <a:lnTo>
                        <a:pt x="432" y="84"/>
                      </a:lnTo>
                      <a:lnTo>
                        <a:pt x="444" y="96"/>
                      </a:lnTo>
                      <a:lnTo>
                        <a:pt x="450" y="96"/>
                      </a:lnTo>
                      <a:lnTo>
                        <a:pt x="378" y="60"/>
                      </a:lnTo>
                      <a:lnTo>
                        <a:pt x="372" y="54"/>
                      </a:lnTo>
                      <a:lnTo>
                        <a:pt x="360" y="48"/>
                      </a:lnTo>
                      <a:lnTo>
                        <a:pt x="354" y="36"/>
                      </a:lnTo>
                      <a:lnTo>
                        <a:pt x="342" y="30"/>
                      </a:lnTo>
                      <a:lnTo>
                        <a:pt x="330" y="18"/>
                      </a:lnTo>
                      <a:lnTo>
                        <a:pt x="270" y="18"/>
                      </a:lnTo>
                      <a:lnTo>
                        <a:pt x="258" y="12"/>
                      </a:lnTo>
                      <a:lnTo>
                        <a:pt x="228" y="6"/>
                      </a:lnTo>
                      <a:lnTo>
                        <a:pt x="174" y="0"/>
                      </a:lnTo>
                      <a:lnTo>
                        <a:pt x="126" y="6"/>
                      </a:lnTo>
                      <a:lnTo>
                        <a:pt x="96" y="18"/>
                      </a:lnTo>
                      <a:lnTo>
                        <a:pt x="72" y="42"/>
                      </a:lnTo>
                      <a:lnTo>
                        <a:pt x="60" y="48"/>
                      </a:lnTo>
                      <a:lnTo>
                        <a:pt x="42" y="60"/>
                      </a:lnTo>
                      <a:lnTo>
                        <a:pt x="24" y="66"/>
                      </a:lnTo>
                      <a:lnTo>
                        <a:pt x="12" y="72"/>
                      </a:lnTo>
                      <a:lnTo>
                        <a:pt x="6" y="78"/>
                      </a:lnTo>
                      <a:lnTo>
                        <a:pt x="0" y="78"/>
                      </a:lnTo>
                      <a:lnTo>
                        <a:pt x="72" y="72"/>
                      </a:lnTo>
                      <a:lnTo>
                        <a:pt x="72" y="60"/>
                      </a:lnTo>
                      <a:lnTo>
                        <a:pt x="150" y="54"/>
                      </a:lnTo>
                      <a:lnTo>
                        <a:pt x="174" y="42"/>
                      </a:lnTo>
                      <a:lnTo>
                        <a:pt x="198" y="42"/>
                      </a:lnTo>
                      <a:lnTo>
                        <a:pt x="222" y="54"/>
                      </a:lnTo>
                      <a:lnTo>
                        <a:pt x="222" y="60"/>
                      </a:lnTo>
                      <a:lnTo>
                        <a:pt x="216" y="60"/>
                      </a:lnTo>
                      <a:lnTo>
                        <a:pt x="210" y="66"/>
                      </a:lnTo>
                      <a:lnTo>
                        <a:pt x="198" y="66"/>
                      </a:lnTo>
                      <a:lnTo>
                        <a:pt x="192" y="72"/>
                      </a:lnTo>
                      <a:lnTo>
                        <a:pt x="186" y="72"/>
                      </a:lnTo>
                      <a:lnTo>
                        <a:pt x="204" y="78"/>
                      </a:lnTo>
                      <a:lnTo>
                        <a:pt x="210" y="78"/>
                      </a:lnTo>
                      <a:lnTo>
                        <a:pt x="216" y="84"/>
                      </a:lnTo>
                      <a:lnTo>
                        <a:pt x="228" y="90"/>
                      </a:lnTo>
                      <a:lnTo>
                        <a:pt x="246" y="96"/>
                      </a:lnTo>
                      <a:lnTo>
                        <a:pt x="258" y="102"/>
                      </a:lnTo>
                      <a:lnTo>
                        <a:pt x="276" y="102"/>
                      </a:lnTo>
                      <a:lnTo>
                        <a:pt x="282" y="96"/>
                      </a:lnTo>
                      <a:lnTo>
                        <a:pt x="282" y="90"/>
                      </a:lnTo>
                      <a:lnTo>
                        <a:pt x="294" y="96"/>
                      </a:lnTo>
                      <a:lnTo>
                        <a:pt x="300" y="102"/>
                      </a:lnTo>
                      <a:lnTo>
                        <a:pt x="318" y="114"/>
                      </a:lnTo>
                      <a:lnTo>
                        <a:pt x="342" y="126"/>
                      </a:lnTo>
                      <a:lnTo>
                        <a:pt x="372" y="126"/>
                      </a:lnTo>
                      <a:lnTo>
                        <a:pt x="390" y="120"/>
                      </a:lnTo>
                      <a:lnTo>
                        <a:pt x="402" y="120"/>
                      </a:lnTo>
                      <a:lnTo>
                        <a:pt x="390" y="144"/>
                      </a:lnTo>
                      <a:lnTo>
                        <a:pt x="450" y="168"/>
                      </a:lnTo>
                      <a:lnTo>
                        <a:pt x="474" y="204"/>
                      </a:lnTo>
                      <a:lnTo>
                        <a:pt x="480" y="210"/>
                      </a:lnTo>
                      <a:lnTo>
                        <a:pt x="492" y="216"/>
                      </a:lnTo>
                      <a:lnTo>
                        <a:pt x="498" y="222"/>
                      </a:lnTo>
                      <a:lnTo>
                        <a:pt x="498" y="228"/>
                      </a:lnTo>
                      <a:lnTo>
                        <a:pt x="474" y="252"/>
                      </a:lnTo>
                      <a:lnTo>
                        <a:pt x="474" y="258"/>
                      </a:lnTo>
                      <a:lnTo>
                        <a:pt x="480" y="264"/>
                      </a:lnTo>
                      <a:lnTo>
                        <a:pt x="492" y="258"/>
                      </a:lnTo>
                      <a:lnTo>
                        <a:pt x="504" y="258"/>
                      </a:lnTo>
                      <a:lnTo>
                        <a:pt x="528" y="246"/>
                      </a:lnTo>
                      <a:lnTo>
                        <a:pt x="558" y="246"/>
                      </a:lnTo>
                      <a:lnTo>
                        <a:pt x="558" y="252"/>
                      </a:lnTo>
                      <a:lnTo>
                        <a:pt x="552" y="252"/>
                      </a:lnTo>
                      <a:lnTo>
                        <a:pt x="546" y="258"/>
                      </a:lnTo>
                      <a:lnTo>
                        <a:pt x="546" y="264"/>
                      </a:lnTo>
                      <a:lnTo>
                        <a:pt x="558" y="264"/>
                      </a:lnTo>
                      <a:lnTo>
                        <a:pt x="564" y="270"/>
                      </a:lnTo>
                      <a:lnTo>
                        <a:pt x="612" y="270"/>
                      </a:lnTo>
                      <a:lnTo>
                        <a:pt x="636" y="264"/>
                      </a:lnTo>
                      <a:lnTo>
                        <a:pt x="684" y="258"/>
                      </a:lnTo>
                      <a:lnTo>
                        <a:pt x="720" y="252"/>
                      </a:lnTo>
                      <a:lnTo>
                        <a:pt x="738" y="246"/>
                      </a:lnTo>
                      <a:lnTo>
                        <a:pt x="738" y="240"/>
                      </a:lnTo>
                      <a:lnTo>
                        <a:pt x="732" y="234"/>
                      </a:lnTo>
                      <a:lnTo>
                        <a:pt x="720" y="228"/>
                      </a:lnTo>
                      <a:lnTo>
                        <a:pt x="708" y="228"/>
                      </a:lnTo>
                      <a:close/>
                      <a:moveTo>
                        <a:pt x="114" y="126"/>
                      </a:moveTo>
                      <a:lnTo>
                        <a:pt x="114" y="132"/>
                      </a:lnTo>
                      <a:lnTo>
                        <a:pt x="120" y="138"/>
                      </a:lnTo>
                      <a:lnTo>
                        <a:pt x="132" y="144"/>
                      </a:lnTo>
                      <a:lnTo>
                        <a:pt x="144" y="138"/>
                      </a:lnTo>
                      <a:lnTo>
                        <a:pt x="150" y="138"/>
                      </a:lnTo>
                      <a:lnTo>
                        <a:pt x="156" y="126"/>
                      </a:lnTo>
                      <a:lnTo>
                        <a:pt x="156" y="120"/>
                      </a:lnTo>
                      <a:lnTo>
                        <a:pt x="150" y="114"/>
                      </a:lnTo>
                      <a:lnTo>
                        <a:pt x="138" y="114"/>
                      </a:lnTo>
                      <a:lnTo>
                        <a:pt x="126" y="120"/>
                      </a:lnTo>
                      <a:lnTo>
                        <a:pt x="120" y="120"/>
                      </a:lnTo>
                      <a:lnTo>
                        <a:pt x="114" y="12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8" name="Costa Rica">
                  <a:extLst>
                    <a:ext uri="{FF2B5EF4-FFF2-40B4-BE49-F238E27FC236}">
                      <a16:creationId xmlns:a16="http://schemas.microsoft.com/office/drawing/2014/main" id="{F6B4E00D-EA28-4B87-82E7-85617E1459AB}"/>
                    </a:ext>
                  </a:extLst>
                </p:cNvPr>
                <p:cNvSpPr>
                  <a:spLocks/>
                </p:cNvSpPr>
                <p:nvPr/>
              </p:nvSpPr>
              <p:spPr bwMode="gray">
                <a:xfrm>
                  <a:off x="1942433" y="3041860"/>
                  <a:ext cx="90740" cy="86270"/>
                </a:xfrm>
                <a:custGeom>
                  <a:avLst/>
                  <a:gdLst>
                    <a:gd name="T0" fmla="*/ 2147483647 w 240"/>
                    <a:gd name="T1" fmla="*/ 2147483647 h 228"/>
                    <a:gd name="T2" fmla="*/ 2147483647 w 240"/>
                    <a:gd name="T3" fmla="*/ 2147483647 h 228"/>
                    <a:gd name="T4" fmla="*/ 2147483647 w 240"/>
                    <a:gd name="T5" fmla="*/ 2147483647 h 228"/>
                    <a:gd name="T6" fmla="*/ 2147483647 w 240"/>
                    <a:gd name="T7" fmla="*/ 2147483647 h 228"/>
                    <a:gd name="T8" fmla="*/ 2147483647 w 240"/>
                    <a:gd name="T9" fmla="*/ 2147483647 h 228"/>
                    <a:gd name="T10" fmla="*/ 2147483647 w 240"/>
                    <a:gd name="T11" fmla="*/ 2147483647 h 228"/>
                    <a:gd name="T12" fmla="*/ 2147483647 w 240"/>
                    <a:gd name="T13" fmla="*/ 2147483647 h 228"/>
                    <a:gd name="T14" fmla="*/ 2147483647 w 240"/>
                    <a:gd name="T15" fmla="*/ 2147483647 h 228"/>
                    <a:gd name="T16" fmla="*/ 2147483647 w 240"/>
                    <a:gd name="T17" fmla="*/ 2147483647 h 228"/>
                    <a:gd name="T18" fmla="*/ 2147483647 w 240"/>
                    <a:gd name="T19" fmla="*/ 2147483647 h 228"/>
                    <a:gd name="T20" fmla="*/ 2147483647 w 240"/>
                    <a:gd name="T21" fmla="*/ 2147483647 h 228"/>
                    <a:gd name="T22" fmla="*/ 2147483647 w 240"/>
                    <a:gd name="T23" fmla="*/ 2147483647 h 228"/>
                    <a:gd name="T24" fmla="*/ 2147483647 w 240"/>
                    <a:gd name="T25" fmla="*/ 2147483647 h 228"/>
                    <a:gd name="T26" fmla="*/ 2147483647 w 240"/>
                    <a:gd name="T27" fmla="*/ 2147483647 h 228"/>
                    <a:gd name="T28" fmla="*/ 2147483647 w 240"/>
                    <a:gd name="T29" fmla="*/ 2147483647 h 228"/>
                    <a:gd name="T30" fmla="*/ 2147483647 w 240"/>
                    <a:gd name="T31" fmla="*/ 0 h 228"/>
                    <a:gd name="T32" fmla="*/ 2147483647 w 240"/>
                    <a:gd name="T33" fmla="*/ 2147483647 h 228"/>
                    <a:gd name="T34" fmla="*/ 2147483647 w 240"/>
                    <a:gd name="T35" fmla="*/ 2147483647 h 228"/>
                    <a:gd name="T36" fmla="*/ 0 w 240"/>
                    <a:gd name="T37" fmla="*/ 2147483647 h 228"/>
                    <a:gd name="T38" fmla="*/ 2147483647 w 240"/>
                    <a:gd name="T39" fmla="*/ 2147483647 h 228"/>
                    <a:gd name="T40" fmla="*/ 2147483647 w 240"/>
                    <a:gd name="T41" fmla="*/ 2147483647 h 228"/>
                    <a:gd name="T42" fmla="*/ 2147483647 w 240"/>
                    <a:gd name="T43" fmla="*/ 2147483647 h 228"/>
                    <a:gd name="T44" fmla="*/ 2147483647 w 240"/>
                    <a:gd name="T45" fmla="*/ 2147483647 h 228"/>
                    <a:gd name="T46" fmla="*/ 2147483647 w 240"/>
                    <a:gd name="T47" fmla="*/ 2147483647 h 228"/>
                    <a:gd name="T48" fmla="*/ 2147483647 w 240"/>
                    <a:gd name="T49" fmla="*/ 2147483647 h 228"/>
                    <a:gd name="T50" fmla="*/ 2147483647 w 240"/>
                    <a:gd name="T51" fmla="*/ 2147483647 h 228"/>
                    <a:gd name="T52" fmla="*/ 2147483647 w 240"/>
                    <a:gd name="T53" fmla="*/ 2147483647 h 228"/>
                    <a:gd name="T54" fmla="*/ 2147483647 w 240"/>
                    <a:gd name="T55" fmla="*/ 2147483647 h 228"/>
                    <a:gd name="T56" fmla="*/ 2147483647 w 240"/>
                    <a:gd name="T57" fmla="*/ 2147483647 h 228"/>
                    <a:gd name="T58" fmla="*/ 2147483647 w 240"/>
                    <a:gd name="T59" fmla="*/ 2147483647 h 228"/>
                    <a:gd name="T60" fmla="*/ 2147483647 w 240"/>
                    <a:gd name="T61" fmla="*/ 2147483647 h 228"/>
                    <a:gd name="T62" fmla="*/ 2147483647 w 240"/>
                    <a:gd name="T63" fmla="*/ 2147483647 h 228"/>
                    <a:gd name="T64" fmla="*/ 2147483647 w 240"/>
                    <a:gd name="T65" fmla="*/ 2147483647 h 228"/>
                    <a:gd name="T66" fmla="*/ 2147483647 w 240"/>
                    <a:gd name="T67" fmla="*/ 2147483647 h 2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0"/>
                    <a:gd name="T103" fmla="*/ 0 h 228"/>
                    <a:gd name="T104" fmla="*/ 240 w 240"/>
                    <a:gd name="T105" fmla="*/ 228 h 2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0" h="228">
                      <a:moveTo>
                        <a:pt x="210" y="198"/>
                      </a:moveTo>
                      <a:lnTo>
                        <a:pt x="216" y="198"/>
                      </a:lnTo>
                      <a:lnTo>
                        <a:pt x="234" y="180"/>
                      </a:lnTo>
                      <a:lnTo>
                        <a:pt x="228" y="174"/>
                      </a:lnTo>
                      <a:lnTo>
                        <a:pt x="210" y="174"/>
                      </a:lnTo>
                      <a:lnTo>
                        <a:pt x="210" y="168"/>
                      </a:lnTo>
                      <a:lnTo>
                        <a:pt x="204" y="162"/>
                      </a:lnTo>
                      <a:lnTo>
                        <a:pt x="204" y="144"/>
                      </a:lnTo>
                      <a:lnTo>
                        <a:pt x="210" y="138"/>
                      </a:lnTo>
                      <a:lnTo>
                        <a:pt x="222" y="138"/>
                      </a:lnTo>
                      <a:lnTo>
                        <a:pt x="228" y="132"/>
                      </a:lnTo>
                      <a:lnTo>
                        <a:pt x="240" y="132"/>
                      </a:lnTo>
                      <a:lnTo>
                        <a:pt x="228" y="126"/>
                      </a:lnTo>
                      <a:lnTo>
                        <a:pt x="210" y="108"/>
                      </a:lnTo>
                      <a:lnTo>
                        <a:pt x="198" y="84"/>
                      </a:lnTo>
                      <a:lnTo>
                        <a:pt x="192" y="78"/>
                      </a:lnTo>
                      <a:lnTo>
                        <a:pt x="186" y="66"/>
                      </a:lnTo>
                      <a:lnTo>
                        <a:pt x="180" y="60"/>
                      </a:lnTo>
                      <a:lnTo>
                        <a:pt x="174" y="36"/>
                      </a:lnTo>
                      <a:lnTo>
                        <a:pt x="138" y="36"/>
                      </a:lnTo>
                      <a:lnTo>
                        <a:pt x="126" y="24"/>
                      </a:lnTo>
                      <a:lnTo>
                        <a:pt x="126" y="18"/>
                      </a:lnTo>
                      <a:lnTo>
                        <a:pt x="120" y="18"/>
                      </a:lnTo>
                      <a:lnTo>
                        <a:pt x="114" y="12"/>
                      </a:lnTo>
                      <a:lnTo>
                        <a:pt x="84" y="12"/>
                      </a:lnTo>
                      <a:lnTo>
                        <a:pt x="84" y="18"/>
                      </a:lnTo>
                      <a:lnTo>
                        <a:pt x="78" y="18"/>
                      </a:lnTo>
                      <a:lnTo>
                        <a:pt x="72" y="12"/>
                      </a:lnTo>
                      <a:lnTo>
                        <a:pt x="60" y="6"/>
                      </a:lnTo>
                      <a:lnTo>
                        <a:pt x="48" y="6"/>
                      </a:lnTo>
                      <a:lnTo>
                        <a:pt x="42" y="0"/>
                      </a:lnTo>
                      <a:lnTo>
                        <a:pt x="24" y="0"/>
                      </a:lnTo>
                      <a:lnTo>
                        <a:pt x="6" y="30"/>
                      </a:lnTo>
                      <a:lnTo>
                        <a:pt x="18" y="42"/>
                      </a:lnTo>
                      <a:lnTo>
                        <a:pt x="24" y="42"/>
                      </a:lnTo>
                      <a:lnTo>
                        <a:pt x="24" y="48"/>
                      </a:lnTo>
                      <a:lnTo>
                        <a:pt x="6" y="66"/>
                      </a:lnTo>
                      <a:lnTo>
                        <a:pt x="0" y="78"/>
                      </a:lnTo>
                      <a:lnTo>
                        <a:pt x="6" y="90"/>
                      </a:lnTo>
                      <a:lnTo>
                        <a:pt x="18" y="102"/>
                      </a:lnTo>
                      <a:lnTo>
                        <a:pt x="30" y="108"/>
                      </a:lnTo>
                      <a:lnTo>
                        <a:pt x="42" y="108"/>
                      </a:lnTo>
                      <a:lnTo>
                        <a:pt x="60" y="126"/>
                      </a:lnTo>
                      <a:lnTo>
                        <a:pt x="72" y="126"/>
                      </a:lnTo>
                      <a:lnTo>
                        <a:pt x="72" y="102"/>
                      </a:lnTo>
                      <a:lnTo>
                        <a:pt x="66" y="96"/>
                      </a:lnTo>
                      <a:lnTo>
                        <a:pt x="54" y="90"/>
                      </a:lnTo>
                      <a:lnTo>
                        <a:pt x="42" y="78"/>
                      </a:lnTo>
                      <a:lnTo>
                        <a:pt x="42" y="72"/>
                      </a:lnTo>
                      <a:lnTo>
                        <a:pt x="48" y="72"/>
                      </a:lnTo>
                      <a:lnTo>
                        <a:pt x="60" y="78"/>
                      </a:lnTo>
                      <a:lnTo>
                        <a:pt x="66" y="84"/>
                      </a:lnTo>
                      <a:lnTo>
                        <a:pt x="90" y="96"/>
                      </a:lnTo>
                      <a:lnTo>
                        <a:pt x="96" y="102"/>
                      </a:lnTo>
                      <a:lnTo>
                        <a:pt x="96" y="132"/>
                      </a:lnTo>
                      <a:lnTo>
                        <a:pt x="114" y="132"/>
                      </a:lnTo>
                      <a:lnTo>
                        <a:pt x="126" y="138"/>
                      </a:lnTo>
                      <a:lnTo>
                        <a:pt x="138" y="138"/>
                      </a:lnTo>
                      <a:lnTo>
                        <a:pt x="156" y="180"/>
                      </a:lnTo>
                      <a:lnTo>
                        <a:pt x="150" y="186"/>
                      </a:lnTo>
                      <a:lnTo>
                        <a:pt x="150" y="198"/>
                      </a:lnTo>
                      <a:lnTo>
                        <a:pt x="168" y="216"/>
                      </a:lnTo>
                      <a:lnTo>
                        <a:pt x="180" y="222"/>
                      </a:lnTo>
                      <a:lnTo>
                        <a:pt x="192" y="222"/>
                      </a:lnTo>
                      <a:lnTo>
                        <a:pt x="174" y="198"/>
                      </a:lnTo>
                      <a:lnTo>
                        <a:pt x="204" y="228"/>
                      </a:lnTo>
                      <a:lnTo>
                        <a:pt x="210" y="222"/>
                      </a:lnTo>
                      <a:lnTo>
                        <a:pt x="210" y="19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9" name="Belize">
                  <a:extLst>
                    <a:ext uri="{FF2B5EF4-FFF2-40B4-BE49-F238E27FC236}">
                      <a16:creationId xmlns:a16="http://schemas.microsoft.com/office/drawing/2014/main" id="{DFEEEB4E-C7F0-4C45-961A-A1CF4B3738FA}"/>
                    </a:ext>
                  </a:extLst>
                </p:cNvPr>
                <p:cNvSpPr>
                  <a:spLocks/>
                </p:cNvSpPr>
                <p:nvPr/>
              </p:nvSpPr>
              <p:spPr bwMode="gray">
                <a:xfrm>
                  <a:off x="1871032" y="2820234"/>
                  <a:ext cx="41651" cy="80320"/>
                </a:xfrm>
                <a:custGeom>
                  <a:avLst/>
                  <a:gdLst>
                    <a:gd name="T0" fmla="*/ 2147483647 w 108"/>
                    <a:gd name="T1" fmla="*/ 2147483647 h 210"/>
                    <a:gd name="T2" fmla="*/ 2147483647 w 108"/>
                    <a:gd name="T3" fmla="*/ 2147483647 h 210"/>
                    <a:gd name="T4" fmla="*/ 2147483647 w 108"/>
                    <a:gd name="T5" fmla="*/ 2147483647 h 210"/>
                    <a:gd name="T6" fmla="*/ 2147483647 w 108"/>
                    <a:gd name="T7" fmla="*/ 2147483647 h 210"/>
                    <a:gd name="T8" fmla="*/ 2147483647 w 108"/>
                    <a:gd name="T9" fmla="*/ 2147483647 h 210"/>
                    <a:gd name="T10" fmla="*/ 2147483647 w 108"/>
                    <a:gd name="T11" fmla="*/ 0 h 210"/>
                    <a:gd name="T12" fmla="*/ 2147483647 w 108"/>
                    <a:gd name="T13" fmla="*/ 2147483647 h 210"/>
                    <a:gd name="T14" fmla="*/ 2147483647 w 108"/>
                    <a:gd name="T15" fmla="*/ 2147483647 h 210"/>
                    <a:gd name="T16" fmla="*/ 2147483647 w 108"/>
                    <a:gd name="T17" fmla="*/ 2147483647 h 210"/>
                    <a:gd name="T18" fmla="*/ 2147483647 w 108"/>
                    <a:gd name="T19" fmla="*/ 2147483647 h 210"/>
                    <a:gd name="T20" fmla="*/ 2147483647 w 108"/>
                    <a:gd name="T21" fmla="*/ 2147483647 h 210"/>
                    <a:gd name="T22" fmla="*/ 2147483647 w 108"/>
                    <a:gd name="T23" fmla="*/ 2147483647 h 210"/>
                    <a:gd name="T24" fmla="*/ 2147483647 w 108"/>
                    <a:gd name="T25" fmla="*/ 2147483647 h 210"/>
                    <a:gd name="T26" fmla="*/ 2147483647 w 108"/>
                    <a:gd name="T27" fmla="*/ 2147483647 h 210"/>
                    <a:gd name="T28" fmla="*/ 2147483647 w 108"/>
                    <a:gd name="T29" fmla="*/ 2147483647 h 210"/>
                    <a:gd name="T30" fmla="*/ 2147483647 w 108"/>
                    <a:gd name="T31" fmla="*/ 2147483647 h 210"/>
                    <a:gd name="T32" fmla="*/ 2147483647 w 108"/>
                    <a:gd name="T33" fmla="*/ 2147483647 h 210"/>
                    <a:gd name="T34" fmla="*/ 2147483647 w 108"/>
                    <a:gd name="T35" fmla="*/ 2147483647 h 210"/>
                    <a:gd name="T36" fmla="*/ 0 w 108"/>
                    <a:gd name="T37" fmla="*/ 2147483647 h 210"/>
                    <a:gd name="T38" fmla="*/ 2147483647 w 108"/>
                    <a:gd name="T39" fmla="*/ 2147483647 h 210"/>
                    <a:gd name="T40" fmla="*/ 2147483647 w 108"/>
                    <a:gd name="T41" fmla="*/ 2147483647 h 210"/>
                    <a:gd name="T42" fmla="*/ 2147483647 w 108"/>
                    <a:gd name="T43" fmla="*/ 2147483647 h 210"/>
                    <a:gd name="T44" fmla="*/ 2147483647 w 108"/>
                    <a:gd name="T45" fmla="*/ 2147483647 h 210"/>
                    <a:gd name="T46" fmla="*/ 2147483647 w 108"/>
                    <a:gd name="T47" fmla="*/ 2147483647 h 210"/>
                    <a:gd name="T48" fmla="*/ 2147483647 w 108"/>
                    <a:gd name="T49" fmla="*/ 2147483647 h 210"/>
                    <a:gd name="T50" fmla="*/ 2147483647 w 108"/>
                    <a:gd name="T51" fmla="*/ 2147483647 h 210"/>
                    <a:gd name="T52" fmla="*/ 2147483647 w 108"/>
                    <a:gd name="T53" fmla="*/ 2147483647 h 210"/>
                    <a:gd name="T54" fmla="*/ 2147483647 w 108"/>
                    <a:gd name="T55" fmla="*/ 2147483647 h 2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8"/>
                    <a:gd name="T85" fmla="*/ 0 h 210"/>
                    <a:gd name="T86" fmla="*/ 108 w 108"/>
                    <a:gd name="T87" fmla="*/ 210 h 2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8" h="210">
                      <a:moveTo>
                        <a:pt x="108" y="30"/>
                      </a:moveTo>
                      <a:lnTo>
                        <a:pt x="108" y="24"/>
                      </a:lnTo>
                      <a:lnTo>
                        <a:pt x="102" y="24"/>
                      </a:lnTo>
                      <a:lnTo>
                        <a:pt x="90" y="18"/>
                      </a:lnTo>
                      <a:lnTo>
                        <a:pt x="84" y="12"/>
                      </a:lnTo>
                      <a:lnTo>
                        <a:pt x="78" y="0"/>
                      </a:lnTo>
                      <a:lnTo>
                        <a:pt x="78" y="6"/>
                      </a:lnTo>
                      <a:lnTo>
                        <a:pt x="72" y="12"/>
                      </a:lnTo>
                      <a:lnTo>
                        <a:pt x="72" y="24"/>
                      </a:lnTo>
                      <a:lnTo>
                        <a:pt x="66" y="36"/>
                      </a:lnTo>
                      <a:lnTo>
                        <a:pt x="54" y="42"/>
                      </a:lnTo>
                      <a:lnTo>
                        <a:pt x="48" y="48"/>
                      </a:lnTo>
                      <a:lnTo>
                        <a:pt x="42" y="48"/>
                      </a:lnTo>
                      <a:lnTo>
                        <a:pt x="42" y="42"/>
                      </a:lnTo>
                      <a:lnTo>
                        <a:pt x="36" y="36"/>
                      </a:lnTo>
                      <a:lnTo>
                        <a:pt x="30" y="36"/>
                      </a:lnTo>
                      <a:lnTo>
                        <a:pt x="30" y="42"/>
                      </a:lnTo>
                      <a:lnTo>
                        <a:pt x="24" y="54"/>
                      </a:lnTo>
                      <a:lnTo>
                        <a:pt x="0" y="210"/>
                      </a:lnTo>
                      <a:lnTo>
                        <a:pt x="30" y="210"/>
                      </a:lnTo>
                      <a:lnTo>
                        <a:pt x="42" y="168"/>
                      </a:lnTo>
                      <a:lnTo>
                        <a:pt x="60" y="174"/>
                      </a:lnTo>
                      <a:lnTo>
                        <a:pt x="84" y="150"/>
                      </a:lnTo>
                      <a:lnTo>
                        <a:pt x="84" y="90"/>
                      </a:lnTo>
                      <a:lnTo>
                        <a:pt x="90" y="78"/>
                      </a:lnTo>
                      <a:lnTo>
                        <a:pt x="96" y="60"/>
                      </a:lnTo>
                      <a:lnTo>
                        <a:pt x="108" y="36"/>
                      </a:lnTo>
                      <a:lnTo>
                        <a:pt x="108"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0" name="Nepal">
                  <a:extLst>
                    <a:ext uri="{FF2B5EF4-FFF2-40B4-BE49-F238E27FC236}">
                      <a16:creationId xmlns:a16="http://schemas.microsoft.com/office/drawing/2014/main" id="{40AD40B9-C381-482D-82C3-86636B525E4B}"/>
                    </a:ext>
                  </a:extLst>
                </p:cNvPr>
                <p:cNvSpPr>
                  <a:spLocks/>
                </p:cNvSpPr>
                <p:nvPr/>
              </p:nvSpPr>
              <p:spPr bwMode="gray">
                <a:xfrm>
                  <a:off x="6320228" y="2455817"/>
                  <a:ext cx="221642" cy="124943"/>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1" name="Bhutan">
                  <a:extLst>
                    <a:ext uri="{FF2B5EF4-FFF2-40B4-BE49-F238E27FC236}">
                      <a16:creationId xmlns:a16="http://schemas.microsoft.com/office/drawing/2014/main" id="{734C1E5B-48EB-4BBD-8072-895924BF1F4E}"/>
                    </a:ext>
                  </a:extLst>
                </p:cNvPr>
                <p:cNvSpPr>
                  <a:spLocks/>
                </p:cNvSpPr>
                <p:nvPr/>
              </p:nvSpPr>
              <p:spPr bwMode="gray">
                <a:xfrm>
                  <a:off x="6555258" y="2521263"/>
                  <a:ext cx="87765" cy="50572"/>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2" name="Bangladesh">
                  <a:extLst>
                    <a:ext uri="{FF2B5EF4-FFF2-40B4-BE49-F238E27FC236}">
                      <a16:creationId xmlns:a16="http://schemas.microsoft.com/office/drawing/2014/main" id="{5D4CF77F-76E6-48B2-905D-6BA0DFAB848B}"/>
                    </a:ext>
                  </a:extLst>
                </p:cNvPr>
                <p:cNvSpPr>
                  <a:spLocks/>
                </p:cNvSpPr>
                <p:nvPr/>
              </p:nvSpPr>
              <p:spPr bwMode="gray">
                <a:xfrm>
                  <a:off x="6543357" y="2576297"/>
                  <a:ext cx="141316" cy="160641"/>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3" name="Greenland">
                  <a:extLst>
                    <a:ext uri="{FF2B5EF4-FFF2-40B4-BE49-F238E27FC236}">
                      <a16:creationId xmlns:a16="http://schemas.microsoft.com/office/drawing/2014/main" id="{B554BA93-9FFF-4AC4-B230-30B647E847C9}"/>
                    </a:ext>
                  </a:extLst>
                </p:cNvPr>
                <p:cNvSpPr>
                  <a:spLocks noEditPoints="1"/>
                </p:cNvSpPr>
                <p:nvPr/>
              </p:nvSpPr>
              <p:spPr bwMode="gray">
                <a:xfrm>
                  <a:off x="3086343" y="1011533"/>
                  <a:ext cx="1057633" cy="575632"/>
                </a:xfrm>
                <a:custGeom>
                  <a:avLst/>
                  <a:gdLst>
                    <a:gd name="T0" fmla="*/ 2147483647 w 732"/>
                    <a:gd name="T1" fmla="*/ 2147483647 h 398"/>
                    <a:gd name="T2" fmla="*/ 2147483647 w 732"/>
                    <a:gd name="T3" fmla="*/ 2147483647 h 398"/>
                    <a:gd name="T4" fmla="*/ 2147483647 w 732"/>
                    <a:gd name="T5" fmla="*/ 2147483647 h 398"/>
                    <a:gd name="T6" fmla="*/ 2147483647 w 732"/>
                    <a:gd name="T7" fmla="*/ 2147483647 h 398"/>
                    <a:gd name="T8" fmla="*/ 2147483647 w 732"/>
                    <a:gd name="T9" fmla="*/ 2147483647 h 398"/>
                    <a:gd name="T10" fmla="*/ 2147483647 w 732"/>
                    <a:gd name="T11" fmla="*/ 2147483647 h 398"/>
                    <a:gd name="T12" fmla="*/ 2147483647 w 732"/>
                    <a:gd name="T13" fmla="*/ 2147483647 h 398"/>
                    <a:gd name="T14" fmla="*/ 2147483647 w 732"/>
                    <a:gd name="T15" fmla="*/ 2147483647 h 398"/>
                    <a:gd name="T16" fmla="*/ 2147483647 w 732"/>
                    <a:gd name="T17" fmla="*/ 2147483647 h 398"/>
                    <a:gd name="T18" fmla="*/ 2147483647 w 732"/>
                    <a:gd name="T19" fmla="*/ 2147483647 h 398"/>
                    <a:gd name="T20" fmla="*/ 2147483647 w 732"/>
                    <a:gd name="T21" fmla="*/ 2147483647 h 398"/>
                    <a:gd name="T22" fmla="*/ 2147483647 w 732"/>
                    <a:gd name="T23" fmla="*/ 2147483647 h 398"/>
                    <a:gd name="T24" fmla="*/ 2147483647 w 732"/>
                    <a:gd name="T25" fmla="*/ 2147483647 h 398"/>
                    <a:gd name="T26" fmla="*/ 2147483647 w 732"/>
                    <a:gd name="T27" fmla="*/ 2147483647 h 398"/>
                    <a:gd name="T28" fmla="*/ 2147483647 w 732"/>
                    <a:gd name="T29" fmla="*/ 2147483647 h 398"/>
                    <a:gd name="T30" fmla="*/ 2147483647 w 732"/>
                    <a:gd name="T31" fmla="*/ 2147483647 h 398"/>
                    <a:gd name="T32" fmla="*/ 2147483647 w 732"/>
                    <a:gd name="T33" fmla="*/ 2147483647 h 398"/>
                    <a:gd name="T34" fmla="*/ 2147483647 w 732"/>
                    <a:gd name="T35" fmla="*/ 2147483647 h 398"/>
                    <a:gd name="T36" fmla="*/ 2147483647 w 732"/>
                    <a:gd name="T37" fmla="*/ 2147483647 h 398"/>
                    <a:gd name="T38" fmla="*/ 2147483647 w 732"/>
                    <a:gd name="T39" fmla="*/ 2147483647 h 398"/>
                    <a:gd name="T40" fmla="*/ 2147483647 w 732"/>
                    <a:gd name="T41" fmla="*/ 2147483647 h 398"/>
                    <a:gd name="T42" fmla="*/ 2147483647 w 732"/>
                    <a:gd name="T43" fmla="*/ 2147483647 h 398"/>
                    <a:gd name="T44" fmla="*/ 2147483647 w 732"/>
                    <a:gd name="T45" fmla="*/ 2147483647 h 398"/>
                    <a:gd name="T46" fmla="*/ 2147483647 w 732"/>
                    <a:gd name="T47" fmla="*/ 2147483647 h 398"/>
                    <a:gd name="T48" fmla="*/ 2147483647 w 732"/>
                    <a:gd name="T49" fmla="*/ 2147483647 h 398"/>
                    <a:gd name="T50" fmla="*/ 2147483647 w 732"/>
                    <a:gd name="T51" fmla="*/ 2147483647 h 398"/>
                    <a:gd name="T52" fmla="*/ 2147483647 w 732"/>
                    <a:gd name="T53" fmla="*/ 2147483647 h 398"/>
                    <a:gd name="T54" fmla="*/ 2147483647 w 732"/>
                    <a:gd name="T55" fmla="*/ 2147483647 h 398"/>
                    <a:gd name="T56" fmla="*/ 2147483647 w 732"/>
                    <a:gd name="T57" fmla="*/ 2147483647 h 398"/>
                    <a:gd name="T58" fmla="*/ 2147483647 w 732"/>
                    <a:gd name="T59" fmla="*/ 2147483647 h 398"/>
                    <a:gd name="T60" fmla="*/ 2147483647 w 732"/>
                    <a:gd name="T61" fmla="*/ 2147483647 h 398"/>
                    <a:gd name="T62" fmla="*/ 2147483647 w 732"/>
                    <a:gd name="T63" fmla="*/ 2147483647 h 398"/>
                    <a:gd name="T64" fmla="*/ 2147483647 w 732"/>
                    <a:gd name="T65" fmla="*/ 2147483647 h 398"/>
                    <a:gd name="T66" fmla="*/ 2147483647 w 732"/>
                    <a:gd name="T67" fmla="*/ 2147483647 h 398"/>
                    <a:gd name="T68" fmla="*/ 2147483647 w 732"/>
                    <a:gd name="T69" fmla="*/ 2147483647 h 398"/>
                    <a:gd name="T70" fmla="*/ 2147483647 w 732"/>
                    <a:gd name="T71" fmla="*/ 2147483647 h 398"/>
                    <a:gd name="T72" fmla="*/ 2147483647 w 732"/>
                    <a:gd name="T73" fmla="*/ 2147483647 h 398"/>
                    <a:gd name="T74" fmla="*/ 2147483647 w 732"/>
                    <a:gd name="T75" fmla="*/ 2147483647 h 398"/>
                    <a:gd name="T76" fmla="*/ 2147483647 w 732"/>
                    <a:gd name="T77" fmla="*/ 2147483647 h 398"/>
                    <a:gd name="T78" fmla="*/ 2147483647 w 732"/>
                    <a:gd name="T79" fmla="*/ 2147483647 h 398"/>
                    <a:gd name="T80" fmla="*/ 2147483647 w 732"/>
                    <a:gd name="T81" fmla="*/ 2147483647 h 398"/>
                    <a:gd name="T82" fmla="*/ 2147483647 w 732"/>
                    <a:gd name="T83" fmla="*/ 2147483647 h 398"/>
                    <a:gd name="T84" fmla="*/ 2147483647 w 732"/>
                    <a:gd name="T85" fmla="*/ 2147483647 h 398"/>
                    <a:gd name="T86" fmla="*/ 2147483647 w 732"/>
                    <a:gd name="T87" fmla="*/ 2147483647 h 398"/>
                    <a:gd name="T88" fmla="*/ 2147483647 w 732"/>
                    <a:gd name="T89" fmla="*/ 2147483647 h 398"/>
                    <a:gd name="T90" fmla="*/ 2147483647 w 732"/>
                    <a:gd name="T91" fmla="*/ 2147483647 h 398"/>
                    <a:gd name="T92" fmla="*/ 2147483647 w 732"/>
                    <a:gd name="T93" fmla="*/ 2147483647 h 398"/>
                    <a:gd name="T94" fmla="*/ 2147483647 w 732"/>
                    <a:gd name="T95" fmla="*/ 2147483647 h 398"/>
                    <a:gd name="T96" fmla="*/ 2147483647 w 732"/>
                    <a:gd name="T97" fmla="*/ 2147483647 h 398"/>
                    <a:gd name="T98" fmla="*/ 2147483647 w 732"/>
                    <a:gd name="T99" fmla="*/ 2147483647 h 398"/>
                    <a:gd name="T100" fmla="*/ 2147483647 w 732"/>
                    <a:gd name="T101" fmla="*/ 2147483647 h 398"/>
                    <a:gd name="T102" fmla="*/ 2147483647 w 732"/>
                    <a:gd name="T103" fmla="*/ 2147483647 h 398"/>
                    <a:gd name="T104" fmla="*/ 2147483647 w 732"/>
                    <a:gd name="T105" fmla="*/ 2147483647 h 398"/>
                    <a:gd name="T106" fmla="*/ 2147483647 w 732"/>
                    <a:gd name="T107" fmla="*/ 2147483647 h 398"/>
                    <a:gd name="T108" fmla="*/ 2147483647 w 732"/>
                    <a:gd name="T109" fmla="*/ 2147483647 h 398"/>
                    <a:gd name="T110" fmla="*/ 2147483647 w 732"/>
                    <a:gd name="T111" fmla="*/ 2147483647 h 398"/>
                    <a:gd name="T112" fmla="*/ 2147483647 w 732"/>
                    <a:gd name="T113" fmla="*/ 2147483647 h 398"/>
                    <a:gd name="T114" fmla="*/ 2147483647 w 732"/>
                    <a:gd name="T115" fmla="*/ 2147483647 h 398"/>
                    <a:gd name="T116" fmla="*/ 2147483647 w 732"/>
                    <a:gd name="T117" fmla="*/ 2147483647 h 398"/>
                    <a:gd name="T118" fmla="*/ 2147483647 w 732"/>
                    <a:gd name="T119" fmla="*/ 2147483647 h 398"/>
                    <a:gd name="T120" fmla="*/ 2147483647 w 732"/>
                    <a:gd name="T121" fmla="*/ 2147483647 h 398"/>
                    <a:gd name="T122" fmla="*/ 2147483647 w 732"/>
                    <a:gd name="T123" fmla="*/ 2147483647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2"/>
                    <a:gd name="T187" fmla="*/ 0 h 398"/>
                    <a:gd name="T188" fmla="*/ 732 w 73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2" h="398">
                      <a:moveTo>
                        <a:pt x="730" y="24"/>
                      </a:moveTo>
                      <a:lnTo>
                        <a:pt x="728" y="24"/>
                      </a:lnTo>
                      <a:lnTo>
                        <a:pt x="723" y="24"/>
                      </a:lnTo>
                      <a:lnTo>
                        <a:pt x="718" y="22"/>
                      </a:lnTo>
                      <a:lnTo>
                        <a:pt x="678" y="22"/>
                      </a:lnTo>
                      <a:lnTo>
                        <a:pt x="678" y="24"/>
                      </a:lnTo>
                      <a:lnTo>
                        <a:pt x="670" y="26"/>
                      </a:lnTo>
                      <a:lnTo>
                        <a:pt x="659" y="26"/>
                      </a:lnTo>
                      <a:lnTo>
                        <a:pt x="651" y="24"/>
                      </a:lnTo>
                      <a:lnTo>
                        <a:pt x="637" y="24"/>
                      </a:lnTo>
                      <a:lnTo>
                        <a:pt x="623" y="29"/>
                      </a:lnTo>
                      <a:lnTo>
                        <a:pt x="616" y="34"/>
                      </a:lnTo>
                      <a:lnTo>
                        <a:pt x="611" y="34"/>
                      </a:lnTo>
                      <a:lnTo>
                        <a:pt x="606" y="34"/>
                      </a:lnTo>
                      <a:lnTo>
                        <a:pt x="604" y="36"/>
                      </a:lnTo>
                      <a:lnTo>
                        <a:pt x="602" y="36"/>
                      </a:lnTo>
                      <a:lnTo>
                        <a:pt x="597" y="38"/>
                      </a:lnTo>
                      <a:lnTo>
                        <a:pt x="592" y="38"/>
                      </a:lnTo>
                      <a:lnTo>
                        <a:pt x="599" y="34"/>
                      </a:lnTo>
                      <a:lnTo>
                        <a:pt x="609" y="31"/>
                      </a:lnTo>
                      <a:lnTo>
                        <a:pt x="621" y="26"/>
                      </a:lnTo>
                      <a:lnTo>
                        <a:pt x="623" y="24"/>
                      </a:lnTo>
                      <a:lnTo>
                        <a:pt x="618" y="19"/>
                      </a:lnTo>
                      <a:lnTo>
                        <a:pt x="606" y="19"/>
                      </a:lnTo>
                      <a:lnTo>
                        <a:pt x="604" y="22"/>
                      </a:lnTo>
                      <a:lnTo>
                        <a:pt x="602" y="22"/>
                      </a:lnTo>
                      <a:lnTo>
                        <a:pt x="597" y="24"/>
                      </a:lnTo>
                      <a:lnTo>
                        <a:pt x="594" y="24"/>
                      </a:lnTo>
                      <a:lnTo>
                        <a:pt x="566" y="26"/>
                      </a:lnTo>
                      <a:lnTo>
                        <a:pt x="566" y="29"/>
                      </a:lnTo>
                      <a:lnTo>
                        <a:pt x="563" y="29"/>
                      </a:lnTo>
                      <a:lnTo>
                        <a:pt x="566" y="26"/>
                      </a:lnTo>
                      <a:lnTo>
                        <a:pt x="568" y="26"/>
                      </a:lnTo>
                      <a:lnTo>
                        <a:pt x="573" y="26"/>
                      </a:lnTo>
                      <a:lnTo>
                        <a:pt x="578" y="24"/>
                      </a:lnTo>
                      <a:lnTo>
                        <a:pt x="580" y="24"/>
                      </a:lnTo>
                      <a:lnTo>
                        <a:pt x="582" y="24"/>
                      </a:lnTo>
                      <a:lnTo>
                        <a:pt x="585" y="22"/>
                      </a:lnTo>
                      <a:lnTo>
                        <a:pt x="578" y="19"/>
                      </a:lnTo>
                      <a:lnTo>
                        <a:pt x="552" y="19"/>
                      </a:lnTo>
                      <a:lnTo>
                        <a:pt x="542" y="22"/>
                      </a:lnTo>
                      <a:lnTo>
                        <a:pt x="525" y="19"/>
                      </a:lnTo>
                      <a:lnTo>
                        <a:pt x="523" y="19"/>
                      </a:lnTo>
                      <a:lnTo>
                        <a:pt x="523" y="22"/>
                      </a:lnTo>
                      <a:lnTo>
                        <a:pt x="518" y="22"/>
                      </a:lnTo>
                      <a:lnTo>
                        <a:pt x="514" y="24"/>
                      </a:lnTo>
                      <a:lnTo>
                        <a:pt x="511" y="24"/>
                      </a:lnTo>
                      <a:lnTo>
                        <a:pt x="509" y="24"/>
                      </a:lnTo>
                      <a:lnTo>
                        <a:pt x="506" y="24"/>
                      </a:lnTo>
                      <a:lnTo>
                        <a:pt x="509" y="22"/>
                      </a:lnTo>
                      <a:lnTo>
                        <a:pt x="518" y="19"/>
                      </a:lnTo>
                      <a:lnTo>
                        <a:pt x="530" y="19"/>
                      </a:lnTo>
                      <a:lnTo>
                        <a:pt x="563" y="19"/>
                      </a:lnTo>
                      <a:lnTo>
                        <a:pt x="580" y="17"/>
                      </a:lnTo>
                      <a:lnTo>
                        <a:pt x="625" y="17"/>
                      </a:lnTo>
                      <a:lnTo>
                        <a:pt x="632" y="14"/>
                      </a:lnTo>
                      <a:lnTo>
                        <a:pt x="628" y="12"/>
                      </a:lnTo>
                      <a:lnTo>
                        <a:pt x="618" y="10"/>
                      </a:lnTo>
                      <a:lnTo>
                        <a:pt x="592" y="10"/>
                      </a:lnTo>
                      <a:lnTo>
                        <a:pt x="594" y="10"/>
                      </a:lnTo>
                      <a:lnTo>
                        <a:pt x="597" y="7"/>
                      </a:lnTo>
                      <a:lnTo>
                        <a:pt x="594" y="5"/>
                      </a:lnTo>
                      <a:lnTo>
                        <a:pt x="585" y="5"/>
                      </a:lnTo>
                      <a:lnTo>
                        <a:pt x="582" y="7"/>
                      </a:lnTo>
                      <a:lnTo>
                        <a:pt x="568" y="7"/>
                      </a:lnTo>
                      <a:lnTo>
                        <a:pt x="566" y="5"/>
                      </a:lnTo>
                      <a:lnTo>
                        <a:pt x="571" y="5"/>
                      </a:lnTo>
                      <a:lnTo>
                        <a:pt x="573" y="5"/>
                      </a:lnTo>
                      <a:lnTo>
                        <a:pt x="578" y="5"/>
                      </a:lnTo>
                      <a:lnTo>
                        <a:pt x="578" y="2"/>
                      </a:lnTo>
                      <a:lnTo>
                        <a:pt x="575" y="2"/>
                      </a:lnTo>
                      <a:lnTo>
                        <a:pt x="571" y="0"/>
                      </a:lnTo>
                      <a:lnTo>
                        <a:pt x="537" y="0"/>
                      </a:lnTo>
                      <a:lnTo>
                        <a:pt x="528" y="2"/>
                      </a:lnTo>
                      <a:lnTo>
                        <a:pt x="518" y="2"/>
                      </a:lnTo>
                      <a:lnTo>
                        <a:pt x="509" y="0"/>
                      </a:lnTo>
                      <a:lnTo>
                        <a:pt x="483" y="0"/>
                      </a:lnTo>
                      <a:lnTo>
                        <a:pt x="478" y="2"/>
                      </a:lnTo>
                      <a:lnTo>
                        <a:pt x="454" y="2"/>
                      </a:lnTo>
                      <a:lnTo>
                        <a:pt x="452" y="0"/>
                      </a:lnTo>
                      <a:lnTo>
                        <a:pt x="447" y="0"/>
                      </a:lnTo>
                      <a:lnTo>
                        <a:pt x="445" y="2"/>
                      </a:lnTo>
                      <a:lnTo>
                        <a:pt x="442" y="2"/>
                      </a:lnTo>
                      <a:lnTo>
                        <a:pt x="442" y="5"/>
                      </a:lnTo>
                      <a:lnTo>
                        <a:pt x="445" y="5"/>
                      </a:lnTo>
                      <a:lnTo>
                        <a:pt x="447" y="5"/>
                      </a:lnTo>
                      <a:lnTo>
                        <a:pt x="442" y="7"/>
                      </a:lnTo>
                      <a:lnTo>
                        <a:pt x="428" y="7"/>
                      </a:lnTo>
                      <a:lnTo>
                        <a:pt x="409" y="5"/>
                      </a:lnTo>
                      <a:lnTo>
                        <a:pt x="378" y="5"/>
                      </a:lnTo>
                      <a:lnTo>
                        <a:pt x="373" y="5"/>
                      </a:lnTo>
                      <a:lnTo>
                        <a:pt x="371" y="5"/>
                      </a:lnTo>
                      <a:lnTo>
                        <a:pt x="368" y="7"/>
                      </a:lnTo>
                      <a:lnTo>
                        <a:pt x="366" y="7"/>
                      </a:lnTo>
                      <a:lnTo>
                        <a:pt x="366" y="10"/>
                      </a:lnTo>
                      <a:lnTo>
                        <a:pt x="368" y="10"/>
                      </a:lnTo>
                      <a:lnTo>
                        <a:pt x="378" y="10"/>
                      </a:lnTo>
                      <a:lnTo>
                        <a:pt x="387" y="10"/>
                      </a:lnTo>
                      <a:lnTo>
                        <a:pt x="399" y="12"/>
                      </a:lnTo>
                      <a:lnTo>
                        <a:pt x="404" y="12"/>
                      </a:lnTo>
                      <a:lnTo>
                        <a:pt x="426" y="14"/>
                      </a:lnTo>
                      <a:lnTo>
                        <a:pt x="399" y="14"/>
                      </a:lnTo>
                      <a:lnTo>
                        <a:pt x="395" y="14"/>
                      </a:lnTo>
                      <a:lnTo>
                        <a:pt x="392" y="14"/>
                      </a:lnTo>
                      <a:lnTo>
                        <a:pt x="387" y="12"/>
                      </a:lnTo>
                      <a:lnTo>
                        <a:pt x="378" y="12"/>
                      </a:lnTo>
                      <a:lnTo>
                        <a:pt x="380" y="14"/>
                      </a:lnTo>
                      <a:lnTo>
                        <a:pt x="383" y="14"/>
                      </a:lnTo>
                      <a:lnTo>
                        <a:pt x="385" y="14"/>
                      </a:lnTo>
                      <a:lnTo>
                        <a:pt x="376" y="14"/>
                      </a:lnTo>
                      <a:lnTo>
                        <a:pt x="373" y="17"/>
                      </a:lnTo>
                      <a:lnTo>
                        <a:pt x="373" y="19"/>
                      </a:lnTo>
                      <a:lnTo>
                        <a:pt x="371" y="22"/>
                      </a:lnTo>
                      <a:lnTo>
                        <a:pt x="371" y="24"/>
                      </a:lnTo>
                      <a:lnTo>
                        <a:pt x="368" y="24"/>
                      </a:lnTo>
                      <a:lnTo>
                        <a:pt x="366" y="24"/>
                      </a:lnTo>
                      <a:lnTo>
                        <a:pt x="364" y="24"/>
                      </a:lnTo>
                      <a:lnTo>
                        <a:pt x="359" y="24"/>
                      </a:lnTo>
                      <a:lnTo>
                        <a:pt x="357" y="22"/>
                      </a:lnTo>
                      <a:lnTo>
                        <a:pt x="345" y="19"/>
                      </a:lnTo>
                      <a:lnTo>
                        <a:pt x="330" y="14"/>
                      </a:lnTo>
                      <a:lnTo>
                        <a:pt x="309" y="14"/>
                      </a:lnTo>
                      <a:lnTo>
                        <a:pt x="309" y="24"/>
                      </a:lnTo>
                      <a:lnTo>
                        <a:pt x="297" y="24"/>
                      </a:lnTo>
                      <a:lnTo>
                        <a:pt x="292" y="22"/>
                      </a:lnTo>
                      <a:lnTo>
                        <a:pt x="288" y="22"/>
                      </a:lnTo>
                      <a:lnTo>
                        <a:pt x="285" y="19"/>
                      </a:lnTo>
                      <a:lnTo>
                        <a:pt x="278" y="19"/>
                      </a:lnTo>
                      <a:lnTo>
                        <a:pt x="273" y="22"/>
                      </a:lnTo>
                      <a:lnTo>
                        <a:pt x="273" y="24"/>
                      </a:lnTo>
                      <a:lnTo>
                        <a:pt x="269" y="24"/>
                      </a:lnTo>
                      <a:lnTo>
                        <a:pt x="271" y="19"/>
                      </a:lnTo>
                      <a:lnTo>
                        <a:pt x="269" y="17"/>
                      </a:lnTo>
                      <a:lnTo>
                        <a:pt x="238" y="17"/>
                      </a:lnTo>
                      <a:lnTo>
                        <a:pt x="228" y="19"/>
                      </a:lnTo>
                      <a:lnTo>
                        <a:pt x="209" y="19"/>
                      </a:lnTo>
                      <a:lnTo>
                        <a:pt x="214" y="22"/>
                      </a:lnTo>
                      <a:lnTo>
                        <a:pt x="223" y="26"/>
                      </a:lnTo>
                      <a:lnTo>
                        <a:pt x="226" y="29"/>
                      </a:lnTo>
                      <a:lnTo>
                        <a:pt x="223" y="29"/>
                      </a:lnTo>
                      <a:lnTo>
                        <a:pt x="223" y="26"/>
                      </a:lnTo>
                      <a:lnTo>
                        <a:pt x="214" y="24"/>
                      </a:lnTo>
                      <a:lnTo>
                        <a:pt x="207" y="24"/>
                      </a:lnTo>
                      <a:lnTo>
                        <a:pt x="202" y="22"/>
                      </a:lnTo>
                      <a:lnTo>
                        <a:pt x="197" y="22"/>
                      </a:lnTo>
                      <a:lnTo>
                        <a:pt x="192" y="19"/>
                      </a:lnTo>
                      <a:lnTo>
                        <a:pt x="190" y="19"/>
                      </a:lnTo>
                      <a:lnTo>
                        <a:pt x="188" y="22"/>
                      </a:lnTo>
                      <a:lnTo>
                        <a:pt x="185" y="24"/>
                      </a:lnTo>
                      <a:lnTo>
                        <a:pt x="183" y="26"/>
                      </a:lnTo>
                      <a:lnTo>
                        <a:pt x="178" y="29"/>
                      </a:lnTo>
                      <a:lnTo>
                        <a:pt x="176" y="29"/>
                      </a:lnTo>
                      <a:lnTo>
                        <a:pt x="171" y="31"/>
                      </a:lnTo>
                      <a:lnTo>
                        <a:pt x="150" y="31"/>
                      </a:lnTo>
                      <a:lnTo>
                        <a:pt x="143" y="34"/>
                      </a:lnTo>
                      <a:lnTo>
                        <a:pt x="133" y="36"/>
                      </a:lnTo>
                      <a:lnTo>
                        <a:pt x="124" y="38"/>
                      </a:lnTo>
                      <a:lnTo>
                        <a:pt x="119" y="38"/>
                      </a:lnTo>
                      <a:lnTo>
                        <a:pt x="102" y="41"/>
                      </a:lnTo>
                      <a:lnTo>
                        <a:pt x="97" y="43"/>
                      </a:lnTo>
                      <a:lnTo>
                        <a:pt x="100" y="46"/>
                      </a:lnTo>
                      <a:lnTo>
                        <a:pt x="105" y="48"/>
                      </a:lnTo>
                      <a:lnTo>
                        <a:pt x="126" y="48"/>
                      </a:lnTo>
                      <a:lnTo>
                        <a:pt x="116" y="50"/>
                      </a:lnTo>
                      <a:lnTo>
                        <a:pt x="112" y="55"/>
                      </a:lnTo>
                      <a:lnTo>
                        <a:pt x="109" y="55"/>
                      </a:lnTo>
                      <a:lnTo>
                        <a:pt x="93" y="60"/>
                      </a:lnTo>
                      <a:lnTo>
                        <a:pt x="88" y="60"/>
                      </a:lnTo>
                      <a:lnTo>
                        <a:pt x="66" y="60"/>
                      </a:lnTo>
                      <a:lnTo>
                        <a:pt x="57" y="62"/>
                      </a:lnTo>
                      <a:lnTo>
                        <a:pt x="47" y="65"/>
                      </a:lnTo>
                      <a:lnTo>
                        <a:pt x="45" y="67"/>
                      </a:lnTo>
                      <a:lnTo>
                        <a:pt x="40" y="67"/>
                      </a:lnTo>
                      <a:lnTo>
                        <a:pt x="38" y="65"/>
                      </a:lnTo>
                      <a:lnTo>
                        <a:pt x="31" y="70"/>
                      </a:lnTo>
                      <a:lnTo>
                        <a:pt x="9" y="70"/>
                      </a:lnTo>
                      <a:lnTo>
                        <a:pt x="7" y="70"/>
                      </a:lnTo>
                      <a:lnTo>
                        <a:pt x="2" y="70"/>
                      </a:lnTo>
                      <a:lnTo>
                        <a:pt x="0" y="74"/>
                      </a:lnTo>
                      <a:lnTo>
                        <a:pt x="2" y="74"/>
                      </a:lnTo>
                      <a:lnTo>
                        <a:pt x="9" y="79"/>
                      </a:lnTo>
                      <a:lnTo>
                        <a:pt x="12" y="82"/>
                      </a:lnTo>
                      <a:lnTo>
                        <a:pt x="14" y="84"/>
                      </a:lnTo>
                      <a:lnTo>
                        <a:pt x="24" y="79"/>
                      </a:lnTo>
                      <a:lnTo>
                        <a:pt x="24" y="84"/>
                      </a:lnTo>
                      <a:lnTo>
                        <a:pt x="28" y="86"/>
                      </a:lnTo>
                      <a:lnTo>
                        <a:pt x="33" y="86"/>
                      </a:lnTo>
                      <a:lnTo>
                        <a:pt x="36" y="84"/>
                      </a:lnTo>
                      <a:lnTo>
                        <a:pt x="38" y="84"/>
                      </a:lnTo>
                      <a:lnTo>
                        <a:pt x="40" y="82"/>
                      </a:lnTo>
                      <a:lnTo>
                        <a:pt x="40" y="84"/>
                      </a:lnTo>
                      <a:lnTo>
                        <a:pt x="43" y="86"/>
                      </a:lnTo>
                      <a:lnTo>
                        <a:pt x="45" y="86"/>
                      </a:lnTo>
                      <a:lnTo>
                        <a:pt x="47" y="84"/>
                      </a:lnTo>
                      <a:lnTo>
                        <a:pt x="52" y="84"/>
                      </a:lnTo>
                      <a:lnTo>
                        <a:pt x="57" y="84"/>
                      </a:lnTo>
                      <a:lnTo>
                        <a:pt x="59" y="82"/>
                      </a:lnTo>
                      <a:lnTo>
                        <a:pt x="64" y="82"/>
                      </a:lnTo>
                      <a:lnTo>
                        <a:pt x="64" y="84"/>
                      </a:lnTo>
                      <a:lnTo>
                        <a:pt x="64" y="86"/>
                      </a:lnTo>
                      <a:lnTo>
                        <a:pt x="62" y="86"/>
                      </a:lnTo>
                      <a:lnTo>
                        <a:pt x="57" y="91"/>
                      </a:lnTo>
                      <a:lnTo>
                        <a:pt x="55" y="91"/>
                      </a:lnTo>
                      <a:lnTo>
                        <a:pt x="52" y="89"/>
                      </a:lnTo>
                      <a:lnTo>
                        <a:pt x="40" y="89"/>
                      </a:lnTo>
                      <a:lnTo>
                        <a:pt x="36" y="91"/>
                      </a:lnTo>
                      <a:lnTo>
                        <a:pt x="33" y="91"/>
                      </a:lnTo>
                      <a:lnTo>
                        <a:pt x="21" y="89"/>
                      </a:lnTo>
                      <a:lnTo>
                        <a:pt x="19" y="89"/>
                      </a:lnTo>
                      <a:lnTo>
                        <a:pt x="14" y="86"/>
                      </a:lnTo>
                      <a:lnTo>
                        <a:pt x="7" y="86"/>
                      </a:lnTo>
                      <a:lnTo>
                        <a:pt x="2" y="89"/>
                      </a:lnTo>
                      <a:lnTo>
                        <a:pt x="2" y="93"/>
                      </a:lnTo>
                      <a:lnTo>
                        <a:pt x="2" y="96"/>
                      </a:lnTo>
                      <a:lnTo>
                        <a:pt x="7" y="98"/>
                      </a:lnTo>
                      <a:lnTo>
                        <a:pt x="19" y="98"/>
                      </a:lnTo>
                      <a:lnTo>
                        <a:pt x="17" y="101"/>
                      </a:lnTo>
                      <a:lnTo>
                        <a:pt x="14" y="101"/>
                      </a:lnTo>
                      <a:lnTo>
                        <a:pt x="9" y="101"/>
                      </a:lnTo>
                      <a:lnTo>
                        <a:pt x="12" y="103"/>
                      </a:lnTo>
                      <a:lnTo>
                        <a:pt x="19" y="105"/>
                      </a:lnTo>
                      <a:lnTo>
                        <a:pt x="21" y="105"/>
                      </a:lnTo>
                      <a:lnTo>
                        <a:pt x="24" y="108"/>
                      </a:lnTo>
                      <a:lnTo>
                        <a:pt x="33" y="108"/>
                      </a:lnTo>
                      <a:lnTo>
                        <a:pt x="33" y="105"/>
                      </a:lnTo>
                      <a:lnTo>
                        <a:pt x="36" y="105"/>
                      </a:lnTo>
                      <a:lnTo>
                        <a:pt x="38" y="105"/>
                      </a:lnTo>
                      <a:lnTo>
                        <a:pt x="43" y="108"/>
                      </a:lnTo>
                      <a:lnTo>
                        <a:pt x="52" y="105"/>
                      </a:lnTo>
                      <a:lnTo>
                        <a:pt x="52" y="108"/>
                      </a:lnTo>
                      <a:lnTo>
                        <a:pt x="57" y="108"/>
                      </a:lnTo>
                      <a:lnTo>
                        <a:pt x="62" y="105"/>
                      </a:lnTo>
                      <a:lnTo>
                        <a:pt x="64" y="105"/>
                      </a:lnTo>
                      <a:lnTo>
                        <a:pt x="69" y="103"/>
                      </a:lnTo>
                      <a:lnTo>
                        <a:pt x="76" y="105"/>
                      </a:lnTo>
                      <a:lnTo>
                        <a:pt x="81" y="105"/>
                      </a:lnTo>
                      <a:lnTo>
                        <a:pt x="83" y="105"/>
                      </a:lnTo>
                      <a:lnTo>
                        <a:pt x="85" y="103"/>
                      </a:lnTo>
                      <a:lnTo>
                        <a:pt x="88" y="103"/>
                      </a:lnTo>
                      <a:lnTo>
                        <a:pt x="93" y="105"/>
                      </a:lnTo>
                      <a:lnTo>
                        <a:pt x="97" y="105"/>
                      </a:lnTo>
                      <a:lnTo>
                        <a:pt x="112" y="105"/>
                      </a:lnTo>
                      <a:lnTo>
                        <a:pt x="121" y="110"/>
                      </a:lnTo>
                      <a:lnTo>
                        <a:pt x="124" y="110"/>
                      </a:lnTo>
                      <a:lnTo>
                        <a:pt x="128" y="115"/>
                      </a:lnTo>
                      <a:lnTo>
                        <a:pt x="135" y="115"/>
                      </a:lnTo>
                      <a:lnTo>
                        <a:pt x="133" y="117"/>
                      </a:lnTo>
                      <a:lnTo>
                        <a:pt x="133" y="120"/>
                      </a:lnTo>
                      <a:lnTo>
                        <a:pt x="133" y="125"/>
                      </a:lnTo>
                      <a:lnTo>
                        <a:pt x="138" y="125"/>
                      </a:lnTo>
                      <a:lnTo>
                        <a:pt x="140" y="125"/>
                      </a:lnTo>
                      <a:lnTo>
                        <a:pt x="145" y="127"/>
                      </a:lnTo>
                      <a:lnTo>
                        <a:pt x="147" y="129"/>
                      </a:lnTo>
                      <a:lnTo>
                        <a:pt x="143" y="134"/>
                      </a:lnTo>
                      <a:lnTo>
                        <a:pt x="145" y="141"/>
                      </a:lnTo>
                      <a:lnTo>
                        <a:pt x="152" y="144"/>
                      </a:lnTo>
                      <a:lnTo>
                        <a:pt x="145" y="149"/>
                      </a:lnTo>
                      <a:lnTo>
                        <a:pt x="150" y="151"/>
                      </a:lnTo>
                      <a:lnTo>
                        <a:pt x="147" y="151"/>
                      </a:lnTo>
                      <a:lnTo>
                        <a:pt x="145" y="153"/>
                      </a:lnTo>
                      <a:lnTo>
                        <a:pt x="145" y="156"/>
                      </a:lnTo>
                      <a:lnTo>
                        <a:pt x="150" y="161"/>
                      </a:lnTo>
                      <a:lnTo>
                        <a:pt x="152" y="161"/>
                      </a:lnTo>
                      <a:lnTo>
                        <a:pt x="152" y="163"/>
                      </a:lnTo>
                      <a:lnTo>
                        <a:pt x="147" y="165"/>
                      </a:lnTo>
                      <a:lnTo>
                        <a:pt x="145" y="168"/>
                      </a:lnTo>
                      <a:lnTo>
                        <a:pt x="143" y="168"/>
                      </a:lnTo>
                      <a:lnTo>
                        <a:pt x="147" y="170"/>
                      </a:lnTo>
                      <a:lnTo>
                        <a:pt x="143" y="170"/>
                      </a:lnTo>
                      <a:lnTo>
                        <a:pt x="140" y="170"/>
                      </a:lnTo>
                      <a:lnTo>
                        <a:pt x="138" y="170"/>
                      </a:lnTo>
                      <a:lnTo>
                        <a:pt x="133" y="173"/>
                      </a:lnTo>
                      <a:lnTo>
                        <a:pt x="131" y="173"/>
                      </a:lnTo>
                      <a:lnTo>
                        <a:pt x="131" y="175"/>
                      </a:lnTo>
                      <a:lnTo>
                        <a:pt x="143" y="175"/>
                      </a:lnTo>
                      <a:lnTo>
                        <a:pt x="138" y="180"/>
                      </a:lnTo>
                      <a:lnTo>
                        <a:pt x="126" y="180"/>
                      </a:lnTo>
                      <a:lnTo>
                        <a:pt x="124" y="180"/>
                      </a:lnTo>
                      <a:lnTo>
                        <a:pt x="124" y="182"/>
                      </a:lnTo>
                      <a:lnTo>
                        <a:pt x="133" y="189"/>
                      </a:lnTo>
                      <a:lnTo>
                        <a:pt x="138" y="189"/>
                      </a:lnTo>
                      <a:lnTo>
                        <a:pt x="145" y="184"/>
                      </a:lnTo>
                      <a:lnTo>
                        <a:pt x="147" y="184"/>
                      </a:lnTo>
                      <a:lnTo>
                        <a:pt x="152" y="184"/>
                      </a:lnTo>
                      <a:lnTo>
                        <a:pt x="154" y="182"/>
                      </a:lnTo>
                      <a:lnTo>
                        <a:pt x="157" y="182"/>
                      </a:lnTo>
                      <a:lnTo>
                        <a:pt x="157" y="180"/>
                      </a:lnTo>
                      <a:lnTo>
                        <a:pt x="157" y="175"/>
                      </a:lnTo>
                      <a:lnTo>
                        <a:pt x="159" y="173"/>
                      </a:lnTo>
                      <a:lnTo>
                        <a:pt x="159" y="180"/>
                      </a:lnTo>
                      <a:lnTo>
                        <a:pt x="166" y="175"/>
                      </a:lnTo>
                      <a:lnTo>
                        <a:pt x="164" y="177"/>
                      </a:lnTo>
                      <a:lnTo>
                        <a:pt x="164" y="180"/>
                      </a:lnTo>
                      <a:lnTo>
                        <a:pt x="166" y="180"/>
                      </a:lnTo>
                      <a:lnTo>
                        <a:pt x="169" y="182"/>
                      </a:lnTo>
                      <a:lnTo>
                        <a:pt x="176" y="182"/>
                      </a:lnTo>
                      <a:lnTo>
                        <a:pt x="171" y="187"/>
                      </a:lnTo>
                      <a:lnTo>
                        <a:pt x="171" y="189"/>
                      </a:lnTo>
                      <a:lnTo>
                        <a:pt x="173" y="192"/>
                      </a:lnTo>
                      <a:lnTo>
                        <a:pt x="176" y="194"/>
                      </a:lnTo>
                      <a:lnTo>
                        <a:pt x="178" y="196"/>
                      </a:lnTo>
                      <a:lnTo>
                        <a:pt x="181" y="199"/>
                      </a:lnTo>
                      <a:lnTo>
                        <a:pt x="178" y="201"/>
                      </a:lnTo>
                      <a:lnTo>
                        <a:pt x="173" y="201"/>
                      </a:lnTo>
                      <a:lnTo>
                        <a:pt x="173" y="204"/>
                      </a:lnTo>
                      <a:lnTo>
                        <a:pt x="166" y="204"/>
                      </a:lnTo>
                      <a:lnTo>
                        <a:pt x="164" y="201"/>
                      </a:lnTo>
                      <a:lnTo>
                        <a:pt x="162" y="201"/>
                      </a:lnTo>
                      <a:lnTo>
                        <a:pt x="159" y="201"/>
                      </a:lnTo>
                      <a:lnTo>
                        <a:pt x="157" y="199"/>
                      </a:lnTo>
                      <a:lnTo>
                        <a:pt x="143" y="199"/>
                      </a:lnTo>
                      <a:lnTo>
                        <a:pt x="140" y="196"/>
                      </a:lnTo>
                      <a:lnTo>
                        <a:pt x="138" y="194"/>
                      </a:lnTo>
                      <a:lnTo>
                        <a:pt x="131" y="194"/>
                      </a:lnTo>
                      <a:lnTo>
                        <a:pt x="128" y="199"/>
                      </a:lnTo>
                      <a:lnTo>
                        <a:pt x="128" y="201"/>
                      </a:lnTo>
                      <a:lnTo>
                        <a:pt x="133" y="201"/>
                      </a:lnTo>
                      <a:lnTo>
                        <a:pt x="133" y="204"/>
                      </a:lnTo>
                      <a:lnTo>
                        <a:pt x="140" y="204"/>
                      </a:lnTo>
                      <a:lnTo>
                        <a:pt x="143" y="206"/>
                      </a:lnTo>
                      <a:lnTo>
                        <a:pt x="145" y="206"/>
                      </a:lnTo>
                      <a:lnTo>
                        <a:pt x="147" y="206"/>
                      </a:lnTo>
                      <a:lnTo>
                        <a:pt x="152" y="211"/>
                      </a:lnTo>
                      <a:lnTo>
                        <a:pt x="162" y="211"/>
                      </a:lnTo>
                      <a:lnTo>
                        <a:pt x="164" y="211"/>
                      </a:lnTo>
                      <a:lnTo>
                        <a:pt x="166" y="211"/>
                      </a:lnTo>
                      <a:lnTo>
                        <a:pt x="173" y="213"/>
                      </a:lnTo>
                      <a:lnTo>
                        <a:pt x="178" y="208"/>
                      </a:lnTo>
                      <a:lnTo>
                        <a:pt x="178" y="216"/>
                      </a:lnTo>
                      <a:lnTo>
                        <a:pt x="176" y="213"/>
                      </a:lnTo>
                      <a:lnTo>
                        <a:pt x="173" y="213"/>
                      </a:lnTo>
                      <a:lnTo>
                        <a:pt x="171" y="213"/>
                      </a:lnTo>
                      <a:lnTo>
                        <a:pt x="171" y="216"/>
                      </a:lnTo>
                      <a:lnTo>
                        <a:pt x="173" y="220"/>
                      </a:lnTo>
                      <a:lnTo>
                        <a:pt x="169" y="220"/>
                      </a:lnTo>
                      <a:lnTo>
                        <a:pt x="166" y="220"/>
                      </a:lnTo>
                      <a:lnTo>
                        <a:pt x="164" y="220"/>
                      </a:lnTo>
                      <a:lnTo>
                        <a:pt x="164" y="223"/>
                      </a:lnTo>
                      <a:lnTo>
                        <a:pt x="164" y="225"/>
                      </a:lnTo>
                      <a:lnTo>
                        <a:pt x="173" y="225"/>
                      </a:lnTo>
                      <a:lnTo>
                        <a:pt x="171" y="225"/>
                      </a:lnTo>
                      <a:lnTo>
                        <a:pt x="171" y="228"/>
                      </a:lnTo>
                      <a:lnTo>
                        <a:pt x="169" y="230"/>
                      </a:lnTo>
                      <a:lnTo>
                        <a:pt x="162" y="225"/>
                      </a:lnTo>
                      <a:lnTo>
                        <a:pt x="159" y="225"/>
                      </a:lnTo>
                      <a:lnTo>
                        <a:pt x="159" y="228"/>
                      </a:lnTo>
                      <a:lnTo>
                        <a:pt x="159" y="230"/>
                      </a:lnTo>
                      <a:lnTo>
                        <a:pt x="162" y="232"/>
                      </a:lnTo>
                      <a:lnTo>
                        <a:pt x="157" y="232"/>
                      </a:lnTo>
                      <a:lnTo>
                        <a:pt x="157" y="237"/>
                      </a:lnTo>
                      <a:lnTo>
                        <a:pt x="154" y="237"/>
                      </a:lnTo>
                      <a:lnTo>
                        <a:pt x="152" y="240"/>
                      </a:lnTo>
                      <a:lnTo>
                        <a:pt x="152" y="242"/>
                      </a:lnTo>
                      <a:lnTo>
                        <a:pt x="157" y="247"/>
                      </a:lnTo>
                      <a:lnTo>
                        <a:pt x="159" y="247"/>
                      </a:lnTo>
                      <a:lnTo>
                        <a:pt x="159" y="252"/>
                      </a:lnTo>
                      <a:lnTo>
                        <a:pt x="157" y="252"/>
                      </a:lnTo>
                      <a:lnTo>
                        <a:pt x="154" y="252"/>
                      </a:lnTo>
                      <a:lnTo>
                        <a:pt x="152" y="249"/>
                      </a:lnTo>
                      <a:lnTo>
                        <a:pt x="150" y="244"/>
                      </a:lnTo>
                      <a:lnTo>
                        <a:pt x="147" y="242"/>
                      </a:lnTo>
                      <a:lnTo>
                        <a:pt x="147" y="240"/>
                      </a:lnTo>
                      <a:lnTo>
                        <a:pt x="145" y="237"/>
                      </a:lnTo>
                      <a:lnTo>
                        <a:pt x="143" y="235"/>
                      </a:lnTo>
                      <a:lnTo>
                        <a:pt x="140" y="235"/>
                      </a:lnTo>
                      <a:lnTo>
                        <a:pt x="135" y="235"/>
                      </a:lnTo>
                      <a:lnTo>
                        <a:pt x="133" y="235"/>
                      </a:lnTo>
                      <a:lnTo>
                        <a:pt x="128" y="240"/>
                      </a:lnTo>
                      <a:lnTo>
                        <a:pt x="128" y="242"/>
                      </a:lnTo>
                      <a:lnTo>
                        <a:pt x="133" y="244"/>
                      </a:lnTo>
                      <a:lnTo>
                        <a:pt x="138" y="244"/>
                      </a:lnTo>
                      <a:lnTo>
                        <a:pt x="140" y="247"/>
                      </a:lnTo>
                      <a:lnTo>
                        <a:pt x="135" y="249"/>
                      </a:lnTo>
                      <a:lnTo>
                        <a:pt x="131" y="249"/>
                      </a:lnTo>
                      <a:lnTo>
                        <a:pt x="128" y="247"/>
                      </a:lnTo>
                      <a:lnTo>
                        <a:pt x="121" y="247"/>
                      </a:lnTo>
                      <a:lnTo>
                        <a:pt x="119" y="249"/>
                      </a:lnTo>
                      <a:lnTo>
                        <a:pt x="116" y="249"/>
                      </a:lnTo>
                      <a:lnTo>
                        <a:pt x="114" y="249"/>
                      </a:lnTo>
                      <a:lnTo>
                        <a:pt x="112" y="252"/>
                      </a:lnTo>
                      <a:lnTo>
                        <a:pt x="109" y="252"/>
                      </a:lnTo>
                      <a:lnTo>
                        <a:pt x="121" y="252"/>
                      </a:lnTo>
                      <a:lnTo>
                        <a:pt x="126" y="252"/>
                      </a:lnTo>
                      <a:lnTo>
                        <a:pt x="140" y="252"/>
                      </a:lnTo>
                      <a:lnTo>
                        <a:pt x="143" y="252"/>
                      </a:lnTo>
                      <a:lnTo>
                        <a:pt x="131" y="252"/>
                      </a:lnTo>
                      <a:lnTo>
                        <a:pt x="112" y="256"/>
                      </a:lnTo>
                      <a:lnTo>
                        <a:pt x="107" y="256"/>
                      </a:lnTo>
                      <a:lnTo>
                        <a:pt x="105" y="259"/>
                      </a:lnTo>
                      <a:lnTo>
                        <a:pt x="107" y="259"/>
                      </a:lnTo>
                      <a:lnTo>
                        <a:pt x="107" y="261"/>
                      </a:lnTo>
                      <a:lnTo>
                        <a:pt x="114" y="261"/>
                      </a:lnTo>
                      <a:lnTo>
                        <a:pt x="119" y="259"/>
                      </a:lnTo>
                      <a:lnTo>
                        <a:pt x="124" y="259"/>
                      </a:lnTo>
                      <a:lnTo>
                        <a:pt x="128" y="256"/>
                      </a:lnTo>
                      <a:lnTo>
                        <a:pt x="138" y="256"/>
                      </a:lnTo>
                      <a:lnTo>
                        <a:pt x="140" y="259"/>
                      </a:lnTo>
                      <a:lnTo>
                        <a:pt x="138" y="261"/>
                      </a:lnTo>
                      <a:lnTo>
                        <a:pt x="114" y="261"/>
                      </a:lnTo>
                      <a:lnTo>
                        <a:pt x="112" y="261"/>
                      </a:lnTo>
                      <a:lnTo>
                        <a:pt x="102" y="261"/>
                      </a:lnTo>
                      <a:lnTo>
                        <a:pt x="102" y="264"/>
                      </a:lnTo>
                      <a:lnTo>
                        <a:pt x="107" y="264"/>
                      </a:lnTo>
                      <a:lnTo>
                        <a:pt x="107" y="266"/>
                      </a:lnTo>
                      <a:lnTo>
                        <a:pt x="112" y="266"/>
                      </a:lnTo>
                      <a:lnTo>
                        <a:pt x="114" y="266"/>
                      </a:lnTo>
                      <a:lnTo>
                        <a:pt x="109" y="266"/>
                      </a:lnTo>
                      <a:lnTo>
                        <a:pt x="107" y="268"/>
                      </a:lnTo>
                      <a:lnTo>
                        <a:pt x="107" y="271"/>
                      </a:lnTo>
                      <a:lnTo>
                        <a:pt x="105" y="273"/>
                      </a:lnTo>
                      <a:lnTo>
                        <a:pt x="102" y="273"/>
                      </a:lnTo>
                      <a:lnTo>
                        <a:pt x="100" y="275"/>
                      </a:lnTo>
                      <a:lnTo>
                        <a:pt x="97" y="275"/>
                      </a:lnTo>
                      <a:lnTo>
                        <a:pt x="107" y="278"/>
                      </a:lnTo>
                      <a:lnTo>
                        <a:pt x="97" y="280"/>
                      </a:lnTo>
                      <a:lnTo>
                        <a:pt x="97" y="283"/>
                      </a:lnTo>
                      <a:lnTo>
                        <a:pt x="100" y="285"/>
                      </a:lnTo>
                      <a:lnTo>
                        <a:pt x="105" y="285"/>
                      </a:lnTo>
                      <a:lnTo>
                        <a:pt x="107" y="285"/>
                      </a:lnTo>
                      <a:lnTo>
                        <a:pt x="114" y="285"/>
                      </a:lnTo>
                      <a:lnTo>
                        <a:pt x="112" y="285"/>
                      </a:lnTo>
                      <a:lnTo>
                        <a:pt x="109" y="285"/>
                      </a:lnTo>
                      <a:lnTo>
                        <a:pt x="107" y="287"/>
                      </a:lnTo>
                      <a:lnTo>
                        <a:pt x="102" y="290"/>
                      </a:lnTo>
                      <a:lnTo>
                        <a:pt x="102" y="292"/>
                      </a:lnTo>
                      <a:lnTo>
                        <a:pt x="105" y="295"/>
                      </a:lnTo>
                      <a:lnTo>
                        <a:pt x="107" y="295"/>
                      </a:lnTo>
                      <a:lnTo>
                        <a:pt x="109" y="292"/>
                      </a:lnTo>
                      <a:lnTo>
                        <a:pt x="114" y="290"/>
                      </a:lnTo>
                      <a:lnTo>
                        <a:pt x="112" y="295"/>
                      </a:lnTo>
                      <a:lnTo>
                        <a:pt x="109" y="295"/>
                      </a:lnTo>
                      <a:lnTo>
                        <a:pt x="107" y="299"/>
                      </a:lnTo>
                      <a:lnTo>
                        <a:pt x="107" y="304"/>
                      </a:lnTo>
                      <a:lnTo>
                        <a:pt x="109" y="304"/>
                      </a:lnTo>
                      <a:lnTo>
                        <a:pt x="109" y="302"/>
                      </a:lnTo>
                      <a:lnTo>
                        <a:pt x="114" y="302"/>
                      </a:lnTo>
                      <a:lnTo>
                        <a:pt x="109" y="307"/>
                      </a:lnTo>
                      <a:lnTo>
                        <a:pt x="107" y="307"/>
                      </a:lnTo>
                      <a:lnTo>
                        <a:pt x="105" y="309"/>
                      </a:lnTo>
                      <a:lnTo>
                        <a:pt x="102" y="311"/>
                      </a:lnTo>
                      <a:lnTo>
                        <a:pt x="102" y="316"/>
                      </a:lnTo>
                      <a:lnTo>
                        <a:pt x="105" y="316"/>
                      </a:lnTo>
                      <a:lnTo>
                        <a:pt x="107" y="314"/>
                      </a:lnTo>
                      <a:lnTo>
                        <a:pt x="114" y="307"/>
                      </a:lnTo>
                      <a:lnTo>
                        <a:pt x="124" y="307"/>
                      </a:lnTo>
                      <a:lnTo>
                        <a:pt x="126" y="304"/>
                      </a:lnTo>
                      <a:lnTo>
                        <a:pt x="128" y="304"/>
                      </a:lnTo>
                      <a:lnTo>
                        <a:pt x="128" y="307"/>
                      </a:lnTo>
                      <a:lnTo>
                        <a:pt x="133" y="304"/>
                      </a:lnTo>
                      <a:lnTo>
                        <a:pt x="128" y="311"/>
                      </a:lnTo>
                      <a:lnTo>
                        <a:pt x="135" y="311"/>
                      </a:lnTo>
                      <a:lnTo>
                        <a:pt x="128" y="311"/>
                      </a:lnTo>
                      <a:lnTo>
                        <a:pt x="124" y="314"/>
                      </a:lnTo>
                      <a:lnTo>
                        <a:pt x="124" y="316"/>
                      </a:lnTo>
                      <a:lnTo>
                        <a:pt x="119" y="316"/>
                      </a:lnTo>
                      <a:lnTo>
                        <a:pt x="116" y="316"/>
                      </a:lnTo>
                      <a:lnTo>
                        <a:pt x="114" y="319"/>
                      </a:lnTo>
                      <a:lnTo>
                        <a:pt x="114" y="321"/>
                      </a:lnTo>
                      <a:lnTo>
                        <a:pt x="112" y="321"/>
                      </a:lnTo>
                      <a:lnTo>
                        <a:pt x="107" y="323"/>
                      </a:lnTo>
                      <a:lnTo>
                        <a:pt x="105" y="326"/>
                      </a:lnTo>
                      <a:lnTo>
                        <a:pt x="109" y="326"/>
                      </a:lnTo>
                      <a:lnTo>
                        <a:pt x="107" y="326"/>
                      </a:lnTo>
                      <a:lnTo>
                        <a:pt x="107" y="328"/>
                      </a:lnTo>
                      <a:lnTo>
                        <a:pt x="107" y="331"/>
                      </a:lnTo>
                      <a:lnTo>
                        <a:pt x="109" y="331"/>
                      </a:lnTo>
                      <a:lnTo>
                        <a:pt x="107" y="333"/>
                      </a:lnTo>
                      <a:lnTo>
                        <a:pt x="107" y="335"/>
                      </a:lnTo>
                      <a:lnTo>
                        <a:pt x="116" y="335"/>
                      </a:lnTo>
                      <a:lnTo>
                        <a:pt x="112" y="343"/>
                      </a:lnTo>
                      <a:lnTo>
                        <a:pt x="116" y="340"/>
                      </a:lnTo>
                      <a:lnTo>
                        <a:pt x="119" y="340"/>
                      </a:lnTo>
                      <a:lnTo>
                        <a:pt x="116" y="340"/>
                      </a:lnTo>
                      <a:lnTo>
                        <a:pt x="114" y="343"/>
                      </a:lnTo>
                      <a:lnTo>
                        <a:pt x="114" y="345"/>
                      </a:lnTo>
                      <a:lnTo>
                        <a:pt x="112" y="347"/>
                      </a:lnTo>
                      <a:lnTo>
                        <a:pt x="112" y="352"/>
                      </a:lnTo>
                      <a:lnTo>
                        <a:pt x="114" y="352"/>
                      </a:lnTo>
                      <a:lnTo>
                        <a:pt x="121" y="352"/>
                      </a:lnTo>
                      <a:lnTo>
                        <a:pt x="116" y="359"/>
                      </a:lnTo>
                      <a:lnTo>
                        <a:pt x="126" y="357"/>
                      </a:lnTo>
                      <a:lnTo>
                        <a:pt x="121" y="362"/>
                      </a:lnTo>
                      <a:lnTo>
                        <a:pt x="124" y="366"/>
                      </a:lnTo>
                      <a:lnTo>
                        <a:pt x="128" y="366"/>
                      </a:lnTo>
                      <a:lnTo>
                        <a:pt x="126" y="366"/>
                      </a:lnTo>
                      <a:lnTo>
                        <a:pt x="126" y="369"/>
                      </a:lnTo>
                      <a:lnTo>
                        <a:pt x="128" y="371"/>
                      </a:lnTo>
                      <a:lnTo>
                        <a:pt x="133" y="371"/>
                      </a:lnTo>
                      <a:lnTo>
                        <a:pt x="128" y="376"/>
                      </a:lnTo>
                      <a:lnTo>
                        <a:pt x="135" y="376"/>
                      </a:lnTo>
                      <a:lnTo>
                        <a:pt x="133" y="381"/>
                      </a:lnTo>
                      <a:lnTo>
                        <a:pt x="145" y="378"/>
                      </a:lnTo>
                      <a:lnTo>
                        <a:pt x="147" y="381"/>
                      </a:lnTo>
                      <a:lnTo>
                        <a:pt x="150" y="381"/>
                      </a:lnTo>
                      <a:lnTo>
                        <a:pt x="152" y="378"/>
                      </a:lnTo>
                      <a:lnTo>
                        <a:pt x="162" y="374"/>
                      </a:lnTo>
                      <a:lnTo>
                        <a:pt x="164" y="371"/>
                      </a:lnTo>
                      <a:lnTo>
                        <a:pt x="164" y="374"/>
                      </a:lnTo>
                      <a:lnTo>
                        <a:pt x="162" y="376"/>
                      </a:lnTo>
                      <a:lnTo>
                        <a:pt x="169" y="378"/>
                      </a:lnTo>
                      <a:lnTo>
                        <a:pt x="171" y="376"/>
                      </a:lnTo>
                      <a:lnTo>
                        <a:pt x="173" y="376"/>
                      </a:lnTo>
                      <a:lnTo>
                        <a:pt x="169" y="378"/>
                      </a:lnTo>
                      <a:lnTo>
                        <a:pt x="164" y="381"/>
                      </a:lnTo>
                      <a:lnTo>
                        <a:pt x="162" y="383"/>
                      </a:lnTo>
                      <a:lnTo>
                        <a:pt x="162" y="386"/>
                      </a:lnTo>
                      <a:lnTo>
                        <a:pt x="169" y="386"/>
                      </a:lnTo>
                      <a:lnTo>
                        <a:pt x="173" y="386"/>
                      </a:lnTo>
                      <a:lnTo>
                        <a:pt x="176" y="386"/>
                      </a:lnTo>
                      <a:lnTo>
                        <a:pt x="173" y="386"/>
                      </a:lnTo>
                      <a:lnTo>
                        <a:pt x="171" y="388"/>
                      </a:lnTo>
                      <a:lnTo>
                        <a:pt x="169" y="390"/>
                      </a:lnTo>
                      <a:lnTo>
                        <a:pt x="169" y="393"/>
                      </a:lnTo>
                      <a:lnTo>
                        <a:pt x="169" y="395"/>
                      </a:lnTo>
                      <a:lnTo>
                        <a:pt x="176" y="395"/>
                      </a:lnTo>
                      <a:lnTo>
                        <a:pt x="178" y="393"/>
                      </a:lnTo>
                      <a:lnTo>
                        <a:pt x="178" y="395"/>
                      </a:lnTo>
                      <a:lnTo>
                        <a:pt x="183" y="398"/>
                      </a:lnTo>
                      <a:lnTo>
                        <a:pt x="188" y="398"/>
                      </a:lnTo>
                      <a:lnTo>
                        <a:pt x="192" y="395"/>
                      </a:lnTo>
                      <a:lnTo>
                        <a:pt x="195" y="393"/>
                      </a:lnTo>
                      <a:lnTo>
                        <a:pt x="192" y="390"/>
                      </a:lnTo>
                      <a:lnTo>
                        <a:pt x="192" y="388"/>
                      </a:lnTo>
                      <a:lnTo>
                        <a:pt x="197" y="388"/>
                      </a:lnTo>
                      <a:lnTo>
                        <a:pt x="200" y="386"/>
                      </a:lnTo>
                      <a:lnTo>
                        <a:pt x="200" y="378"/>
                      </a:lnTo>
                      <a:lnTo>
                        <a:pt x="202" y="381"/>
                      </a:lnTo>
                      <a:lnTo>
                        <a:pt x="207" y="381"/>
                      </a:lnTo>
                      <a:lnTo>
                        <a:pt x="207" y="376"/>
                      </a:lnTo>
                      <a:lnTo>
                        <a:pt x="207" y="374"/>
                      </a:lnTo>
                      <a:lnTo>
                        <a:pt x="207" y="371"/>
                      </a:lnTo>
                      <a:lnTo>
                        <a:pt x="207" y="374"/>
                      </a:lnTo>
                      <a:lnTo>
                        <a:pt x="209" y="376"/>
                      </a:lnTo>
                      <a:lnTo>
                        <a:pt x="212" y="376"/>
                      </a:lnTo>
                      <a:lnTo>
                        <a:pt x="214" y="374"/>
                      </a:lnTo>
                      <a:lnTo>
                        <a:pt x="214" y="371"/>
                      </a:lnTo>
                      <a:lnTo>
                        <a:pt x="209" y="366"/>
                      </a:lnTo>
                      <a:lnTo>
                        <a:pt x="216" y="366"/>
                      </a:lnTo>
                      <a:lnTo>
                        <a:pt x="216" y="364"/>
                      </a:lnTo>
                      <a:lnTo>
                        <a:pt x="214" y="362"/>
                      </a:lnTo>
                      <a:lnTo>
                        <a:pt x="223" y="362"/>
                      </a:lnTo>
                      <a:lnTo>
                        <a:pt x="219" y="357"/>
                      </a:lnTo>
                      <a:lnTo>
                        <a:pt x="223" y="355"/>
                      </a:lnTo>
                      <a:lnTo>
                        <a:pt x="219" y="352"/>
                      </a:lnTo>
                      <a:lnTo>
                        <a:pt x="216" y="350"/>
                      </a:lnTo>
                      <a:lnTo>
                        <a:pt x="219" y="350"/>
                      </a:lnTo>
                      <a:lnTo>
                        <a:pt x="221" y="350"/>
                      </a:lnTo>
                      <a:lnTo>
                        <a:pt x="216" y="343"/>
                      </a:lnTo>
                      <a:lnTo>
                        <a:pt x="221" y="347"/>
                      </a:lnTo>
                      <a:lnTo>
                        <a:pt x="223" y="347"/>
                      </a:lnTo>
                      <a:lnTo>
                        <a:pt x="228" y="343"/>
                      </a:lnTo>
                      <a:lnTo>
                        <a:pt x="235" y="343"/>
                      </a:lnTo>
                      <a:lnTo>
                        <a:pt x="235" y="340"/>
                      </a:lnTo>
                      <a:lnTo>
                        <a:pt x="233" y="338"/>
                      </a:lnTo>
                      <a:lnTo>
                        <a:pt x="238" y="338"/>
                      </a:lnTo>
                      <a:lnTo>
                        <a:pt x="242" y="331"/>
                      </a:lnTo>
                      <a:lnTo>
                        <a:pt x="245" y="331"/>
                      </a:lnTo>
                      <a:lnTo>
                        <a:pt x="252" y="331"/>
                      </a:lnTo>
                      <a:lnTo>
                        <a:pt x="252" y="326"/>
                      </a:lnTo>
                      <a:lnTo>
                        <a:pt x="257" y="331"/>
                      </a:lnTo>
                      <a:lnTo>
                        <a:pt x="259" y="326"/>
                      </a:lnTo>
                      <a:lnTo>
                        <a:pt x="259" y="319"/>
                      </a:lnTo>
                      <a:lnTo>
                        <a:pt x="252" y="316"/>
                      </a:lnTo>
                      <a:lnTo>
                        <a:pt x="257" y="316"/>
                      </a:lnTo>
                      <a:lnTo>
                        <a:pt x="264" y="311"/>
                      </a:lnTo>
                      <a:lnTo>
                        <a:pt x="266" y="307"/>
                      </a:lnTo>
                      <a:lnTo>
                        <a:pt x="259" y="304"/>
                      </a:lnTo>
                      <a:lnTo>
                        <a:pt x="264" y="299"/>
                      </a:lnTo>
                      <a:lnTo>
                        <a:pt x="278" y="299"/>
                      </a:lnTo>
                      <a:lnTo>
                        <a:pt x="280" y="297"/>
                      </a:lnTo>
                      <a:lnTo>
                        <a:pt x="280" y="292"/>
                      </a:lnTo>
                      <a:lnTo>
                        <a:pt x="288" y="290"/>
                      </a:lnTo>
                      <a:lnTo>
                        <a:pt x="292" y="290"/>
                      </a:lnTo>
                      <a:lnTo>
                        <a:pt x="295" y="292"/>
                      </a:lnTo>
                      <a:lnTo>
                        <a:pt x="302" y="292"/>
                      </a:lnTo>
                      <a:lnTo>
                        <a:pt x="311" y="283"/>
                      </a:lnTo>
                      <a:lnTo>
                        <a:pt x="311" y="280"/>
                      </a:lnTo>
                      <a:lnTo>
                        <a:pt x="314" y="280"/>
                      </a:lnTo>
                      <a:lnTo>
                        <a:pt x="316" y="278"/>
                      </a:lnTo>
                      <a:lnTo>
                        <a:pt x="319" y="278"/>
                      </a:lnTo>
                      <a:lnTo>
                        <a:pt x="319" y="280"/>
                      </a:lnTo>
                      <a:lnTo>
                        <a:pt x="316" y="283"/>
                      </a:lnTo>
                      <a:lnTo>
                        <a:pt x="314" y="285"/>
                      </a:lnTo>
                      <a:lnTo>
                        <a:pt x="311" y="290"/>
                      </a:lnTo>
                      <a:lnTo>
                        <a:pt x="319" y="290"/>
                      </a:lnTo>
                      <a:lnTo>
                        <a:pt x="319" y="285"/>
                      </a:lnTo>
                      <a:lnTo>
                        <a:pt x="323" y="285"/>
                      </a:lnTo>
                      <a:lnTo>
                        <a:pt x="326" y="283"/>
                      </a:lnTo>
                      <a:lnTo>
                        <a:pt x="328" y="283"/>
                      </a:lnTo>
                      <a:lnTo>
                        <a:pt x="328" y="285"/>
                      </a:lnTo>
                      <a:lnTo>
                        <a:pt x="333" y="285"/>
                      </a:lnTo>
                      <a:lnTo>
                        <a:pt x="335" y="285"/>
                      </a:lnTo>
                      <a:lnTo>
                        <a:pt x="342" y="283"/>
                      </a:lnTo>
                      <a:lnTo>
                        <a:pt x="347" y="278"/>
                      </a:lnTo>
                      <a:lnTo>
                        <a:pt x="349" y="275"/>
                      </a:lnTo>
                      <a:lnTo>
                        <a:pt x="359" y="275"/>
                      </a:lnTo>
                      <a:lnTo>
                        <a:pt x="366" y="275"/>
                      </a:lnTo>
                      <a:lnTo>
                        <a:pt x="371" y="271"/>
                      </a:lnTo>
                      <a:lnTo>
                        <a:pt x="373" y="268"/>
                      </a:lnTo>
                      <a:lnTo>
                        <a:pt x="376" y="266"/>
                      </a:lnTo>
                      <a:lnTo>
                        <a:pt x="383" y="259"/>
                      </a:lnTo>
                      <a:lnTo>
                        <a:pt x="385" y="256"/>
                      </a:lnTo>
                      <a:lnTo>
                        <a:pt x="390" y="254"/>
                      </a:lnTo>
                      <a:lnTo>
                        <a:pt x="399" y="252"/>
                      </a:lnTo>
                      <a:lnTo>
                        <a:pt x="402" y="252"/>
                      </a:lnTo>
                      <a:lnTo>
                        <a:pt x="404" y="249"/>
                      </a:lnTo>
                      <a:lnTo>
                        <a:pt x="407" y="249"/>
                      </a:lnTo>
                      <a:lnTo>
                        <a:pt x="407" y="247"/>
                      </a:lnTo>
                      <a:lnTo>
                        <a:pt x="407" y="244"/>
                      </a:lnTo>
                      <a:lnTo>
                        <a:pt x="407" y="240"/>
                      </a:lnTo>
                      <a:lnTo>
                        <a:pt x="407" y="235"/>
                      </a:lnTo>
                      <a:lnTo>
                        <a:pt x="414" y="242"/>
                      </a:lnTo>
                      <a:lnTo>
                        <a:pt x="416" y="244"/>
                      </a:lnTo>
                      <a:lnTo>
                        <a:pt x="418" y="244"/>
                      </a:lnTo>
                      <a:lnTo>
                        <a:pt x="437" y="244"/>
                      </a:lnTo>
                      <a:lnTo>
                        <a:pt x="447" y="242"/>
                      </a:lnTo>
                      <a:lnTo>
                        <a:pt x="454" y="240"/>
                      </a:lnTo>
                      <a:lnTo>
                        <a:pt x="459" y="240"/>
                      </a:lnTo>
                      <a:lnTo>
                        <a:pt x="468" y="237"/>
                      </a:lnTo>
                      <a:lnTo>
                        <a:pt x="480" y="235"/>
                      </a:lnTo>
                      <a:lnTo>
                        <a:pt x="487" y="235"/>
                      </a:lnTo>
                      <a:lnTo>
                        <a:pt x="492" y="230"/>
                      </a:lnTo>
                      <a:lnTo>
                        <a:pt x="499" y="230"/>
                      </a:lnTo>
                      <a:lnTo>
                        <a:pt x="502" y="228"/>
                      </a:lnTo>
                      <a:lnTo>
                        <a:pt x="509" y="228"/>
                      </a:lnTo>
                      <a:lnTo>
                        <a:pt x="516" y="220"/>
                      </a:lnTo>
                      <a:lnTo>
                        <a:pt x="518" y="220"/>
                      </a:lnTo>
                      <a:lnTo>
                        <a:pt x="518" y="218"/>
                      </a:lnTo>
                      <a:lnTo>
                        <a:pt x="523" y="218"/>
                      </a:lnTo>
                      <a:lnTo>
                        <a:pt x="525" y="216"/>
                      </a:lnTo>
                      <a:lnTo>
                        <a:pt x="528" y="216"/>
                      </a:lnTo>
                      <a:lnTo>
                        <a:pt x="542" y="213"/>
                      </a:lnTo>
                      <a:lnTo>
                        <a:pt x="552" y="211"/>
                      </a:lnTo>
                      <a:lnTo>
                        <a:pt x="552" y="206"/>
                      </a:lnTo>
                      <a:lnTo>
                        <a:pt x="549" y="206"/>
                      </a:lnTo>
                      <a:lnTo>
                        <a:pt x="547" y="208"/>
                      </a:lnTo>
                      <a:lnTo>
                        <a:pt x="537" y="208"/>
                      </a:lnTo>
                      <a:lnTo>
                        <a:pt x="530" y="206"/>
                      </a:lnTo>
                      <a:lnTo>
                        <a:pt x="525" y="206"/>
                      </a:lnTo>
                      <a:lnTo>
                        <a:pt x="521" y="204"/>
                      </a:lnTo>
                      <a:lnTo>
                        <a:pt x="509" y="204"/>
                      </a:lnTo>
                      <a:lnTo>
                        <a:pt x="499" y="206"/>
                      </a:lnTo>
                      <a:lnTo>
                        <a:pt x="490" y="206"/>
                      </a:lnTo>
                      <a:lnTo>
                        <a:pt x="487" y="211"/>
                      </a:lnTo>
                      <a:lnTo>
                        <a:pt x="471" y="211"/>
                      </a:lnTo>
                      <a:lnTo>
                        <a:pt x="485" y="206"/>
                      </a:lnTo>
                      <a:lnTo>
                        <a:pt x="494" y="204"/>
                      </a:lnTo>
                      <a:lnTo>
                        <a:pt x="499" y="204"/>
                      </a:lnTo>
                      <a:lnTo>
                        <a:pt x="502" y="201"/>
                      </a:lnTo>
                      <a:lnTo>
                        <a:pt x="506" y="201"/>
                      </a:lnTo>
                      <a:lnTo>
                        <a:pt x="511" y="199"/>
                      </a:lnTo>
                      <a:lnTo>
                        <a:pt x="514" y="199"/>
                      </a:lnTo>
                      <a:lnTo>
                        <a:pt x="516" y="199"/>
                      </a:lnTo>
                      <a:lnTo>
                        <a:pt x="514" y="196"/>
                      </a:lnTo>
                      <a:lnTo>
                        <a:pt x="509" y="194"/>
                      </a:lnTo>
                      <a:lnTo>
                        <a:pt x="506" y="194"/>
                      </a:lnTo>
                      <a:lnTo>
                        <a:pt x="504" y="194"/>
                      </a:lnTo>
                      <a:lnTo>
                        <a:pt x="497" y="196"/>
                      </a:lnTo>
                      <a:lnTo>
                        <a:pt x="483" y="201"/>
                      </a:lnTo>
                      <a:lnTo>
                        <a:pt x="468" y="201"/>
                      </a:lnTo>
                      <a:lnTo>
                        <a:pt x="478" y="196"/>
                      </a:lnTo>
                      <a:lnTo>
                        <a:pt x="485" y="192"/>
                      </a:lnTo>
                      <a:lnTo>
                        <a:pt x="487" y="192"/>
                      </a:lnTo>
                      <a:lnTo>
                        <a:pt x="492" y="194"/>
                      </a:lnTo>
                      <a:lnTo>
                        <a:pt x="497" y="194"/>
                      </a:lnTo>
                      <a:lnTo>
                        <a:pt x="499" y="192"/>
                      </a:lnTo>
                      <a:lnTo>
                        <a:pt x="504" y="192"/>
                      </a:lnTo>
                      <a:lnTo>
                        <a:pt x="506" y="189"/>
                      </a:lnTo>
                      <a:lnTo>
                        <a:pt x="516" y="189"/>
                      </a:lnTo>
                      <a:lnTo>
                        <a:pt x="518" y="189"/>
                      </a:lnTo>
                      <a:lnTo>
                        <a:pt x="516" y="187"/>
                      </a:lnTo>
                      <a:lnTo>
                        <a:pt x="514" y="187"/>
                      </a:lnTo>
                      <a:lnTo>
                        <a:pt x="509" y="184"/>
                      </a:lnTo>
                      <a:lnTo>
                        <a:pt x="485" y="184"/>
                      </a:lnTo>
                      <a:lnTo>
                        <a:pt x="492" y="182"/>
                      </a:lnTo>
                      <a:lnTo>
                        <a:pt x="485" y="180"/>
                      </a:lnTo>
                      <a:lnTo>
                        <a:pt x="485" y="175"/>
                      </a:lnTo>
                      <a:lnTo>
                        <a:pt x="487" y="175"/>
                      </a:lnTo>
                      <a:lnTo>
                        <a:pt x="490" y="177"/>
                      </a:lnTo>
                      <a:lnTo>
                        <a:pt x="492" y="180"/>
                      </a:lnTo>
                      <a:lnTo>
                        <a:pt x="497" y="182"/>
                      </a:lnTo>
                      <a:lnTo>
                        <a:pt x="504" y="182"/>
                      </a:lnTo>
                      <a:lnTo>
                        <a:pt x="506" y="184"/>
                      </a:lnTo>
                      <a:lnTo>
                        <a:pt x="509" y="184"/>
                      </a:lnTo>
                      <a:lnTo>
                        <a:pt x="514" y="184"/>
                      </a:lnTo>
                      <a:lnTo>
                        <a:pt x="518" y="184"/>
                      </a:lnTo>
                      <a:lnTo>
                        <a:pt x="518" y="187"/>
                      </a:lnTo>
                      <a:lnTo>
                        <a:pt x="523" y="187"/>
                      </a:lnTo>
                      <a:lnTo>
                        <a:pt x="523" y="184"/>
                      </a:lnTo>
                      <a:lnTo>
                        <a:pt x="528" y="184"/>
                      </a:lnTo>
                      <a:lnTo>
                        <a:pt x="528" y="187"/>
                      </a:lnTo>
                      <a:lnTo>
                        <a:pt x="528" y="189"/>
                      </a:lnTo>
                      <a:lnTo>
                        <a:pt x="528" y="192"/>
                      </a:lnTo>
                      <a:lnTo>
                        <a:pt x="528" y="196"/>
                      </a:lnTo>
                      <a:lnTo>
                        <a:pt x="528" y="199"/>
                      </a:lnTo>
                      <a:lnTo>
                        <a:pt x="533" y="199"/>
                      </a:lnTo>
                      <a:lnTo>
                        <a:pt x="537" y="201"/>
                      </a:lnTo>
                      <a:lnTo>
                        <a:pt x="542" y="201"/>
                      </a:lnTo>
                      <a:lnTo>
                        <a:pt x="547" y="201"/>
                      </a:lnTo>
                      <a:lnTo>
                        <a:pt x="549" y="201"/>
                      </a:lnTo>
                      <a:lnTo>
                        <a:pt x="552" y="199"/>
                      </a:lnTo>
                      <a:lnTo>
                        <a:pt x="554" y="199"/>
                      </a:lnTo>
                      <a:lnTo>
                        <a:pt x="554" y="204"/>
                      </a:lnTo>
                      <a:lnTo>
                        <a:pt x="559" y="204"/>
                      </a:lnTo>
                      <a:lnTo>
                        <a:pt x="561" y="201"/>
                      </a:lnTo>
                      <a:lnTo>
                        <a:pt x="563" y="201"/>
                      </a:lnTo>
                      <a:lnTo>
                        <a:pt x="563" y="194"/>
                      </a:lnTo>
                      <a:lnTo>
                        <a:pt x="561" y="194"/>
                      </a:lnTo>
                      <a:lnTo>
                        <a:pt x="563" y="189"/>
                      </a:lnTo>
                      <a:lnTo>
                        <a:pt x="563" y="187"/>
                      </a:lnTo>
                      <a:lnTo>
                        <a:pt x="559" y="187"/>
                      </a:lnTo>
                      <a:lnTo>
                        <a:pt x="556" y="182"/>
                      </a:lnTo>
                      <a:lnTo>
                        <a:pt x="552" y="180"/>
                      </a:lnTo>
                      <a:lnTo>
                        <a:pt x="552" y="175"/>
                      </a:lnTo>
                      <a:lnTo>
                        <a:pt x="533" y="170"/>
                      </a:lnTo>
                      <a:lnTo>
                        <a:pt x="523" y="170"/>
                      </a:lnTo>
                      <a:lnTo>
                        <a:pt x="521" y="170"/>
                      </a:lnTo>
                      <a:lnTo>
                        <a:pt x="528" y="168"/>
                      </a:lnTo>
                      <a:lnTo>
                        <a:pt x="530" y="165"/>
                      </a:lnTo>
                      <a:lnTo>
                        <a:pt x="528" y="165"/>
                      </a:lnTo>
                      <a:lnTo>
                        <a:pt x="525" y="163"/>
                      </a:lnTo>
                      <a:lnTo>
                        <a:pt x="514" y="163"/>
                      </a:lnTo>
                      <a:lnTo>
                        <a:pt x="509" y="161"/>
                      </a:lnTo>
                      <a:lnTo>
                        <a:pt x="504" y="161"/>
                      </a:lnTo>
                      <a:lnTo>
                        <a:pt x="509" y="156"/>
                      </a:lnTo>
                      <a:lnTo>
                        <a:pt x="523" y="156"/>
                      </a:lnTo>
                      <a:lnTo>
                        <a:pt x="528" y="153"/>
                      </a:lnTo>
                      <a:lnTo>
                        <a:pt x="533" y="153"/>
                      </a:lnTo>
                      <a:lnTo>
                        <a:pt x="547" y="156"/>
                      </a:lnTo>
                      <a:lnTo>
                        <a:pt x="552" y="156"/>
                      </a:lnTo>
                      <a:lnTo>
                        <a:pt x="554" y="156"/>
                      </a:lnTo>
                      <a:lnTo>
                        <a:pt x="556" y="158"/>
                      </a:lnTo>
                      <a:lnTo>
                        <a:pt x="559" y="161"/>
                      </a:lnTo>
                      <a:lnTo>
                        <a:pt x="563" y="165"/>
                      </a:lnTo>
                      <a:lnTo>
                        <a:pt x="568" y="165"/>
                      </a:lnTo>
                      <a:lnTo>
                        <a:pt x="568" y="163"/>
                      </a:lnTo>
                      <a:lnTo>
                        <a:pt x="568" y="158"/>
                      </a:lnTo>
                      <a:lnTo>
                        <a:pt x="559" y="156"/>
                      </a:lnTo>
                      <a:lnTo>
                        <a:pt x="552" y="153"/>
                      </a:lnTo>
                      <a:lnTo>
                        <a:pt x="540" y="151"/>
                      </a:lnTo>
                      <a:lnTo>
                        <a:pt x="544" y="149"/>
                      </a:lnTo>
                      <a:lnTo>
                        <a:pt x="547" y="149"/>
                      </a:lnTo>
                      <a:lnTo>
                        <a:pt x="552" y="151"/>
                      </a:lnTo>
                      <a:lnTo>
                        <a:pt x="556" y="151"/>
                      </a:lnTo>
                      <a:lnTo>
                        <a:pt x="559" y="153"/>
                      </a:lnTo>
                      <a:lnTo>
                        <a:pt x="578" y="153"/>
                      </a:lnTo>
                      <a:lnTo>
                        <a:pt x="594" y="151"/>
                      </a:lnTo>
                      <a:lnTo>
                        <a:pt x="594" y="144"/>
                      </a:lnTo>
                      <a:lnTo>
                        <a:pt x="582" y="141"/>
                      </a:lnTo>
                      <a:lnTo>
                        <a:pt x="578" y="146"/>
                      </a:lnTo>
                      <a:lnTo>
                        <a:pt x="573" y="141"/>
                      </a:lnTo>
                      <a:lnTo>
                        <a:pt x="573" y="139"/>
                      </a:lnTo>
                      <a:lnTo>
                        <a:pt x="587" y="139"/>
                      </a:lnTo>
                      <a:lnTo>
                        <a:pt x="599" y="137"/>
                      </a:lnTo>
                      <a:lnTo>
                        <a:pt x="602" y="139"/>
                      </a:lnTo>
                      <a:lnTo>
                        <a:pt x="609" y="139"/>
                      </a:lnTo>
                      <a:lnTo>
                        <a:pt x="616" y="134"/>
                      </a:lnTo>
                      <a:lnTo>
                        <a:pt x="618" y="134"/>
                      </a:lnTo>
                      <a:lnTo>
                        <a:pt x="618" y="132"/>
                      </a:lnTo>
                      <a:lnTo>
                        <a:pt x="599" y="132"/>
                      </a:lnTo>
                      <a:lnTo>
                        <a:pt x="599" y="129"/>
                      </a:lnTo>
                      <a:lnTo>
                        <a:pt x="597" y="129"/>
                      </a:lnTo>
                      <a:lnTo>
                        <a:pt x="597" y="127"/>
                      </a:lnTo>
                      <a:lnTo>
                        <a:pt x="592" y="127"/>
                      </a:lnTo>
                      <a:lnTo>
                        <a:pt x="587" y="125"/>
                      </a:lnTo>
                      <a:lnTo>
                        <a:pt x="592" y="125"/>
                      </a:lnTo>
                      <a:lnTo>
                        <a:pt x="594" y="125"/>
                      </a:lnTo>
                      <a:lnTo>
                        <a:pt x="594" y="122"/>
                      </a:lnTo>
                      <a:lnTo>
                        <a:pt x="592" y="120"/>
                      </a:lnTo>
                      <a:lnTo>
                        <a:pt x="590" y="120"/>
                      </a:lnTo>
                      <a:lnTo>
                        <a:pt x="582" y="117"/>
                      </a:lnTo>
                      <a:lnTo>
                        <a:pt x="592" y="117"/>
                      </a:lnTo>
                      <a:lnTo>
                        <a:pt x="594" y="120"/>
                      </a:lnTo>
                      <a:lnTo>
                        <a:pt x="597" y="120"/>
                      </a:lnTo>
                      <a:lnTo>
                        <a:pt x="602" y="120"/>
                      </a:lnTo>
                      <a:lnTo>
                        <a:pt x="606" y="120"/>
                      </a:lnTo>
                      <a:lnTo>
                        <a:pt x="609" y="125"/>
                      </a:lnTo>
                      <a:lnTo>
                        <a:pt x="613" y="125"/>
                      </a:lnTo>
                      <a:lnTo>
                        <a:pt x="618" y="120"/>
                      </a:lnTo>
                      <a:lnTo>
                        <a:pt x="618" y="113"/>
                      </a:lnTo>
                      <a:lnTo>
                        <a:pt x="616" y="110"/>
                      </a:lnTo>
                      <a:lnTo>
                        <a:pt x="613" y="110"/>
                      </a:lnTo>
                      <a:lnTo>
                        <a:pt x="611" y="108"/>
                      </a:lnTo>
                      <a:lnTo>
                        <a:pt x="609" y="105"/>
                      </a:lnTo>
                      <a:lnTo>
                        <a:pt x="592" y="103"/>
                      </a:lnTo>
                      <a:lnTo>
                        <a:pt x="587" y="101"/>
                      </a:lnTo>
                      <a:lnTo>
                        <a:pt x="587" y="98"/>
                      </a:lnTo>
                      <a:lnTo>
                        <a:pt x="590" y="98"/>
                      </a:lnTo>
                      <a:lnTo>
                        <a:pt x="599" y="98"/>
                      </a:lnTo>
                      <a:lnTo>
                        <a:pt x="611" y="96"/>
                      </a:lnTo>
                      <a:lnTo>
                        <a:pt x="618" y="96"/>
                      </a:lnTo>
                      <a:lnTo>
                        <a:pt x="623" y="98"/>
                      </a:lnTo>
                      <a:lnTo>
                        <a:pt x="632" y="98"/>
                      </a:lnTo>
                      <a:lnTo>
                        <a:pt x="637" y="96"/>
                      </a:lnTo>
                      <a:lnTo>
                        <a:pt x="642" y="93"/>
                      </a:lnTo>
                      <a:lnTo>
                        <a:pt x="642" y="91"/>
                      </a:lnTo>
                      <a:lnTo>
                        <a:pt x="642" y="89"/>
                      </a:lnTo>
                      <a:lnTo>
                        <a:pt x="632" y="89"/>
                      </a:lnTo>
                      <a:lnTo>
                        <a:pt x="625" y="86"/>
                      </a:lnTo>
                      <a:lnTo>
                        <a:pt x="616" y="86"/>
                      </a:lnTo>
                      <a:lnTo>
                        <a:pt x="613" y="84"/>
                      </a:lnTo>
                      <a:lnTo>
                        <a:pt x="623" y="84"/>
                      </a:lnTo>
                      <a:lnTo>
                        <a:pt x="621" y="82"/>
                      </a:lnTo>
                      <a:lnTo>
                        <a:pt x="618" y="79"/>
                      </a:lnTo>
                      <a:lnTo>
                        <a:pt x="618" y="77"/>
                      </a:lnTo>
                      <a:lnTo>
                        <a:pt x="613" y="77"/>
                      </a:lnTo>
                      <a:lnTo>
                        <a:pt x="611" y="79"/>
                      </a:lnTo>
                      <a:lnTo>
                        <a:pt x="611" y="84"/>
                      </a:lnTo>
                      <a:lnTo>
                        <a:pt x="606" y="84"/>
                      </a:lnTo>
                      <a:lnTo>
                        <a:pt x="604" y="84"/>
                      </a:lnTo>
                      <a:lnTo>
                        <a:pt x="602" y="82"/>
                      </a:lnTo>
                      <a:lnTo>
                        <a:pt x="599" y="79"/>
                      </a:lnTo>
                      <a:lnTo>
                        <a:pt x="602" y="79"/>
                      </a:lnTo>
                      <a:lnTo>
                        <a:pt x="606" y="77"/>
                      </a:lnTo>
                      <a:lnTo>
                        <a:pt x="609" y="74"/>
                      </a:lnTo>
                      <a:lnTo>
                        <a:pt x="613" y="70"/>
                      </a:lnTo>
                      <a:lnTo>
                        <a:pt x="616" y="67"/>
                      </a:lnTo>
                      <a:lnTo>
                        <a:pt x="618" y="65"/>
                      </a:lnTo>
                      <a:lnTo>
                        <a:pt x="621" y="65"/>
                      </a:lnTo>
                      <a:lnTo>
                        <a:pt x="623" y="65"/>
                      </a:lnTo>
                      <a:lnTo>
                        <a:pt x="628" y="65"/>
                      </a:lnTo>
                      <a:lnTo>
                        <a:pt x="630" y="65"/>
                      </a:lnTo>
                      <a:lnTo>
                        <a:pt x="632" y="62"/>
                      </a:lnTo>
                      <a:lnTo>
                        <a:pt x="637" y="60"/>
                      </a:lnTo>
                      <a:lnTo>
                        <a:pt x="635" y="55"/>
                      </a:lnTo>
                      <a:lnTo>
                        <a:pt x="637" y="53"/>
                      </a:lnTo>
                      <a:lnTo>
                        <a:pt x="640" y="50"/>
                      </a:lnTo>
                      <a:lnTo>
                        <a:pt x="642" y="50"/>
                      </a:lnTo>
                      <a:lnTo>
                        <a:pt x="647" y="50"/>
                      </a:lnTo>
                      <a:lnTo>
                        <a:pt x="649" y="50"/>
                      </a:lnTo>
                      <a:lnTo>
                        <a:pt x="651" y="53"/>
                      </a:lnTo>
                      <a:lnTo>
                        <a:pt x="656" y="53"/>
                      </a:lnTo>
                      <a:lnTo>
                        <a:pt x="659" y="50"/>
                      </a:lnTo>
                      <a:lnTo>
                        <a:pt x="661" y="50"/>
                      </a:lnTo>
                      <a:lnTo>
                        <a:pt x="663" y="48"/>
                      </a:lnTo>
                      <a:lnTo>
                        <a:pt x="644" y="48"/>
                      </a:lnTo>
                      <a:lnTo>
                        <a:pt x="642" y="48"/>
                      </a:lnTo>
                      <a:lnTo>
                        <a:pt x="637" y="48"/>
                      </a:lnTo>
                      <a:lnTo>
                        <a:pt x="635" y="50"/>
                      </a:lnTo>
                      <a:lnTo>
                        <a:pt x="630" y="50"/>
                      </a:lnTo>
                      <a:lnTo>
                        <a:pt x="630" y="48"/>
                      </a:lnTo>
                      <a:lnTo>
                        <a:pt x="640" y="43"/>
                      </a:lnTo>
                      <a:lnTo>
                        <a:pt x="670" y="43"/>
                      </a:lnTo>
                      <a:lnTo>
                        <a:pt x="675" y="43"/>
                      </a:lnTo>
                      <a:lnTo>
                        <a:pt x="678" y="43"/>
                      </a:lnTo>
                      <a:lnTo>
                        <a:pt x="682" y="41"/>
                      </a:lnTo>
                      <a:lnTo>
                        <a:pt x="678" y="41"/>
                      </a:lnTo>
                      <a:lnTo>
                        <a:pt x="673" y="38"/>
                      </a:lnTo>
                      <a:lnTo>
                        <a:pt x="656" y="38"/>
                      </a:lnTo>
                      <a:lnTo>
                        <a:pt x="651" y="41"/>
                      </a:lnTo>
                      <a:lnTo>
                        <a:pt x="635" y="41"/>
                      </a:lnTo>
                      <a:lnTo>
                        <a:pt x="635" y="38"/>
                      </a:lnTo>
                      <a:lnTo>
                        <a:pt x="637" y="38"/>
                      </a:lnTo>
                      <a:lnTo>
                        <a:pt x="642" y="38"/>
                      </a:lnTo>
                      <a:lnTo>
                        <a:pt x="687" y="38"/>
                      </a:lnTo>
                      <a:lnTo>
                        <a:pt x="692" y="36"/>
                      </a:lnTo>
                      <a:lnTo>
                        <a:pt x="699" y="34"/>
                      </a:lnTo>
                      <a:lnTo>
                        <a:pt x="701" y="31"/>
                      </a:lnTo>
                      <a:lnTo>
                        <a:pt x="718" y="31"/>
                      </a:lnTo>
                      <a:lnTo>
                        <a:pt x="723" y="29"/>
                      </a:lnTo>
                      <a:lnTo>
                        <a:pt x="725" y="29"/>
                      </a:lnTo>
                      <a:lnTo>
                        <a:pt x="730" y="29"/>
                      </a:lnTo>
                      <a:lnTo>
                        <a:pt x="732" y="26"/>
                      </a:lnTo>
                      <a:lnTo>
                        <a:pt x="730" y="24"/>
                      </a:lnTo>
                      <a:close/>
                      <a:moveTo>
                        <a:pt x="119" y="268"/>
                      </a:moveTo>
                      <a:lnTo>
                        <a:pt x="116" y="266"/>
                      </a:lnTo>
                      <a:lnTo>
                        <a:pt x="119" y="268"/>
                      </a:lnTo>
                      <a:close/>
                      <a:moveTo>
                        <a:pt x="128" y="223"/>
                      </a:moveTo>
                      <a:lnTo>
                        <a:pt x="135" y="223"/>
                      </a:lnTo>
                      <a:lnTo>
                        <a:pt x="138" y="220"/>
                      </a:lnTo>
                      <a:lnTo>
                        <a:pt x="145" y="220"/>
                      </a:lnTo>
                      <a:lnTo>
                        <a:pt x="147" y="220"/>
                      </a:lnTo>
                      <a:lnTo>
                        <a:pt x="147" y="216"/>
                      </a:lnTo>
                      <a:lnTo>
                        <a:pt x="150" y="216"/>
                      </a:lnTo>
                      <a:lnTo>
                        <a:pt x="147" y="213"/>
                      </a:lnTo>
                      <a:lnTo>
                        <a:pt x="145" y="211"/>
                      </a:lnTo>
                      <a:lnTo>
                        <a:pt x="143" y="211"/>
                      </a:lnTo>
                      <a:lnTo>
                        <a:pt x="138" y="211"/>
                      </a:lnTo>
                      <a:lnTo>
                        <a:pt x="135" y="206"/>
                      </a:lnTo>
                      <a:lnTo>
                        <a:pt x="119" y="206"/>
                      </a:lnTo>
                      <a:lnTo>
                        <a:pt x="119" y="213"/>
                      </a:lnTo>
                      <a:lnTo>
                        <a:pt x="116" y="216"/>
                      </a:lnTo>
                      <a:lnTo>
                        <a:pt x="114" y="216"/>
                      </a:lnTo>
                      <a:lnTo>
                        <a:pt x="114" y="218"/>
                      </a:lnTo>
                      <a:lnTo>
                        <a:pt x="116" y="220"/>
                      </a:lnTo>
                      <a:lnTo>
                        <a:pt x="119" y="220"/>
                      </a:lnTo>
                      <a:lnTo>
                        <a:pt x="119" y="225"/>
                      </a:lnTo>
                      <a:lnTo>
                        <a:pt x="128" y="223"/>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4" name="Ukraine">
                  <a:extLst>
                    <a:ext uri="{FF2B5EF4-FFF2-40B4-BE49-F238E27FC236}">
                      <a16:creationId xmlns:a16="http://schemas.microsoft.com/office/drawing/2014/main" id="{ECB3EE66-4E9C-4102-A110-84FDE7C346FE}"/>
                    </a:ext>
                  </a:extLst>
                </p:cNvPr>
                <p:cNvSpPr>
                  <a:spLocks/>
                </p:cNvSpPr>
                <p:nvPr/>
              </p:nvSpPr>
              <p:spPr bwMode="gray">
                <a:xfrm>
                  <a:off x="4794026" y="1799866"/>
                  <a:ext cx="422458" cy="236500"/>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5" name="Russia">
                  <a:extLst>
                    <a:ext uri="{FF2B5EF4-FFF2-40B4-BE49-F238E27FC236}">
                      <a16:creationId xmlns:a16="http://schemas.microsoft.com/office/drawing/2014/main" id="{CA9E2531-3A72-4FFB-8473-36850A249C45}"/>
                    </a:ext>
                  </a:extLst>
                </p:cNvPr>
                <p:cNvSpPr>
                  <a:spLocks noEditPoints="1"/>
                </p:cNvSpPr>
                <p:nvPr/>
              </p:nvSpPr>
              <p:spPr bwMode="gray">
                <a:xfrm>
                  <a:off x="4730061" y="1044256"/>
                  <a:ext cx="3410902" cy="1085816"/>
                </a:xfrm>
                <a:custGeom>
                  <a:avLst/>
                  <a:gdLst>
                    <a:gd name="T0" fmla="*/ 2147483647 w 9048"/>
                    <a:gd name="T1" fmla="*/ 2147483647 h 2880"/>
                    <a:gd name="T2" fmla="*/ 2147483647 w 9048"/>
                    <a:gd name="T3" fmla="*/ 2147483647 h 2880"/>
                    <a:gd name="T4" fmla="*/ 2147483647 w 9048"/>
                    <a:gd name="T5" fmla="*/ 2147483647 h 2880"/>
                    <a:gd name="T6" fmla="*/ 2147483647 w 9048"/>
                    <a:gd name="T7" fmla="*/ 2147483647 h 2880"/>
                    <a:gd name="T8" fmla="*/ 2147483647 w 9048"/>
                    <a:gd name="T9" fmla="*/ 2147483647 h 2880"/>
                    <a:gd name="T10" fmla="*/ 2147483647 w 9048"/>
                    <a:gd name="T11" fmla="*/ 2147483647 h 2880"/>
                    <a:gd name="T12" fmla="*/ 2147483647 w 9048"/>
                    <a:gd name="T13" fmla="*/ 2147483647 h 2880"/>
                    <a:gd name="T14" fmla="*/ 2147483647 w 9048"/>
                    <a:gd name="T15" fmla="*/ 2147483647 h 2880"/>
                    <a:gd name="T16" fmla="*/ 2147483647 w 9048"/>
                    <a:gd name="T17" fmla="*/ 2147483647 h 2880"/>
                    <a:gd name="T18" fmla="*/ 2147483647 w 9048"/>
                    <a:gd name="T19" fmla="*/ 2147483647 h 2880"/>
                    <a:gd name="T20" fmla="*/ 2147483647 w 9048"/>
                    <a:gd name="T21" fmla="*/ 2147483647 h 2880"/>
                    <a:gd name="T22" fmla="*/ 2147483647 w 9048"/>
                    <a:gd name="T23" fmla="*/ 2147483647 h 2880"/>
                    <a:gd name="T24" fmla="*/ 2147483647 w 9048"/>
                    <a:gd name="T25" fmla="*/ 2147483647 h 2880"/>
                    <a:gd name="T26" fmla="*/ 2147483647 w 9048"/>
                    <a:gd name="T27" fmla="*/ 2147483647 h 2880"/>
                    <a:gd name="T28" fmla="*/ 2147483647 w 9048"/>
                    <a:gd name="T29" fmla="*/ 2147483647 h 2880"/>
                    <a:gd name="T30" fmla="*/ 2147483647 w 9048"/>
                    <a:gd name="T31" fmla="*/ 2147483647 h 2880"/>
                    <a:gd name="T32" fmla="*/ 2147483647 w 9048"/>
                    <a:gd name="T33" fmla="*/ 2147483647 h 2880"/>
                    <a:gd name="T34" fmla="*/ 2147483647 w 9048"/>
                    <a:gd name="T35" fmla="*/ 2147483647 h 2880"/>
                    <a:gd name="T36" fmla="*/ 2147483647 w 9048"/>
                    <a:gd name="T37" fmla="*/ 2147483647 h 2880"/>
                    <a:gd name="T38" fmla="*/ 2147483647 w 9048"/>
                    <a:gd name="T39" fmla="*/ 2147483647 h 2880"/>
                    <a:gd name="T40" fmla="*/ 2147483647 w 9048"/>
                    <a:gd name="T41" fmla="*/ 2147483647 h 2880"/>
                    <a:gd name="T42" fmla="*/ 2147483647 w 9048"/>
                    <a:gd name="T43" fmla="*/ 2147483647 h 2880"/>
                    <a:gd name="T44" fmla="*/ 2147483647 w 9048"/>
                    <a:gd name="T45" fmla="*/ 2147483647 h 2880"/>
                    <a:gd name="T46" fmla="*/ 2147483647 w 9048"/>
                    <a:gd name="T47" fmla="*/ 2147483647 h 2880"/>
                    <a:gd name="T48" fmla="*/ 2147483647 w 9048"/>
                    <a:gd name="T49" fmla="*/ 2147483647 h 2880"/>
                    <a:gd name="T50" fmla="*/ 2147483647 w 9048"/>
                    <a:gd name="T51" fmla="*/ 2147483647 h 2880"/>
                    <a:gd name="T52" fmla="*/ 2147483647 w 9048"/>
                    <a:gd name="T53" fmla="*/ 2147483647 h 2880"/>
                    <a:gd name="T54" fmla="*/ 2147483647 w 9048"/>
                    <a:gd name="T55" fmla="*/ 2147483647 h 2880"/>
                    <a:gd name="T56" fmla="*/ 2147483647 w 9048"/>
                    <a:gd name="T57" fmla="*/ 2147483647 h 2880"/>
                    <a:gd name="T58" fmla="*/ 2147483647 w 9048"/>
                    <a:gd name="T59" fmla="*/ 2147483647 h 2880"/>
                    <a:gd name="T60" fmla="*/ 2147483647 w 9048"/>
                    <a:gd name="T61" fmla="*/ 2147483647 h 2880"/>
                    <a:gd name="T62" fmla="*/ 2147483647 w 9048"/>
                    <a:gd name="T63" fmla="*/ 2147483647 h 2880"/>
                    <a:gd name="T64" fmla="*/ 2147483647 w 9048"/>
                    <a:gd name="T65" fmla="*/ 2147483647 h 2880"/>
                    <a:gd name="T66" fmla="*/ 2147483647 w 9048"/>
                    <a:gd name="T67" fmla="*/ 2147483647 h 2880"/>
                    <a:gd name="T68" fmla="*/ 2147483647 w 9048"/>
                    <a:gd name="T69" fmla="*/ 2147483647 h 2880"/>
                    <a:gd name="T70" fmla="*/ 2147483647 w 9048"/>
                    <a:gd name="T71" fmla="*/ 2147483647 h 2880"/>
                    <a:gd name="T72" fmla="*/ 2147483647 w 9048"/>
                    <a:gd name="T73" fmla="*/ 2147483647 h 2880"/>
                    <a:gd name="T74" fmla="*/ 2147483647 w 9048"/>
                    <a:gd name="T75" fmla="*/ 2147483647 h 2880"/>
                    <a:gd name="T76" fmla="*/ 2147483647 w 9048"/>
                    <a:gd name="T77" fmla="*/ 2147483647 h 2880"/>
                    <a:gd name="T78" fmla="*/ 2147483647 w 9048"/>
                    <a:gd name="T79" fmla="*/ 2147483647 h 2880"/>
                    <a:gd name="T80" fmla="*/ 2147483647 w 9048"/>
                    <a:gd name="T81" fmla="*/ 2147483647 h 2880"/>
                    <a:gd name="T82" fmla="*/ 2147483647 w 9048"/>
                    <a:gd name="T83" fmla="*/ 2147483647 h 2880"/>
                    <a:gd name="T84" fmla="*/ 2147483647 w 9048"/>
                    <a:gd name="T85" fmla="*/ 2147483647 h 2880"/>
                    <a:gd name="T86" fmla="*/ 2147483647 w 9048"/>
                    <a:gd name="T87" fmla="*/ 2147483647 h 2880"/>
                    <a:gd name="T88" fmla="*/ 2147483647 w 9048"/>
                    <a:gd name="T89" fmla="*/ 2147483647 h 2880"/>
                    <a:gd name="T90" fmla="*/ 2147483647 w 9048"/>
                    <a:gd name="T91" fmla="*/ 2147483647 h 2880"/>
                    <a:gd name="T92" fmla="*/ 2147483647 w 9048"/>
                    <a:gd name="T93" fmla="*/ 2147483647 h 2880"/>
                    <a:gd name="T94" fmla="*/ 2147483647 w 9048"/>
                    <a:gd name="T95" fmla="*/ 2147483647 h 2880"/>
                    <a:gd name="T96" fmla="*/ 2147483647 w 9048"/>
                    <a:gd name="T97" fmla="*/ 2147483647 h 2880"/>
                    <a:gd name="T98" fmla="*/ 2147483647 w 9048"/>
                    <a:gd name="T99" fmla="*/ 2147483647 h 2880"/>
                    <a:gd name="T100" fmla="*/ 2147483647 w 9048"/>
                    <a:gd name="T101" fmla="*/ 2147483647 h 2880"/>
                    <a:gd name="T102" fmla="*/ 2147483647 w 9048"/>
                    <a:gd name="T103" fmla="*/ 2147483647 h 2880"/>
                    <a:gd name="T104" fmla="*/ 2147483647 w 9048"/>
                    <a:gd name="T105" fmla="*/ 2147483647 h 2880"/>
                    <a:gd name="T106" fmla="*/ 2147483647 w 9048"/>
                    <a:gd name="T107" fmla="*/ 2147483647 h 2880"/>
                    <a:gd name="T108" fmla="*/ 2147483647 w 9048"/>
                    <a:gd name="T109" fmla="*/ 2147483647 h 2880"/>
                    <a:gd name="T110" fmla="*/ 2147483647 w 9048"/>
                    <a:gd name="T111" fmla="*/ 2147483647 h 2880"/>
                    <a:gd name="T112" fmla="*/ 2147483647 w 9048"/>
                    <a:gd name="T113" fmla="*/ 2147483647 h 2880"/>
                    <a:gd name="T114" fmla="*/ 2147483647 w 9048"/>
                    <a:gd name="T115" fmla="*/ 2147483647 h 2880"/>
                    <a:gd name="T116" fmla="*/ 2147483647 w 9048"/>
                    <a:gd name="T117" fmla="*/ 2147483647 h 2880"/>
                    <a:gd name="T118" fmla="*/ 2147483647 w 9048"/>
                    <a:gd name="T119" fmla="*/ 2147483647 h 2880"/>
                    <a:gd name="T120" fmla="*/ 2147483647 w 9048"/>
                    <a:gd name="T121" fmla="*/ 2147483647 h 2880"/>
                    <a:gd name="T122" fmla="*/ 2147483647 w 9048"/>
                    <a:gd name="T123" fmla="*/ 2147483647 h 2880"/>
                    <a:gd name="T124" fmla="*/ 2147483647 w 9048"/>
                    <a:gd name="T125" fmla="*/ 2147483647 h 28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48"/>
                    <a:gd name="T190" fmla="*/ 0 h 2880"/>
                    <a:gd name="T191" fmla="*/ 9048 w 9048"/>
                    <a:gd name="T192" fmla="*/ 2880 h 28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48" h="2880">
                      <a:moveTo>
                        <a:pt x="2790" y="546"/>
                      </a:moveTo>
                      <a:lnTo>
                        <a:pt x="2760" y="540"/>
                      </a:lnTo>
                      <a:lnTo>
                        <a:pt x="2736" y="558"/>
                      </a:lnTo>
                      <a:lnTo>
                        <a:pt x="2778" y="570"/>
                      </a:lnTo>
                      <a:lnTo>
                        <a:pt x="2790" y="546"/>
                      </a:lnTo>
                      <a:close/>
                      <a:moveTo>
                        <a:pt x="2832" y="522"/>
                      </a:moveTo>
                      <a:lnTo>
                        <a:pt x="2820" y="516"/>
                      </a:lnTo>
                      <a:lnTo>
                        <a:pt x="2814" y="510"/>
                      </a:lnTo>
                      <a:lnTo>
                        <a:pt x="2808" y="510"/>
                      </a:lnTo>
                      <a:lnTo>
                        <a:pt x="2808" y="528"/>
                      </a:lnTo>
                      <a:lnTo>
                        <a:pt x="2820" y="534"/>
                      </a:lnTo>
                      <a:lnTo>
                        <a:pt x="2832" y="534"/>
                      </a:lnTo>
                      <a:lnTo>
                        <a:pt x="2844" y="540"/>
                      </a:lnTo>
                      <a:lnTo>
                        <a:pt x="2850" y="540"/>
                      </a:lnTo>
                      <a:lnTo>
                        <a:pt x="2850" y="534"/>
                      </a:lnTo>
                      <a:lnTo>
                        <a:pt x="2844" y="528"/>
                      </a:lnTo>
                      <a:lnTo>
                        <a:pt x="2832" y="522"/>
                      </a:lnTo>
                      <a:close/>
                      <a:moveTo>
                        <a:pt x="1704" y="18"/>
                      </a:moveTo>
                      <a:lnTo>
                        <a:pt x="1710" y="18"/>
                      </a:lnTo>
                      <a:lnTo>
                        <a:pt x="1716" y="12"/>
                      </a:lnTo>
                      <a:lnTo>
                        <a:pt x="1728" y="6"/>
                      </a:lnTo>
                      <a:lnTo>
                        <a:pt x="1734" y="0"/>
                      </a:lnTo>
                      <a:lnTo>
                        <a:pt x="1644" y="0"/>
                      </a:lnTo>
                      <a:lnTo>
                        <a:pt x="1638" y="12"/>
                      </a:lnTo>
                      <a:lnTo>
                        <a:pt x="1680" y="12"/>
                      </a:lnTo>
                      <a:lnTo>
                        <a:pt x="1686" y="18"/>
                      </a:lnTo>
                      <a:lnTo>
                        <a:pt x="1704" y="18"/>
                      </a:lnTo>
                      <a:close/>
                      <a:moveTo>
                        <a:pt x="1740" y="60"/>
                      </a:moveTo>
                      <a:lnTo>
                        <a:pt x="1746" y="60"/>
                      </a:lnTo>
                      <a:lnTo>
                        <a:pt x="1758" y="48"/>
                      </a:lnTo>
                      <a:lnTo>
                        <a:pt x="1764" y="48"/>
                      </a:lnTo>
                      <a:lnTo>
                        <a:pt x="1770" y="54"/>
                      </a:lnTo>
                      <a:lnTo>
                        <a:pt x="1782" y="54"/>
                      </a:lnTo>
                      <a:lnTo>
                        <a:pt x="1788" y="60"/>
                      </a:lnTo>
                      <a:lnTo>
                        <a:pt x="1800" y="60"/>
                      </a:lnTo>
                      <a:lnTo>
                        <a:pt x="1812" y="48"/>
                      </a:lnTo>
                      <a:lnTo>
                        <a:pt x="1812" y="36"/>
                      </a:lnTo>
                      <a:lnTo>
                        <a:pt x="1806" y="30"/>
                      </a:lnTo>
                      <a:lnTo>
                        <a:pt x="1794" y="24"/>
                      </a:lnTo>
                      <a:lnTo>
                        <a:pt x="1758" y="24"/>
                      </a:lnTo>
                      <a:lnTo>
                        <a:pt x="1710" y="48"/>
                      </a:lnTo>
                      <a:lnTo>
                        <a:pt x="1716" y="54"/>
                      </a:lnTo>
                      <a:lnTo>
                        <a:pt x="1728" y="60"/>
                      </a:lnTo>
                      <a:lnTo>
                        <a:pt x="1740" y="60"/>
                      </a:lnTo>
                      <a:close/>
                      <a:moveTo>
                        <a:pt x="2382" y="510"/>
                      </a:moveTo>
                      <a:lnTo>
                        <a:pt x="2400" y="504"/>
                      </a:lnTo>
                      <a:lnTo>
                        <a:pt x="2412" y="498"/>
                      </a:lnTo>
                      <a:lnTo>
                        <a:pt x="2412" y="486"/>
                      </a:lnTo>
                      <a:lnTo>
                        <a:pt x="2406" y="486"/>
                      </a:lnTo>
                      <a:lnTo>
                        <a:pt x="2400" y="480"/>
                      </a:lnTo>
                      <a:lnTo>
                        <a:pt x="2346" y="480"/>
                      </a:lnTo>
                      <a:lnTo>
                        <a:pt x="2346" y="492"/>
                      </a:lnTo>
                      <a:lnTo>
                        <a:pt x="2358" y="504"/>
                      </a:lnTo>
                      <a:lnTo>
                        <a:pt x="2370" y="510"/>
                      </a:lnTo>
                      <a:lnTo>
                        <a:pt x="2382" y="510"/>
                      </a:lnTo>
                      <a:close/>
                      <a:moveTo>
                        <a:pt x="1590" y="30"/>
                      </a:moveTo>
                      <a:lnTo>
                        <a:pt x="1548" y="24"/>
                      </a:lnTo>
                      <a:lnTo>
                        <a:pt x="1554" y="36"/>
                      </a:lnTo>
                      <a:lnTo>
                        <a:pt x="1590" y="30"/>
                      </a:lnTo>
                      <a:close/>
                      <a:moveTo>
                        <a:pt x="1890" y="696"/>
                      </a:moveTo>
                      <a:lnTo>
                        <a:pt x="1896" y="708"/>
                      </a:lnTo>
                      <a:lnTo>
                        <a:pt x="1920" y="720"/>
                      </a:lnTo>
                      <a:lnTo>
                        <a:pt x="1950" y="738"/>
                      </a:lnTo>
                      <a:lnTo>
                        <a:pt x="1974" y="744"/>
                      </a:lnTo>
                      <a:lnTo>
                        <a:pt x="1992" y="738"/>
                      </a:lnTo>
                      <a:lnTo>
                        <a:pt x="1980" y="720"/>
                      </a:lnTo>
                      <a:lnTo>
                        <a:pt x="1950" y="702"/>
                      </a:lnTo>
                      <a:lnTo>
                        <a:pt x="1914" y="696"/>
                      </a:lnTo>
                      <a:lnTo>
                        <a:pt x="1890" y="696"/>
                      </a:lnTo>
                      <a:close/>
                      <a:moveTo>
                        <a:pt x="3108" y="126"/>
                      </a:moveTo>
                      <a:lnTo>
                        <a:pt x="3120" y="108"/>
                      </a:lnTo>
                      <a:lnTo>
                        <a:pt x="3030" y="108"/>
                      </a:lnTo>
                      <a:lnTo>
                        <a:pt x="3108" y="126"/>
                      </a:lnTo>
                      <a:close/>
                      <a:moveTo>
                        <a:pt x="1560" y="102"/>
                      </a:moveTo>
                      <a:lnTo>
                        <a:pt x="1632" y="102"/>
                      </a:lnTo>
                      <a:lnTo>
                        <a:pt x="1608" y="84"/>
                      </a:lnTo>
                      <a:lnTo>
                        <a:pt x="1560" y="102"/>
                      </a:lnTo>
                      <a:close/>
                      <a:moveTo>
                        <a:pt x="1572" y="60"/>
                      </a:moveTo>
                      <a:lnTo>
                        <a:pt x="1584" y="66"/>
                      </a:lnTo>
                      <a:lnTo>
                        <a:pt x="1596" y="78"/>
                      </a:lnTo>
                      <a:lnTo>
                        <a:pt x="1620" y="66"/>
                      </a:lnTo>
                      <a:lnTo>
                        <a:pt x="1620" y="72"/>
                      </a:lnTo>
                      <a:lnTo>
                        <a:pt x="1644" y="72"/>
                      </a:lnTo>
                      <a:lnTo>
                        <a:pt x="1668" y="60"/>
                      </a:lnTo>
                      <a:lnTo>
                        <a:pt x="1674" y="54"/>
                      </a:lnTo>
                      <a:lnTo>
                        <a:pt x="1680" y="54"/>
                      </a:lnTo>
                      <a:lnTo>
                        <a:pt x="1626" y="48"/>
                      </a:lnTo>
                      <a:lnTo>
                        <a:pt x="1614" y="54"/>
                      </a:lnTo>
                      <a:lnTo>
                        <a:pt x="1608" y="54"/>
                      </a:lnTo>
                      <a:lnTo>
                        <a:pt x="1602" y="48"/>
                      </a:lnTo>
                      <a:lnTo>
                        <a:pt x="1584" y="48"/>
                      </a:lnTo>
                      <a:lnTo>
                        <a:pt x="1572" y="60"/>
                      </a:lnTo>
                      <a:close/>
                      <a:moveTo>
                        <a:pt x="1662" y="36"/>
                      </a:moveTo>
                      <a:lnTo>
                        <a:pt x="1602" y="36"/>
                      </a:lnTo>
                      <a:lnTo>
                        <a:pt x="1650" y="48"/>
                      </a:lnTo>
                      <a:lnTo>
                        <a:pt x="1662" y="36"/>
                      </a:lnTo>
                      <a:close/>
                      <a:moveTo>
                        <a:pt x="1542" y="522"/>
                      </a:moveTo>
                      <a:lnTo>
                        <a:pt x="1500" y="528"/>
                      </a:lnTo>
                      <a:lnTo>
                        <a:pt x="1512" y="552"/>
                      </a:lnTo>
                      <a:lnTo>
                        <a:pt x="1542" y="534"/>
                      </a:lnTo>
                      <a:lnTo>
                        <a:pt x="1524" y="558"/>
                      </a:lnTo>
                      <a:lnTo>
                        <a:pt x="1518" y="558"/>
                      </a:lnTo>
                      <a:lnTo>
                        <a:pt x="1512" y="564"/>
                      </a:lnTo>
                      <a:lnTo>
                        <a:pt x="1506" y="564"/>
                      </a:lnTo>
                      <a:lnTo>
                        <a:pt x="1494" y="570"/>
                      </a:lnTo>
                      <a:lnTo>
                        <a:pt x="1488" y="576"/>
                      </a:lnTo>
                      <a:lnTo>
                        <a:pt x="1488" y="582"/>
                      </a:lnTo>
                      <a:lnTo>
                        <a:pt x="1500" y="594"/>
                      </a:lnTo>
                      <a:lnTo>
                        <a:pt x="1524" y="606"/>
                      </a:lnTo>
                      <a:lnTo>
                        <a:pt x="1566" y="606"/>
                      </a:lnTo>
                      <a:lnTo>
                        <a:pt x="1590" y="612"/>
                      </a:lnTo>
                      <a:lnTo>
                        <a:pt x="1608" y="618"/>
                      </a:lnTo>
                      <a:lnTo>
                        <a:pt x="1614" y="624"/>
                      </a:lnTo>
                      <a:lnTo>
                        <a:pt x="1620" y="636"/>
                      </a:lnTo>
                      <a:lnTo>
                        <a:pt x="1620" y="648"/>
                      </a:lnTo>
                      <a:lnTo>
                        <a:pt x="1626" y="654"/>
                      </a:lnTo>
                      <a:lnTo>
                        <a:pt x="1626" y="660"/>
                      </a:lnTo>
                      <a:lnTo>
                        <a:pt x="1644" y="660"/>
                      </a:lnTo>
                      <a:lnTo>
                        <a:pt x="1662" y="666"/>
                      </a:lnTo>
                      <a:lnTo>
                        <a:pt x="1674" y="666"/>
                      </a:lnTo>
                      <a:lnTo>
                        <a:pt x="1692" y="672"/>
                      </a:lnTo>
                      <a:lnTo>
                        <a:pt x="1704" y="672"/>
                      </a:lnTo>
                      <a:lnTo>
                        <a:pt x="1818" y="666"/>
                      </a:lnTo>
                      <a:lnTo>
                        <a:pt x="1806" y="666"/>
                      </a:lnTo>
                      <a:lnTo>
                        <a:pt x="1734" y="642"/>
                      </a:lnTo>
                      <a:lnTo>
                        <a:pt x="1704" y="618"/>
                      </a:lnTo>
                      <a:lnTo>
                        <a:pt x="1692" y="600"/>
                      </a:lnTo>
                      <a:lnTo>
                        <a:pt x="1686" y="588"/>
                      </a:lnTo>
                      <a:lnTo>
                        <a:pt x="1674" y="582"/>
                      </a:lnTo>
                      <a:lnTo>
                        <a:pt x="1674" y="570"/>
                      </a:lnTo>
                      <a:lnTo>
                        <a:pt x="1668" y="564"/>
                      </a:lnTo>
                      <a:lnTo>
                        <a:pt x="1692" y="516"/>
                      </a:lnTo>
                      <a:lnTo>
                        <a:pt x="1686" y="510"/>
                      </a:lnTo>
                      <a:lnTo>
                        <a:pt x="1686" y="504"/>
                      </a:lnTo>
                      <a:lnTo>
                        <a:pt x="1674" y="504"/>
                      </a:lnTo>
                      <a:lnTo>
                        <a:pt x="1710" y="498"/>
                      </a:lnTo>
                      <a:lnTo>
                        <a:pt x="1698" y="480"/>
                      </a:lnTo>
                      <a:lnTo>
                        <a:pt x="1734" y="480"/>
                      </a:lnTo>
                      <a:lnTo>
                        <a:pt x="1710" y="468"/>
                      </a:lnTo>
                      <a:lnTo>
                        <a:pt x="1734" y="474"/>
                      </a:lnTo>
                      <a:lnTo>
                        <a:pt x="1740" y="462"/>
                      </a:lnTo>
                      <a:lnTo>
                        <a:pt x="1722" y="450"/>
                      </a:lnTo>
                      <a:lnTo>
                        <a:pt x="1764" y="450"/>
                      </a:lnTo>
                      <a:lnTo>
                        <a:pt x="1770" y="444"/>
                      </a:lnTo>
                      <a:lnTo>
                        <a:pt x="1752" y="426"/>
                      </a:lnTo>
                      <a:lnTo>
                        <a:pt x="1782" y="432"/>
                      </a:lnTo>
                      <a:lnTo>
                        <a:pt x="1782" y="402"/>
                      </a:lnTo>
                      <a:lnTo>
                        <a:pt x="1788" y="408"/>
                      </a:lnTo>
                      <a:lnTo>
                        <a:pt x="1800" y="414"/>
                      </a:lnTo>
                      <a:lnTo>
                        <a:pt x="1812" y="414"/>
                      </a:lnTo>
                      <a:lnTo>
                        <a:pt x="1830" y="408"/>
                      </a:lnTo>
                      <a:lnTo>
                        <a:pt x="1842" y="402"/>
                      </a:lnTo>
                      <a:lnTo>
                        <a:pt x="1860" y="390"/>
                      </a:lnTo>
                      <a:lnTo>
                        <a:pt x="1878" y="372"/>
                      </a:lnTo>
                      <a:lnTo>
                        <a:pt x="1896" y="372"/>
                      </a:lnTo>
                      <a:lnTo>
                        <a:pt x="1938" y="366"/>
                      </a:lnTo>
                      <a:lnTo>
                        <a:pt x="1992" y="354"/>
                      </a:lnTo>
                      <a:lnTo>
                        <a:pt x="2046" y="348"/>
                      </a:lnTo>
                      <a:lnTo>
                        <a:pt x="2094" y="336"/>
                      </a:lnTo>
                      <a:lnTo>
                        <a:pt x="2124" y="330"/>
                      </a:lnTo>
                      <a:lnTo>
                        <a:pt x="2136" y="324"/>
                      </a:lnTo>
                      <a:lnTo>
                        <a:pt x="2154" y="318"/>
                      </a:lnTo>
                      <a:lnTo>
                        <a:pt x="2160" y="312"/>
                      </a:lnTo>
                      <a:lnTo>
                        <a:pt x="2166" y="300"/>
                      </a:lnTo>
                      <a:lnTo>
                        <a:pt x="2166" y="294"/>
                      </a:lnTo>
                      <a:lnTo>
                        <a:pt x="2154" y="282"/>
                      </a:lnTo>
                      <a:lnTo>
                        <a:pt x="2136" y="276"/>
                      </a:lnTo>
                      <a:lnTo>
                        <a:pt x="2088" y="270"/>
                      </a:lnTo>
                      <a:lnTo>
                        <a:pt x="2046" y="276"/>
                      </a:lnTo>
                      <a:lnTo>
                        <a:pt x="2016" y="288"/>
                      </a:lnTo>
                      <a:lnTo>
                        <a:pt x="1980" y="300"/>
                      </a:lnTo>
                      <a:lnTo>
                        <a:pt x="1938" y="318"/>
                      </a:lnTo>
                      <a:lnTo>
                        <a:pt x="1860" y="318"/>
                      </a:lnTo>
                      <a:lnTo>
                        <a:pt x="1842" y="312"/>
                      </a:lnTo>
                      <a:lnTo>
                        <a:pt x="1824" y="312"/>
                      </a:lnTo>
                      <a:lnTo>
                        <a:pt x="1806" y="336"/>
                      </a:lnTo>
                      <a:lnTo>
                        <a:pt x="1782" y="318"/>
                      </a:lnTo>
                      <a:lnTo>
                        <a:pt x="1728" y="342"/>
                      </a:lnTo>
                      <a:lnTo>
                        <a:pt x="1698" y="342"/>
                      </a:lnTo>
                      <a:lnTo>
                        <a:pt x="1668" y="366"/>
                      </a:lnTo>
                      <a:lnTo>
                        <a:pt x="1692" y="372"/>
                      </a:lnTo>
                      <a:lnTo>
                        <a:pt x="1644" y="372"/>
                      </a:lnTo>
                      <a:lnTo>
                        <a:pt x="1614" y="378"/>
                      </a:lnTo>
                      <a:lnTo>
                        <a:pt x="1614" y="396"/>
                      </a:lnTo>
                      <a:lnTo>
                        <a:pt x="1638" y="378"/>
                      </a:lnTo>
                      <a:lnTo>
                        <a:pt x="1644" y="396"/>
                      </a:lnTo>
                      <a:lnTo>
                        <a:pt x="1668" y="396"/>
                      </a:lnTo>
                      <a:lnTo>
                        <a:pt x="1662" y="408"/>
                      </a:lnTo>
                      <a:lnTo>
                        <a:pt x="1620" y="408"/>
                      </a:lnTo>
                      <a:lnTo>
                        <a:pt x="1614" y="420"/>
                      </a:lnTo>
                      <a:lnTo>
                        <a:pt x="1644" y="426"/>
                      </a:lnTo>
                      <a:lnTo>
                        <a:pt x="1596" y="432"/>
                      </a:lnTo>
                      <a:lnTo>
                        <a:pt x="1632" y="438"/>
                      </a:lnTo>
                      <a:lnTo>
                        <a:pt x="1584" y="444"/>
                      </a:lnTo>
                      <a:lnTo>
                        <a:pt x="1584" y="462"/>
                      </a:lnTo>
                      <a:lnTo>
                        <a:pt x="1554" y="474"/>
                      </a:lnTo>
                      <a:lnTo>
                        <a:pt x="1560" y="486"/>
                      </a:lnTo>
                      <a:lnTo>
                        <a:pt x="1602" y="468"/>
                      </a:lnTo>
                      <a:lnTo>
                        <a:pt x="1590" y="498"/>
                      </a:lnTo>
                      <a:lnTo>
                        <a:pt x="1554" y="498"/>
                      </a:lnTo>
                      <a:lnTo>
                        <a:pt x="1542" y="504"/>
                      </a:lnTo>
                      <a:lnTo>
                        <a:pt x="1542" y="522"/>
                      </a:lnTo>
                      <a:close/>
                      <a:moveTo>
                        <a:pt x="5778" y="498"/>
                      </a:moveTo>
                      <a:lnTo>
                        <a:pt x="5850" y="486"/>
                      </a:lnTo>
                      <a:lnTo>
                        <a:pt x="5958" y="504"/>
                      </a:lnTo>
                      <a:lnTo>
                        <a:pt x="5952" y="492"/>
                      </a:lnTo>
                      <a:lnTo>
                        <a:pt x="5940" y="486"/>
                      </a:lnTo>
                      <a:lnTo>
                        <a:pt x="5928" y="474"/>
                      </a:lnTo>
                      <a:lnTo>
                        <a:pt x="5904" y="462"/>
                      </a:lnTo>
                      <a:lnTo>
                        <a:pt x="5844" y="462"/>
                      </a:lnTo>
                      <a:lnTo>
                        <a:pt x="5808" y="468"/>
                      </a:lnTo>
                      <a:lnTo>
                        <a:pt x="5796" y="468"/>
                      </a:lnTo>
                      <a:lnTo>
                        <a:pt x="5778" y="498"/>
                      </a:lnTo>
                      <a:close/>
                      <a:moveTo>
                        <a:pt x="5784" y="378"/>
                      </a:moveTo>
                      <a:lnTo>
                        <a:pt x="5838" y="384"/>
                      </a:lnTo>
                      <a:lnTo>
                        <a:pt x="5844" y="378"/>
                      </a:lnTo>
                      <a:lnTo>
                        <a:pt x="5850" y="366"/>
                      </a:lnTo>
                      <a:lnTo>
                        <a:pt x="5838" y="354"/>
                      </a:lnTo>
                      <a:lnTo>
                        <a:pt x="5802" y="354"/>
                      </a:lnTo>
                      <a:lnTo>
                        <a:pt x="5742" y="342"/>
                      </a:lnTo>
                      <a:lnTo>
                        <a:pt x="5724" y="342"/>
                      </a:lnTo>
                      <a:lnTo>
                        <a:pt x="5718" y="348"/>
                      </a:lnTo>
                      <a:lnTo>
                        <a:pt x="5730" y="354"/>
                      </a:lnTo>
                      <a:lnTo>
                        <a:pt x="5742" y="366"/>
                      </a:lnTo>
                      <a:lnTo>
                        <a:pt x="5754" y="372"/>
                      </a:lnTo>
                      <a:lnTo>
                        <a:pt x="5772" y="372"/>
                      </a:lnTo>
                      <a:lnTo>
                        <a:pt x="5778" y="378"/>
                      </a:lnTo>
                      <a:lnTo>
                        <a:pt x="5784" y="378"/>
                      </a:lnTo>
                      <a:close/>
                      <a:moveTo>
                        <a:pt x="5724" y="432"/>
                      </a:moveTo>
                      <a:lnTo>
                        <a:pt x="5712" y="444"/>
                      </a:lnTo>
                      <a:lnTo>
                        <a:pt x="5712" y="456"/>
                      </a:lnTo>
                      <a:lnTo>
                        <a:pt x="5724" y="462"/>
                      </a:lnTo>
                      <a:lnTo>
                        <a:pt x="5772" y="462"/>
                      </a:lnTo>
                      <a:lnTo>
                        <a:pt x="5778" y="456"/>
                      </a:lnTo>
                      <a:lnTo>
                        <a:pt x="5778" y="450"/>
                      </a:lnTo>
                      <a:lnTo>
                        <a:pt x="5766" y="438"/>
                      </a:lnTo>
                      <a:lnTo>
                        <a:pt x="5742" y="426"/>
                      </a:lnTo>
                      <a:lnTo>
                        <a:pt x="5730" y="426"/>
                      </a:lnTo>
                      <a:lnTo>
                        <a:pt x="5724" y="432"/>
                      </a:lnTo>
                      <a:close/>
                      <a:moveTo>
                        <a:pt x="3072" y="96"/>
                      </a:moveTo>
                      <a:lnTo>
                        <a:pt x="3192" y="96"/>
                      </a:lnTo>
                      <a:lnTo>
                        <a:pt x="3204" y="90"/>
                      </a:lnTo>
                      <a:lnTo>
                        <a:pt x="3228" y="90"/>
                      </a:lnTo>
                      <a:lnTo>
                        <a:pt x="3240" y="84"/>
                      </a:lnTo>
                      <a:lnTo>
                        <a:pt x="3240" y="72"/>
                      </a:lnTo>
                      <a:lnTo>
                        <a:pt x="3222" y="60"/>
                      </a:lnTo>
                      <a:lnTo>
                        <a:pt x="3192" y="42"/>
                      </a:lnTo>
                      <a:lnTo>
                        <a:pt x="3156" y="30"/>
                      </a:lnTo>
                      <a:lnTo>
                        <a:pt x="3132" y="24"/>
                      </a:lnTo>
                      <a:lnTo>
                        <a:pt x="3120" y="18"/>
                      </a:lnTo>
                      <a:lnTo>
                        <a:pt x="3108" y="18"/>
                      </a:lnTo>
                      <a:lnTo>
                        <a:pt x="3096" y="12"/>
                      </a:lnTo>
                      <a:lnTo>
                        <a:pt x="3060" y="12"/>
                      </a:lnTo>
                      <a:lnTo>
                        <a:pt x="3048" y="18"/>
                      </a:lnTo>
                      <a:lnTo>
                        <a:pt x="3036" y="18"/>
                      </a:lnTo>
                      <a:lnTo>
                        <a:pt x="3030" y="30"/>
                      </a:lnTo>
                      <a:lnTo>
                        <a:pt x="3030" y="42"/>
                      </a:lnTo>
                      <a:lnTo>
                        <a:pt x="3036" y="54"/>
                      </a:lnTo>
                      <a:lnTo>
                        <a:pt x="3048" y="66"/>
                      </a:lnTo>
                      <a:lnTo>
                        <a:pt x="3054" y="78"/>
                      </a:lnTo>
                      <a:lnTo>
                        <a:pt x="3072" y="96"/>
                      </a:lnTo>
                      <a:close/>
                      <a:moveTo>
                        <a:pt x="6138" y="408"/>
                      </a:moveTo>
                      <a:lnTo>
                        <a:pt x="6144" y="402"/>
                      </a:lnTo>
                      <a:lnTo>
                        <a:pt x="6132" y="396"/>
                      </a:lnTo>
                      <a:lnTo>
                        <a:pt x="6102" y="390"/>
                      </a:lnTo>
                      <a:lnTo>
                        <a:pt x="6036" y="390"/>
                      </a:lnTo>
                      <a:lnTo>
                        <a:pt x="6012" y="366"/>
                      </a:lnTo>
                      <a:lnTo>
                        <a:pt x="6000" y="360"/>
                      </a:lnTo>
                      <a:lnTo>
                        <a:pt x="5970" y="360"/>
                      </a:lnTo>
                      <a:lnTo>
                        <a:pt x="5958" y="366"/>
                      </a:lnTo>
                      <a:lnTo>
                        <a:pt x="5910" y="366"/>
                      </a:lnTo>
                      <a:lnTo>
                        <a:pt x="5946" y="390"/>
                      </a:lnTo>
                      <a:lnTo>
                        <a:pt x="5964" y="396"/>
                      </a:lnTo>
                      <a:lnTo>
                        <a:pt x="6000" y="402"/>
                      </a:lnTo>
                      <a:lnTo>
                        <a:pt x="6054" y="414"/>
                      </a:lnTo>
                      <a:lnTo>
                        <a:pt x="6102" y="414"/>
                      </a:lnTo>
                      <a:lnTo>
                        <a:pt x="6138" y="408"/>
                      </a:lnTo>
                      <a:close/>
                      <a:moveTo>
                        <a:pt x="7602" y="744"/>
                      </a:moveTo>
                      <a:lnTo>
                        <a:pt x="7596" y="732"/>
                      </a:lnTo>
                      <a:lnTo>
                        <a:pt x="7572" y="726"/>
                      </a:lnTo>
                      <a:lnTo>
                        <a:pt x="7512" y="714"/>
                      </a:lnTo>
                      <a:lnTo>
                        <a:pt x="7500" y="714"/>
                      </a:lnTo>
                      <a:lnTo>
                        <a:pt x="7512" y="726"/>
                      </a:lnTo>
                      <a:lnTo>
                        <a:pt x="7548" y="738"/>
                      </a:lnTo>
                      <a:lnTo>
                        <a:pt x="7584" y="744"/>
                      </a:lnTo>
                      <a:lnTo>
                        <a:pt x="7602" y="744"/>
                      </a:lnTo>
                      <a:close/>
                      <a:moveTo>
                        <a:pt x="3162" y="120"/>
                      </a:moveTo>
                      <a:lnTo>
                        <a:pt x="3216" y="138"/>
                      </a:lnTo>
                      <a:lnTo>
                        <a:pt x="3246" y="144"/>
                      </a:lnTo>
                      <a:lnTo>
                        <a:pt x="3264" y="144"/>
                      </a:lnTo>
                      <a:lnTo>
                        <a:pt x="3312" y="138"/>
                      </a:lnTo>
                      <a:lnTo>
                        <a:pt x="3372" y="156"/>
                      </a:lnTo>
                      <a:lnTo>
                        <a:pt x="3432" y="156"/>
                      </a:lnTo>
                      <a:lnTo>
                        <a:pt x="3426" y="138"/>
                      </a:lnTo>
                      <a:lnTo>
                        <a:pt x="3402" y="102"/>
                      </a:lnTo>
                      <a:lnTo>
                        <a:pt x="3384" y="96"/>
                      </a:lnTo>
                      <a:lnTo>
                        <a:pt x="3372" y="90"/>
                      </a:lnTo>
                      <a:lnTo>
                        <a:pt x="3354" y="96"/>
                      </a:lnTo>
                      <a:lnTo>
                        <a:pt x="3318" y="114"/>
                      </a:lnTo>
                      <a:lnTo>
                        <a:pt x="3294" y="90"/>
                      </a:lnTo>
                      <a:lnTo>
                        <a:pt x="3282" y="90"/>
                      </a:lnTo>
                      <a:lnTo>
                        <a:pt x="3210" y="102"/>
                      </a:lnTo>
                      <a:lnTo>
                        <a:pt x="3174" y="114"/>
                      </a:lnTo>
                      <a:lnTo>
                        <a:pt x="3162" y="120"/>
                      </a:lnTo>
                      <a:close/>
                      <a:moveTo>
                        <a:pt x="3582" y="198"/>
                      </a:moveTo>
                      <a:lnTo>
                        <a:pt x="3744" y="192"/>
                      </a:lnTo>
                      <a:lnTo>
                        <a:pt x="3702" y="168"/>
                      </a:lnTo>
                      <a:lnTo>
                        <a:pt x="3696" y="168"/>
                      </a:lnTo>
                      <a:lnTo>
                        <a:pt x="3690" y="162"/>
                      </a:lnTo>
                      <a:lnTo>
                        <a:pt x="3666" y="150"/>
                      </a:lnTo>
                      <a:lnTo>
                        <a:pt x="3648" y="144"/>
                      </a:lnTo>
                      <a:lnTo>
                        <a:pt x="3636" y="138"/>
                      </a:lnTo>
                      <a:lnTo>
                        <a:pt x="3618" y="138"/>
                      </a:lnTo>
                      <a:lnTo>
                        <a:pt x="3606" y="144"/>
                      </a:lnTo>
                      <a:lnTo>
                        <a:pt x="3600" y="150"/>
                      </a:lnTo>
                      <a:lnTo>
                        <a:pt x="3588" y="156"/>
                      </a:lnTo>
                      <a:lnTo>
                        <a:pt x="3588" y="150"/>
                      </a:lnTo>
                      <a:lnTo>
                        <a:pt x="3582" y="144"/>
                      </a:lnTo>
                      <a:lnTo>
                        <a:pt x="3576" y="132"/>
                      </a:lnTo>
                      <a:lnTo>
                        <a:pt x="3570" y="126"/>
                      </a:lnTo>
                      <a:lnTo>
                        <a:pt x="3546" y="114"/>
                      </a:lnTo>
                      <a:lnTo>
                        <a:pt x="3522" y="126"/>
                      </a:lnTo>
                      <a:lnTo>
                        <a:pt x="3504" y="162"/>
                      </a:lnTo>
                      <a:lnTo>
                        <a:pt x="3498" y="192"/>
                      </a:lnTo>
                      <a:lnTo>
                        <a:pt x="3492" y="210"/>
                      </a:lnTo>
                      <a:lnTo>
                        <a:pt x="3516" y="222"/>
                      </a:lnTo>
                      <a:lnTo>
                        <a:pt x="3534" y="216"/>
                      </a:lnTo>
                      <a:lnTo>
                        <a:pt x="3546" y="216"/>
                      </a:lnTo>
                      <a:lnTo>
                        <a:pt x="3582" y="198"/>
                      </a:lnTo>
                      <a:close/>
                      <a:moveTo>
                        <a:pt x="5622" y="420"/>
                      </a:moveTo>
                      <a:lnTo>
                        <a:pt x="5640" y="390"/>
                      </a:lnTo>
                      <a:lnTo>
                        <a:pt x="5754" y="390"/>
                      </a:lnTo>
                      <a:lnTo>
                        <a:pt x="5688" y="360"/>
                      </a:lnTo>
                      <a:lnTo>
                        <a:pt x="5700" y="336"/>
                      </a:lnTo>
                      <a:lnTo>
                        <a:pt x="5610" y="318"/>
                      </a:lnTo>
                      <a:lnTo>
                        <a:pt x="5628" y="348"/>
                      </a:lnTo>
                      <a:lnTo>
                        <a:pt x="5616" y="342"/>
                      </a:lnTo>
                      <a:lnTo>
                        <a:pt x="5592" y="336"/>
                      </a:lnTo>
                      <a:lnTo>
                        <a:pt x="5556" y="330"/>
                      </a:lnTo>
                      <a:lnTo>
                        <a:pt x="5514" y="318"/>
                      </a:lnTo>
                      <a:lnTo>
                        <a:pt x="5454" y="318"/>
                      </a:lnTo>
                      <a:lnTo>
                        <a:pt x="5448" y="330"/>
                      </a:lnTo>
                      <a:lnTo>
                        <a:pt x="5460" y="354"/>
                      </a:lnTo>
                      <a:lnTo>
                        <a:pt x="5496" y="372"/>
                      </a:lnTo>
                      <a:lnTo>
                        <a:pt x="5538" y="390"/>
                      </a:lnTo>
                      <a:lnTo>
                        <a:pt x="5574" y="408"/>
                      </a:lnTo>
                      <a:lnTo>
                        <a:pt x="5610" y="414"/>
                      </a:lnTo>
                      <a:lnTo>
                        <a:pt x="5622" y="420"/>
                      </a:lnTo>
                      <a:close/>
                      <a:moveTo>
                        <a:pt x="4320" y="432"/>
                      </a:moveTo>
                      <a:lnTo>
                        <a:pt x="4368" y="444"/>
                      </a:lnTo>
                      <a:lnTo>
                        <a:pt x="4380" y="444"/>
                      </a:lnTo>
                      <a:lnTo>
                        <a:pt x="4392" y="438"/>
                      </a:lnTo>
                      <a:lnTo>
                        <a:pt x="4398" y="438"/>
                      </a:lnTo>
                      <a:lnTo>
                        <a:pt x="4404" y="432"/>
                      </a:lnTo>
                      <a:lnTo>
                        <a:pt x="4404" y="426"/>
                      </a:lnTo>
                      <a:lnTo>
                        <a:pt x="4398" y="426"/>
                      </a:lnTo>
                      <a:lnTo>
                        <a:pt x="4362" y="414"/>
                      </a:lnTo>
                      <a:lnTo>
                        <a:pt x="4344" y="420"/>
                      </a:lnTo>
                      <a:lnTo>
                        <a:pt x="4332" y="420"/>
                      </a:lnTo>
                      <a:lnTo>
                        <a:pt x="4320" y="432"/>
                      </a:lnTo>
                      <a:close/>
                      <a:moveTo>
                        <a:pt x="5424" y="354"/>
                      </a:moveTo>
                      <a:lnTo>
                        <a:pt x="5370" y="336"/>
                      </a:lnTo>
                      <a:lnTo>
                        <a:pt x="5394" y="366"/>
                      </a:lnTo>
                      <a:lnTo>
                        <a:pt x="5424" y="354"/>
                      </a:lnTo>
                      <a:close/>
                      <a:moveTo>
                        <a:pt x="7986" y="666"/>
                      </a:moveTo>
                      <a:lnTo>
                        <a:pt x="8034" y="654"/>
                      </a:lnTo>
                      <a:lnTo>
                        <a:pt x="8088" y="654"/>
                      </a:lnTo>
                      <a:lnTo>
                        <a:pt x="8100" y="648"/>
                      </a:lnTo>
                      <a:lnTo>
                        <a:pt x="8106" y="642"/>
                      </a:lnTo>
                      <a:lnTo>
                        <a:pt x="8106" y="636"/>
                      </a:lnTo>
                      <a:lnTo>
                        <a:pt x="8100" y="630"/>
                      </a:lnTo>
                      <a:lnTo>
                        <a:pt x="8088" y="630"/>
                      </a:lnTo>
                      <a:lnTo>
                        <a:pt x="8052" y="618"/>
                      </a:lnTo>
                      <a:lnTo>
                        <a:pt x="8028" y="612"/>
                      </a:lnTo>
                      <a:lnTo>
                        <a:pt x="8010" y="606"/>
                      </a:lnTo>
                      <a:lnTo>
                        <a:pt x="7968" y="606"/>
                      </a:lnTo>
                      <a:lnTo>
                        <a:pt x="7944" y="618"/>
                      </a:lnTo>
                      <a:lnTo>
                        <a:pt x="7938" y="630"/>
                      </a:lnTo>
                      <a:lnTo>
                        <a:pt x="7938" y="654"/>
                      </a:lnTo>
                      <a:lnTo>
                        <a:pt x="7944" y="666"/>
                      </a:lnTo>
                      <a:lnTo>
                        <a:pt x="7950" y="666"/>
                      </a:lnTo>
                      <a:lnTo>
                        <a:pt x="7962" y="672"/>
                      </a:lnTo>
                      <a:lnTo>
                        <a:pt x="7968" y="672"/>
                      </a:lnTo>
                      <a:lnTo>
                        <a:pt x="7980" y="666"/>
                      </a:lnTo>
                      <a:lnTo>
                        <a:pt x="7986" y="666"/>
                      </a:lnTo>
                      <a:close/>
                      <a:moveTo>
                        <a:pt x="162" y="1788"/>
                      </a:moveTo>
                      <a:lnTo>
                        <a:pt x="150" y="1788"/>
                      </a:lnTo>
                      <a:lnTo>
                        <a:pt x="138" y="1794"/>
                      </a:lnTo>
                      <a:lnTo>
                        <a:pt x="114" y="1794"/>
                      </a:lnTo>
                      <a:lnTo>
                        <a:pt x="108" y="1788"/>
                      </a:lnTo>
                      <a:lnTo>
                        <a:pt x="96" y="1788"/>
                      </a:lnTo>
                      <a:lnTo>
                        <a:pt x="96" y="1782"/>
                      </a:lnTo>
                      <a:lnTo>
                        <a:pt x="84" y="1782"/>
                      </a:lnTo>
                      <a:lnTo>
                        <a:pt x="84" y="1788"/>
                      </a:lnTo>
                      <a:lnTo>
                        <a:pt x="72" y="1800"/>
                      </a:lnTo>
                      <a:lnTo>
                        <a:pt x="12" y="1800"/>
                      </a:lnTo>
                      <a:lnTo>
                        <a:pt x="0" y="1812"/>
                      </a:lnTo>
                      <a:lnTo>
                        <a:pt x="0" y="1818"/>
                      </a:lnTo>
                      <a:lnTo>
                        <a:pt x="12" y="1830"/>
                      </a:lnTo>
                      <a:lnTo>
                        <a:pt x="6" y="1842"/>
                      </a:lnTo>
                      <a:lnTo>
                        <a:pt x="12" y="1848"/>
                      </a:lnTo>
                      <a:lnTo>
                        <a:pt x="18" y="1848"/>
                      </a:lnTo>
                      <a:lnTo>
                        <a:pt x="24" y="1842"/>
                      </a:lnTo>
                      <a:lnTo>
                        <a:pt x="48" y="1842"/>
                      </a:lnTo>
                      <a:lnTo>
                        <a:pt x="54" y="1848"/>
                      </a:lnTo>
                      <a:lnTo>
                        <a:pt x="66" y="1848"/>
                      </a:lnTo>
                      <a:lnTo>
                        <a:pt x="72" y="1854"/>
                      </a:lnTo>
                      <a:lnTo>
                        <a:pt x="162" y="1854"/>
                      </a:lnTo>
                      <a:lnTo>
                        <a:pt x="162" y="1848"/>
                      </a:lnTo>
                      <a:lnTo>
                        <a:pt x="168" y="1848"/>
                      </a:lnTo>
                      <a:lnTo>
                        <a:pt x="162" y="1830"/>
                      </a:lnTo>
                      <a:lnTo>
                        <a:pt x="174" y="1818"/>
                      </a:lnTo>
                      <a:lnTo>
                        <a:pt x="174" y="1800"/>
                      </a:lnTo>
                      <a:lnTo>
                        <a:pt x="168" y="1788"/>
                      </a:lnTo>
                      <a:lnTo>
                        <a:pt x="162" y="1788"/>
                      </a:lnTo>
                      <a:close/>
                      <a:moveTo>
                        <a:pt x="1038" y="90"/>
                      </a:moveTo>
                      <a:lnTo>
                        <a:pt x="1062" y="72"/>
                      </a:lnTo>
                      <a:lnTo>
                        <a:pt x="1032" y="72"/>
                      </a:lnTo>
                      <a:lnTo>
                        <a:pt x="1032" y="84"/>
                      </a:lnTo>
                      <a:lnTo>
                        <a:pt x="1038" y="90"/>
                      </a:lnTo>
                      <a:close/>
                      <a:moveTo>
                        <a:pt x="990" y="72"/>
                      </a:moveTo>
                      <a:lnTo>
                        <a:pt x="1074" y="54"/>
                      </a:lnTo>
                      <a:lnTo>
                        <a:pt x="1044" y="42"/>
                      </a:lnTo>
                      <a:lnTo>
                        <a:pt x="996" y="54"/>
                      </a:lnTo>
                      <a:lnTo>
                        <a:pt x="948" y="54"/>
                      </a:lnTo>
                      <a:lnTo>
                        <a:pt x="966" y="66"/>
                      </a:lnTo>
                      <a:lnTo>
                        <a:pt x="990" y="72"/>
                      </a:lnTo>
                      <a:close/>
                      <a:moveTo>
                        <a:pt x="1122" y="90"/>
                      </a:moveTo>
                      <a:lnTo>
                        <a:pt x="1128" y="78"/>
                      </a:lnTo>
                      <a:lnTo>
                        <a:pt x="1152" y="78"/>
                      </a:lnTo>
                      <a:lnTo>
                        <a:pt x="1164" y="66"/>
                      </a:lnTo>
                      <a:lnTo>
                        <a:pt x="1218" y="66"/>
                      </a:lnTo>
                      <a:lnTo>
                        <a:pt x="1218" y="60"/>
                      </a:lnTo>
                      <a:lnTo>
                        <a:pt x="1206" y="54"/>
                      </a:lnTo>
                      <a:lnTo>
                        <a:pt x="1182" y="54"/>
                      </a:lnTo>
                      <a:lnTo>
                        <a:pt x="1182" y="48"/>
                      </a:lnTo>
                      <a:lnTo>
                        <a:pt x="1176" y="48"/>
                      </a:lnTo>
                      <a:lnTo>
                        <a:pt x="1164" y="42"/>
                      </a:lnTo>
                      <a:lnTo>
                        <a:pt x="1140" y="42"/>
                      </a:lnTo>
                      <a:lnTo>
                        <a:pt x="1134" y="48"/>
                      </a:lnTo>
                      <a:lnTo>
                        <a:pt x="1128" y="60"/>
                      </a:lnTo>
                      <a:lnTo>
                        <a:pt x="1128" y="66"/>
                      </a:lnTo>
                      <a:lnTo>
                        <a:pt x="1122" y="66"/>
                      </a:lnTo>
                      <a:lnTo>
                        <a:pt x="1116" y="72"/>
                      </a:lnTo>
                      <a:lnTo>
                        <a:pt x="1104" y="72"/>
                      </a:lnTo>
                      <a:lnTo>
                        <a:pt x="1086" y="78"/>
                      </a:lnTo>
                      <a:lnTo>
                        <a:pt x="1080" y="78"/>
                      </a:lnTo>
                      <a:lnTo>
                        <a:pt x="1074" y="84"/>
                      </a:lnTo>
                      <a:lnTo>
                        <a:pt x="1080" y="84"/>
                      </a:lnTo>
                      <a:lnTo>
                        <a:pt x="1092" y="90"/>
                      </a:lnTo>
                      <a:lnTo>
                        <a:pt x="1122" y="90"/>
                      </a:lnTo>
                      <a:close/>
                      <a:moveTo>
                        <a:pt x="1176" y="78"/>
                      </a:moveTo>
                      <a:lnTo>
                        <a:pt x="1158" y="90"/>
                      </a:lnTo>
                      <a:lnTo>
                        <a:pt x="1176" y="102"/>
                      </a:lnTo>
                      <a:lnTo>
                        <a:pt x="1194" y="108"/>
                      </a:lnTo>
                      <a:lnTo>
                        <a:pt x="1248" y="102"/>
                      </a:lnTo>
                      <a:lnTo>
                        <a:pt x="1242" y="90"/>
                      </a:lnTo>
                      <a:lnTo>
                        <a:pt x="1212" y="90"/>
                      </a:lnTo>
                      <a:lnTo>
                        <a:pt x="1176" y="78"/>
                      </a:lnTo>
                      <a:close/>
                      <a:moveTo>
                        <a:pt x="7812" y="2436"/>
                      </a:moveTo>
                      <a:lnTo>
                        <a:pt x="7782" y="2400"/>
                      </a:lnTo>
                      <a:lnTo>
                        <a:pt x="7776" y="2400"/>
                      </a:lnTo>
                      <a:lnTo>
                        <a:pt x="7770" y="2394"/>
                      </a:lnTo>
                      <a:lnTo>
                        <a:pt x="7752" y="2388"/>
                      </a:lnTo>
                      <a:lnTo>
                        <a:pt x="7728" y="2364"/>
                      </a:lnTo>
                      <a:lnTo>
                        <a:pt x="7722" y="2352"/>
                      </a:lnTo>
                      <a:lnTo>
                        <a:pt x="7704" y="2298"/>
                      </a:lnTo>
                      <a:lnTo>
                        <a:pt x="7698" y="2286"/>
                      </a:lnTo>
                      <a:lnTo>
                        <a:pt x="7698" y="2274"/>
                      </a:lnTo>
                      <a:lnTo>
                        <a:pt x="7674" y="2250"/>
                      </a:lnTo>
                      <a:lnTo>
                        <a:pt x="7680" y="2244"/>
                      </a:lnTo>
                      <a:lnTo>
                        <a:pt x="7698" y="2244"/>
                      </a:lnTo>
                      <a:lnTo>
                        <a:pt x="7770" y="2268"/>
                      </a:lnTo>
                      <a:lnTo>
                        <a:pt x="7800" y="2280"/>
                      </a:lnTo>
                      <a:lnTo>
                        <a:pt x="7812" y="2286"/>
                      </a:lnTo>
                      <a:lnTo>
                        <a:pt x="7740" y="2232"/>
                      </a:lnTo>
                      <a:lnTo>
                        <a:pt x="7734" y="2226"/>
                      </a:lnTo>
                      <a:lnTo>
                        <a:pt x="7722" y="2202"/>
                      </a:lnTo>
                      <a:lnTo>
                        <a:pt x="7710" y="2196"/>
                      </a:lnTo>
                      <a:lnTo>
                        <a:pt x="7704" y="2184"/>
                      </a:lnTo>
                      <a:lnTo>
                        <a:pt x="7698" y="2178"/>
                      </a:lnTo>
                      <a:lnTo>
                        <a:pt x="7674" y="2166"/>
                      </a:lnTo>
                      <a:lnTo>
                        <a:pt x="7668" y="2160"/>
                      </a:lnTo>
                      <a:lnTo>
                        <a:pt x="7656" y="2154"/>
                      </a:lnTo>
                      <a:lnTo>
                        <a:pt x="7578" y="2070"/>
                      </a:lnTo>
                      <a:lnTo>
                        <a:pt x="7554" y="2070"/>
                      </a:lnTo>
                      <a:lnTo>
                        <a:pt x="7542" y="2040"/>
                      </a:lnTo>
                      <a:lnTo>
                        <a:pt x="7524" y="2040"/>
                      </a:lnTo>
                      <a:lnTo>
                        <a:pt x="7512" y="2028"/>
                      </a:lnTo>
                      <a:lnTo>
                        <a:pt x="7500" y="2004"/>
                      </a:lnTo>
                      <a:lnTo>
                        <a:pt x="7500" y="1980"/>
                      </a:lnTo>
                      <a:lnTo>
                        <a:pt x="7470" y="1944"/>
                      </a:lnTo>
                      <a:lnTo>
                        <a:pt x="7446" y="1950"/>
                      </a:lnTo>
                      <a:lnTo>
                        <a:pt x="7434" y="1920"/>
                      </a:lnTo>
                      <a:lnTo>
                        <a:pt x="7392" y="1890"/>
                      </a:lnTo>
                      <a:lnTo>
                        <a:pt x="7380" y="1866"/>
                      </a:lnTo>
                      <a:lnTo>
                        <a:pt x="7368" y="1860"/>
                      </a:lnTo>
                      <a:lnTo>
                        <a:pt x="7362" y="1854"/>
                      </a:lnTo>
                      <a:lnTo>
                        <a:pt x="7344" y="1854"/>
                      </a:lnTo>
                      <a:lnTo>
                        <a:pt x="7344" y="1860"/>
                      </a:lnTo>
                      <a:lnTo>
                        <a:pt x="7392" y="1908"/>
                      </a:lnTo>
                      <a:lnTo>
                        <a:pt x="7392" y="1914"/>
                      </a:lnTo>
                      <a:lnTo>
                        <a:pt x="7386" y="1914"/>
                      </a:lnTo>
                      <a:lnTo>
                        <a:pt x="7380" y="1908"/>
                      </a:lnTo>
                      <a:lnTo>
                        <a:pt x="7368" y="1908"/>
                      </a:lnTo>
                      <a:lnTo>
                        <a:pt x="7362" y="1914"/>
                      </a:lnTo>
                      <a:lnTo>
                        <a:pt x="7362" y="1926"/>
                      </a:lnTo>
                      <a:lnTo>
                        <a:pt x="7374" y="1950"/>
                      </a:lnTo>
                      <a:lnTo>
                        <a:pt x="7386" y="1962"/>
                      </a:lnTo>
                      <a:lnTo>
                        <a:pt x="7392" y="1974"/>
                      </a:lnTo>
                      <a:lnTo>
                        <a:pt x="7404" y="1980"/>
                      </a:lnTo>
                      <a:lnTo>
                        <a:pt x="7404" y="1992"/>
                      </a:lnTo>
                      <a:lnTo>
                        <a:pt x="7416" y="2016"/>
                      </a:lnTo>
                      <a:lnTo>
                        <a:pt x="7422" y="2022"/>
                      </a:lnTo>
                      <a:lnTo>
                        <a:pt x="7440" y="2034"/>
                      </a:lnTo>
                      <a:lnTo>
                        <a:pt x="7470" y="2052"/>
                      </a:lnTo>
                      <a:lnTo>
                        <a:pt x="7500" y="2076"/>
                      </a:lnTo>
                      <a:lnTo>
                        <a:pt x="7518" y="2100"/>
                      </a:lnTo>
                      <a:lnTo>
                        <a:pt x="7524" y="2112"/>
                      </a:lnTo>
                      <a:lnTo>
                        <a:pt x="7536" y="2130"/>
                      </a:lnTo>
                      <a:lnTo>
                        <a:pt x="7536" y="2142"/>
                      </a:lnTo>
                      <a:lnTo>
                        <a:pt x="7548" y="2154"/>
                      </a:lnTo>
                      <a:lnTo>
                        <a:pt x="7554" y="2166"/>
                      </a:lnTo>
                      <a:lnTo>
                        <a:pt x="7572" y="2184"/>
                      </a:lnTo>
                      <a:lnTo>
                        <a:pt x="7590" y="2208"/>
                      </a:lnTo>
                      <a:lnTo>
                        <a:pt x="7608" y="2238"/>
                      </a:lnTo>
                      <a:lnTo>
                        <a:pt x="7620" y="2262"/>
                      </a:lnTo>
                      <a:lnTo>
                        <a:pt x="7626" y="2268"/>
                      </a:lnTo>
                      <a:lnTo>
                        <a:pt x="7626" y="2280"/>
                      </a:lnTo>
                      <a:lnTo>
                        <a:pt x="7632" y="2292"/>
                      </a:lnTo>
                      <a:lnTo>
                        <a:pt x="7644" y="2304"/>
                      </a:lnTo>
                      <a:lnTo>
                        <a:pt x="7656" y="2304"/>
                      </a:lnTo>
                      <a:lnTo>
                        <a:pt x="7668" y="2310"/>
                      </a:lnTo>
                      <a:lnTo>
                        <a:pt x="7674" y="2322"/>
                      </a:lnTo>
                      <a:lnTo>
                        <a:pt x="7686" y="2334"/>
                      </a:lnTo>
                      <a:lnTo>
                        <a:pt x="7698" y="2358"/>
                      </a:lnTo>
                      <a:lnTo>
                        <a:pt x="7698" y="2376"/>
                      </a:lnTo>
                      <a:lnTo>
                        <a:pt x="7740" y="2412"/>
                      </a:lnTo>
                      <a:lnTo>
                        <a:pt x="7752" y="2466"/>
                      </a:lnTo>
                      <a:lnTo>
                        <a:pt x="7794" y="2508"/>
                      </a:lnTo>
                      <a:lnTo>
                        <a:pt x="7794" y="2502"/>
                      </a:lnTo>
                      <a:lnTo>
                        <a:pt x="7788" y="2496"/>
                      </a:lnTo>
                      <a:lnTo>
                        <a:pt x="7788" y="2484"/>
                      </a:lnTo>
                      <a:lnTo>
                        <a:pt x="7782" y="2472"/>
                      </a:lnTo>
                      <a:lnTo>
                        <a:pt x="7782" y="2460"/>
                      </a:lnTo>
                      <a:lnTo>
                        <a:pt x="7776" y="2448"/>
                      </a:lnTo>
                      <a:lnTo>
                        <a:pt x="7782" y="2442"/>
                      </a:lnTo>
                      <a:lnTo>
                        <a:pt x="7788" y="2442"/>
                      </a:lnTo>
                      <a:lnTo>
                        <a:pt x="7800" y="2454"/>
                      </a:lnTo>
                      <a:lnTo>
                        <a:pt x="7830" y="2454"/>
                      </a:lnTo>
                      <a:lnTo>
                        <a:pt x="7866" y="2496"/>
                      </a:lnTo>
                      <a:lnTo>
                        <a:pt x="7866" y="2472"/>
                      </a:lnTo>
                      <a:lnTo>
                        <a:pt x="7836" y="2430"/>
                      </a:lnTo>
                      <a:lnTo>
                        <a:pt x="7812" y="2436"/>
                      </a:lnTo>
                      <a:close/>
                      <a:moveTo>
                        <a:pt x="1344" y="84"/>
                      </a:moveTo>
                      <a:lnTo>
                        <a:pt x="1350" y="72"/>
                      </a:lnTo>
                      <a:lnTo>
                        <a:pt x="1308" y="66"/>
                      </a:lnTo>
                      <a:lnTo>
                        <a:pt x="1284" y="78"/>
                      </a:lnTo>
                      <a:lnTo>
                        <a:pt x="1290" y="90"/>
                      </a:lnTo>
                      <a:lnTo>
                        <a:pt x="1344" y="84"/>
                      </a:lnTo>
                      <a:close/>
                      <a:moveTo>
                        <a:pt x="9048" y="996"/>
                      </a:moveTo>
                      <a:lnTo>
                        <a:pt x="9036" y="984"/>
                      </a:lnTo>
                      <a:lnTo>
                        <a:pt x="9024" y="978"/>
                      </a:lnTo>
                      <a:lnTo>
                        <a:pt x="9006" y="972"/>
                      </a:lnTo>
                      <a:lnTo>
                        <a:pt x="8994" y="966"/>
                      </a:lnTo>
                      <a:lnTo>
                        <a:pt x="8982" y="966"/>
                      </a:lnTo>
                      <a:lnTo>
                        <a:pt x="8940" y="948"/>
                      </a:lnTo>
                      <a:lnTo>
                        <a:pt x="8898" y="948"/>
                      </a:lnTo>
                      <a:lnTo>
                        <a:pt x="8868" y="930"/>
                      </a:lnTo>
                      <a:lnTo>
                        <a:pt x="8778" y="924"/>
                      </a:lnTo>
                      <a:lnTo>
                        <a:pt x="8736" y="906"/>
                      </a:lnTo>
                      <a:lnTo>
                        <a:pt x="8700" y="906"/>
                      </a:lnTo>
                      <a:lnTo>
                        <a:pt x="8754" y="942"/>
                      </a:lnTo>
                      <a:lnTo>
                        <a:pt x="8808" y="966"/>
                      </a:lnTo>
                      <a:lnTo>
                        <a:pt x="8796" y="966"/>
                      </a:lnTo>
                      <a:lnTo>
                        <a:pt x="8784" y="972"/>
                      </a:lnTo>
                      <a:lnTo>
                        <a:pt x="8754" y="972"/>
                      </a:lnTo>
                      <a:lnTo>
                        <a:pt x="8730" y="960"/>
                      </a:lnTo>
                      <a:lnTo>
                        <a:pt x="8676" y="906"/>
                      </a:lnTo>
                      <a:lnTo>
                        <a:pt x="8580" y="870"/>
                      </a:lnTo>
                      <a:lnTo>
                        <a:pt x="8496" y="846"/>
                      </a:lnTo>
                      <a:lnTo>
                        <a:pt x="8442" y="834"/>
                      </a:lnTo>
                      <a:lnTo>
                        <a:pt x="8370" y="822"/>
                      </a:lnTo>
                      <a:lnTo>
                        <a:pt x="8280" y="804"/>
                      </a:lnTo>
                      <a:lnTo>
                        <a:pt x="8190" y="780"/>
                      </a:lnTo>
                      <a:lnTo>
                        <a:pt x="8112" y="762"/>
                      </a:lnTo>
                      <a:lnTo>
                        <a:pt x="8052" y="750"/>
                      </a:lnTo>
                      <a:lnTo>
                        <a:pt x="7998" y="738"/>
                      </a:lnTo>
                      <a:lnTo>
                        <a:pt x="7956" y="732"/>
                      </a:lnTo>
                      <a:lnTo>
                        <a:pt x="7758" y="732"/>
                      </a:lnTo>
                      <a:lnTo>
                        <a:pt x="7746" y="714"/>
                      </a:lnTo>
                      <a:lnTo>
                        <a:pt x="7698" y="720"/>
                      </a:lnTo>
                      <a:lnTo>
                        <a:pt x="7680" y="708"/>
                      </a:lnTo>
                      <a:lnTo>
                        <a:pt x="7626" y="708"/>
                      </a:lnTo>
                      <a:lnTo>
                        <a:pt x="7650" y="726"/>
                      </a:lnTo>
                      <a:lnTo>
                        <a:pt x="7644" y="744"/>
                      </a:lnTo>
                      <a:lnTo>
                        <a:pt x="7656" y="744"/>
                      </a:lnTo>
                      <a:lnTo>
                        <a:pt x="7680" y="756"/>
                      </a:lnTo>
                      <a:lnTo>
                        <a:pt x="7716" y="762"/>
                      </a:lnTo>
                      <a:lnTo>
                        <a:pt x="7740" y="774"/>
                      </a:lnTo>
                      <a:lnTo>
                        <a:pt x="7758" y="786"/>
                      </a:lnTo>
                      <a:lnTo>
                        <a:pt x="7752" y="798"/>
                      </a:lnTo>
                      <a:lnTo>
                        <a:pt x="7728" y="804"/>
                      </a:lnTo>
                      <a:lnTo>
                        <a:pt x="7698" y="804"/>
                      </a:lnTo>
                      <a:lnTo>
                        <a:pt x="7686" y="798"/>
                      </a:lnTo>
                      <a:lnTo>
                        <a:pt x="7680" y="792"/>
                      </a:lnTo>
                      <a:lnTo>
                        <a:pt x="7656" y="774"/>
                      </a:lnTo>
                      <a:lnTo>
                        <a:pt x="7584" y="774"/>
                      </a:lnTo>
                      <a:lnTo>
                        <a:pt x="7530" y="738"/>
                      </a:lnTo>
                      <a:lnTo>
                        <a:pt x="7524" y="738"/>
                      </a:lnTo>
                      <a:lnTo>
                        <a:pt x="7518" y="744"/>
                      </a:lnTo>
                      <a:lnTo>
                        <a:pt x="7506" y="744"/>
                      </a:lnTo>
                      <a:lnTo>
                        <a:pt x="7500" y="750"/>
                      </a:lnTo>
                      <a:lnTo>
                        <a:pt x="7446" y="750"/>
                      </a:lnTo>
                      <a:lnTo>
                        <a:pt x="7440" y="738"/>
                      </a:lnTo>
                      <a:lnTo>
                        <a:pt x="7344" y="744"/>
                      </a:lnTo>
                      <a:lnTo>
                        <a:pt x="7320" y="726"/>
                      </a:lnTo>
                      <a:lnTo>
                        <a:pt x="7314" y="732"/>
                      </a:lnTo>
                      <a:lnTo>
                        <a:pt x="7212" y="732"/>
                      </a:lnTo>
                      <a:lnTo>
                        <a:pt x="7206" y="738"/>
                      </a:lnTo>
                      <a:lnTo>
                        <a:pt x="7212" y="744"/>
                      </a:lnTo>
                      <a:lnTo>
                        <a:pt x="7218" y="756"/>
                      </a:lnTo>
                      <a:lnTo>
                        <a:pt x="7254" y="792"/>
                      </a:lnTo>
                      <a:lnTo>
                        <a:pt x="7248" y="792"/>
                      </a:lnTo>
                      <a:lnTo>
                        <a:pt x="7242" y="786"/>
                      </a:lnTo>
                      <a:lnTo>
                        <a:pt x="7230" y="780"/>
                      </a:lnTo>
                      <a:lnTo>
                        <a:pt x="7218" y="768"/>
                      </a:lnTo>
                      <a:lnTo>
                        <a:pt x="7206" y="762"/>
                      </a:lnTo>
                      <a:lnTo>
                        <a:pt x="7194" y="750"/>
                      </a:lnTo>
                      <a:lnTo>
                        <a:pt x="7176" y="744"/>
                      </a:lnTo>
                      <a:lnTo>
                        <a:pt x="7104" y="732"/>
                      </a:lnTo>
                      <a:lnTo>
                        <a:pt x="7086" y="732"/>
                      </a:lnTo>
                      <a:lnTo>
                        <a:pt x="7086" y="726"/>
                      </a:lnTo>
                      <a:lnTo>
                        <a:pt x="7056" y="696"/>
                      </a:lnTo>
                      <a:lnTo>
                        <a:pt x="7032" y="684"/>
                      </a:lnTo>
                      <a:lnTo>
                        <a:pt x="6990" y="666"/>
                      </a:lnTo>
                      <a:lnTo>
                        <a:pt x="6948" y="660"/>
                      </a:lnTo>
                      <a:lnTo>
                        <a:pt x="6912" y="654"/>
                      </a:lnTo>
                      <a:lnTo>
                        <a:pt x="6882" y="654"/>
                      </a:lnTo>
                      <a:lnTo>
                        <a:pt x="6864" y="648"/>
                      </a:lnTo>
                      <a:lnTo>
                        <a:pt x="6834" y="648"/>
                      </a:lnTo>
                      <a:lnTo>
                        <a:pt x="6786" y="636"/>
                      </a:lnTo>
                      <a:lnTo>
                        <a:pt x="6774" y="642"/>
                      </a:lnTo>
                      <a:lnTo>
                        <a:pt x="6714" y="642"/>
                      </a:lnTo>
                      <a:lnTo>
                        <a:pt x="6696" y="660"/>
                      </a:lnTo>
                      <a:lnTo>
                        <a:pt x="6684" y="666"/>
                      </a:lnTo>
                      <a:lnTo>
                        <a:pt x="6648" y="666"/>
                      </a:lnTo>
                      <a:lnTo>
                        <a:pt x="6630" y="660"/>
                      </a:lnTo>
                      <a:lnTo>
                        <a:pt x="6594" y="660"/>
                      </a:lnTo>
                      <a:lnTo>
                        <a:pt x="6582" y="654"/>
                      </a:lnTo>
                      <a:lnTo>
                        <a:pt x="6576" y="648"/>
                      </a:lnTo>
                      <a:lnTo>
                        <a:pt x="6552" y="636"/>
                      </a:lnTo>
                      <a:lnTo>
                        <a:pt x="6534" y="630"/>
                      </a:lnTo>
                      <a:lnTo>
                        <a:pt x="6522" y="624"/>
                      </a:lnTo>
                      <a:lnTo>
                        <a:pt x="6498" y="624"/>
                      </a:lnTo>
                      <a:lnTo>
                        <a:pt x="6486" y="630"/>
                      </a:lnTo>
                      <a:lnTo>
                        <a:pt x="6474" y="612"/>
                      </a:lnTo>
                      <a:lnTo>
                        <a:pt x="6438" y="612"/>
                      </a:lnTo>
                      <a:lnTo>
                        <a:pt x="6372" y="606"/>
                      </a:lnTo>
                      <a:lnTo>
                        <a:pt x="6408" y="594"/>
                      </a:lnTo>
                      <a:lnTo>
                        <a:pt x="6372" y="570"/>
                      </a:lnTo>
                      <a:lnTo>
                        <a:pt x="6360" y="570"/>
                      </a:lnTo>
                      <a:lnTo>
                        <a:pt x="6324" y="564"/>
                      </a:lnTo>
                      <a:lnTo>
                        <a:pt x="6282" y="558"/>
                      </a:lnTo>
                      <a:lnTo>
                        <a:pt x="6246" y="558"/>
                      </a:lnTo>
                      <a:lnTo>
                        <a:pt x="6228" y="564"/>
                      </a:lnTo>
                      <a:lnTo>
                        <a:pt x="6228" y="594"/>
                      </a:lnTo>
                      <a:lnTo>
                        <a:pt x="6222" y="600"/>
                      </a:lnTo>
                      <a:lnTo>
                        <a:pt x="6192" y="600"/>
                      </a:lnTo>
                      <a:lnTo>
                        <a:pt x="6180" y="594"/>
                      </a:lnTo>
                      <a:lnTo>
                        <a:pt x="6168" y="594"/>
                      </a:lnTo>
                      <a:lnTo>
                        <a:pt x="6186" y="582"/>
                      </a:lnTo>
                      <a:lnTo>
                        <a:pt x="6168" y="570"/>
                      </a:lnTo>
                      <a:lnTo>
                        <a:pt x="6096" y="570"/>
                      </a:lnTo>
                      <a:lnTo>
                        <a:pt x="6114" y="558"/>
                      </a:lnTo>
                      <a:lnTo>
                        <a:pt x="6156" y="558"/>
                      </a:lnTo>
                      <a:lnTo>
                        <a:pt x="6216" y="588"/>
                      </a:lnTo>
                      <a:lnTo>
                        <a:pt x="6216" y="564"/>
                      </a:lnTo>
                      <a:lnTo>
                        <a:pt x="6162" y="540"/>
                      </a:lnTo>
                      <a:lnTo>
                        <a:pt x="6048" y="546"/>
                      </a:lnTo>
                      <a:lnTo>
                        <a:pt x="6048" y="534"/>
                      </a:lnTo>
                      <a:lnTo>
                        <a:pt x="5928" y="540"/>
                      </a:lnTo>
                      <a:lnTo>
                        <a:pt x="5880" y="522"/>
                      </a:lnTo>
                      <a:lnTo>
                        <a:pt x="5862" y="522"/>
                      </a:lnTo>
                      <a:lnTo>
                        <a:pt x="5898" y="546"/>
                      </a:lnTo>
                      <a:lnTo>
                        <a:pt x="5850" y="546"/>
                      </a:lnTo>
                      <a:lnTo>
                        <a:pt x="5838" y="552"/>
                      </a:lnTo>
                      <a:lnTo>
                        <a:pt x="5832" y="552"/>
                      </a:lnTo>
                      <a:lnTo>
                        <a:pt x="5832" y="558"/>
                      </a:lnTo>
                      <a:lnTo>
                        <a:pt x="5844" y="564"/>
                      </a:lnTo>
                      <a:lnTo>
                        <a:pt x="5850" y="570"/>
                      </a:lnTo>
                      <a:lnTo>
                        <a:pt x="5862" y="576"/>
                      </a:lnTo>
                      <a:lnTo>
                        <a:pt x="5892" y="576"/>
                      </a:lnTo>
                      <a:lnTo>
                        <a:pt x="5892" y="582"/>
                      </a:lnTo>
                      <a:lnTo>
                        <a:pt x="5952" y="618"/>
                      </a:lnTo>
                      <a:lnTo>
                        <a:pt x="5904" y="618"/>
                      </a:lnTo>
                      <a:lnTo>
                        <a:pt x="5898" y="612"/>
                      </a:lnTo>
                      <a:lnTo>
                        <a:pt x="5886" y="606"/>
                      </a:lnTo>
                      <a:lnTo>
                        <a:pt x="5874" y="606"/>
                      </a:lnTo>
                      <a:lnTo>
                        <a:pt x="5862" y="600"/>
                      </a:lnTo>
                      <a:lnTo>
                        <a:pt x="5844" y="618"/>
                      </a:lnTo>
                      <a:lnTo>
                        <a:pt x="5868" y="636"/>
                      </a:lnTo>
                      <a:lnTo>
                        <a:pt x="5814" y="630"/>
                      </a:lnTo>
                      <a:lnTo>
                        <a:pt x="5808" y="630"/>
                      </a:lnTo>
                      <a:lnTo>
                        <a:pt x="5802" y="624"/>
                      </a:lnTo>
                      <a:lnTo>
                        <a:pt x="5784" y="618"/>
                      </a:lnTo>
                      <a:lnTo>
                        <a:pt x="5766" y="618"/>
                      </a:lnTo>
                      <a:lnTo>
                        <a:pt x="5754" y="612"/>
                      </a:lnTo>
                      <a:lnTo>
                        <a:pt x="5736" y="606"/>
                      </a:lnTo>
                      <a:lnTo>
                        <a:pt x="5724" y="606"/>
                      </a:lnTo>
                      <a:lnTo>
                        <a:pt x="5712" y="612"/>
                      </a:lnTo>
                      <a:lnTo>
                        <a:pt x="5700" y="612"/>
                      </a:lnTo>
                      <a:lnTo>
                        <a:pt x="5688" y="618"/>
                      </a:lnTo>
                      <a:lnTo>
                        <a:pt x="5682" y="624"/>
                      </a:lnTo>
                      <a:lnTo>
                        <a:pt x="5676" y="624"/>
                      </a:lnTo>
                      <a:lnTo>
                        <a:pt x="5610" y="618"/>
                      </a:lnTo>
                      <a:lnTo>
                        <a:pt x="5604" y="618"/>
                      </a:lnTo>
                      <a:lnTo>
                        <a:pt x="5598" y="612"/>
                      </a:lnTo>
                      <a:lnTo>
                        <a:pt x="5562" y="594"/>
                      </a:lnTo>
                      <a:lnTo>
                        <a:pt x="5556" y="594"/>
                      </a:lnTo>
                      <a:lnTo>
                        <a:pt x="5550" y="588"/>
                      </a:lnTo>
                      <a:lnTo>
                        <a:pt x="5538" y="588"/>
                      </a:lnTo>
                      <a:lnTo>
                        <a:pt x="5538" y="606"/>
                      </a:lnTo>
                      <a:lnTo>
                        <a:pt x="5544" y="612"/>
                      </a:lnTo>
                      <a:lnTo>
                        <a:pt x="5550" y="624"/>
                      </a:lnTo>
                      <a:lnTo>
                        <a:pt x="5556" y="630"/>
                      </a:lnTo>
                      <a:lnTo>
                        <a:pt x="5562" y="642"/>
                      </a:lnTo>
                      <a:lnTo>
                        <a:pt x="5562" y="660"/>
                      </a:lnTo>
                      <a:lnTo>
                        <a:pt x="5556" y="666"/>
                      </a:lnTo>
                      <a:lnTo>
                        <a:pt x="5532" y="660"/>
                      </a:lnTo>
                      <a:lnTo>
                        <a:pt x="5424" y="624"/>
                      </a:lnTo>
                      <a:lnTo>
                        <a:pt x="5412" y="618"/>
                      </a:lnTo>
                      <a:lnTo>
                        <a:pt x="5406" y="618"/>
                      </a:lnTo>
                      <a:lnTo>
                        <a:pt x="5400" y="612"/>
                      </a:lnTo>
                      <a:lnTo>
                        <a:pt x="5394" y="600"/>
                      </a:lnTo>
                      <a:lnTo>
                        <a:pt x="5382" y="594"/>
                      </a:lnTo>
                      <a:lnTo>
                        <a:pt x="5376" y="588"/>
                      </a:lnTo>
                      <a:lnTo>
                        <a:pt x="5376" y="606"/>
                      </a:lnTo>
                      <a:lnTo>
                        <a:pt x="5322" y="588"/>
                      </a:lnTo>
                      <a:lnTo>
                        <a:pt x="5292" y="570"/>
                      </a:lnTo>
                      <a:lnTo>
                        <a:pt x="5298" y="570"/>
                      </a:lnTo>
                      <a:lnTo>
                        <a:pt x="5304" y="576"/>
                      </a:lnTo>
                      <a:lnTo>
                        <a:pt x="5328" y="576"/>
                      </a:lnTo>
                      <a:lnTo>
                        <a:pt x="5340" y="582"/>
                      </a:lnTo>
                      <a:lnTo>
                        <a:pt x="5352" y="582"/>
                      </a:lnTo>
                      <a:lnTo>
                        <a:pt x="5358" y="576"/>
                      </a:lnTo>
                      <a:lnTo>
                        <a:pt x="5358" y="570"/>
                      </a:lnTo>
                      <a:lnTo>
                        <a:pt x="5346" y="564"/>
                      </a:lnTo>
                      <a:lnTo>
                        <a:pt x="5334" y="552"/>
                      </a:lnTo>
                      <a:lnTo>
                        <a:pt x="5292" y="552"/>
                      </a:lnTo>
                      <a:lnTo>
                        <a:pt x="5304" y="540"/>
                      </a:lnTo>
                      <a:lnTo>
                        <a:pt x="5298" y="534"/>
                      </a:lnTo>
                      <a:lnTo>
                        <a:pt x="5286" y="528"/>
                      </a:lnTo>
                      <a:lnTo>
                        <a:pt x="5256" y="528"/>
                      </a:lnTo>
                      <a:lnTo>
                        <a:pt x="5268" y="510"/>
                      </a:lnTo>
                      <a:lnTo>
                        <a:pt x="5262" y="510"/>
                      </a:lnTo>
                      <a:lnTo>
                        <a:pt x="5256" y="504"/>
                      </a:lnTo>
                      <a:lnTo>
                        <a:pt x="5232" y="504"/>
                      </a:lnTo>
                      <a:lnTo>
                        <a:pt x="5220" y="498"/>
                      </a:lnTo>
                      <a:lnTo>
                        <a:pt x="5208" y="498"/>
                      </a:lnTo>
                      <a:lnTo>
                        <a:pt x="5202" y="492"/>
                      </a:lnTo>
                      <a:lnTo>
                        <a:pt x="5190" y="492"/>
                      </a:lnTo>
                      <a:lnTo>
                        <a:pt x="5184" y="486"/>
                      </a:lnTo>
                      <a:lnTo>
                        <a:pt x="5142" y="486"/>
                      </a:lnTo>
                      <a:lnTo>
                        <a:pt x="5130" y="492"/>
                      </a:lnTo>
                      <a:lnTo>
                        <a:pt x="5094" y="492"/>
                      </a:lnTo>
                      <a:lnTo>
                        <a:pt x="5076" y="486"/>
                      </a:lnTo>
                      <a:lnTo>
                        <a:pt x="5070" y="480"/>
                      </a:lnTo>
                      <a:lnTo>
                        <a:pt x="5064" y="480"/>
                      </a:lnTo>
                      <a:lnTo>
                        <a:pt x="5040" y="486"/>
                      </a:lnTo>
                      <a:lnTo>
                        <a:pt x="5040" y="474"/>
                      </a:lnTo>
                      <a:lnTo>
                        <a:pt x="4992" y="468"/>
                      </a:lnTo>
                      <a:lnTo>
                        <a:pt x="4980" y="456"/>
                      </a:lnTo>
                      <a:lnTo>
                        <a:pt x="4974" y="474"/>
                      </a:lnTo>
                      <a:lnTo>
                        <a:pt x="4956" y="480"/>
                      </a:lnTo>
                      <a:lnTo>
                        <a:pt x="4986" y="498"/>
                      </a:lnTo>
                      <a:lnTo>
                        <a:pt x="5010" y="528"/>
                      </a:lnTo>
                      <a:lnTo>
                        <a:pt x="4962" y="522"/>
                      </a:lnTo>
                      <a:lnTo>
                        <a:pt x="4956" y="516"/>
                      </a:lnTo>
                      <a:lnTo>
                        <a:pt x="4890" y="522"/>
                      </a:lnTo>
                      <a:lnTo>
                        <a:pt x="4872" y="528"/>
                      </a:lnTo>
                      <a:lnTo>
                        <a:pt x="4872" y="516"/>
                      </a:lnTo>
                      <a:lnTo>
                        <a:pt x="4824" y="522"/>
                      </a:lnTo>
                      <a:lnTo>
                        <a:pt x="4818" y="510"/>
                      </a:lnTo>
                      <a:lnTo>
                        <a:pt x="4764" y="510"/>
                      </a:lnTo>
                      <a:lnTo>
                        <a:pt x="4728" y="504"/>
                      </a:lnTo>
                      <a:lnTo>
                        <a:pt x="4746" y="480"/>
                      </a:lnTo>
                      <a:lnTo>
                        <a:pt x="4620" y="480"/>
                      </a:lnTo>
                      <a:lnTo>
                        <a:pt x="4608" y="468"/>
                      </a:lnTo>
                      <a:lnTo>
                        <a:pt x="4602" y="474"/>
                      </a:lnTo>
                      <a:lnTo>
                        <a:pt x="4590" y="468"/>
                      </a:lnTo>
                      <a:lnTo>
                        <a:pt x="4542" y="474"/>
                      </a:lnTo>
                      <a:lnTo>
                        <a:pt x="4548" y="486"/>
                      </a:lnTo>
                      <a:lnTo>
                        <a:pt x="4488" y="480"/>
                      </a:lnTo>
                      <a:lnTo>
                        <a:pt x="4476" y="486"/>
                      </a:lnTo>
                      <a:lnTo>
                        <a:pt x="4506" y="498"/>
                      </a:lnTo>
                      <a:lnTo>
                        <a:pt x="4464" y="492"/>
                      </a:lnTo>
                      <a:lnTo>
                        <a:pt x="4464" y="474"/>
                      </a:lnTo>
                      <a:lnTo>
                        <a:pt x="4434" y="456"/>
                      </a:lnTo>
                      <a:lnTo>
                        <a:pt x="4416" y="456"/>
                      </a:lnTo>
                      <a:lnTo>
                        <a:pt x="4428" y="474"/>
                      </a:lnTo>
                      <a:lnTo>
                        <a:pt x="4374" y="474"/>
                      </a:lnTo>
                      <a:lnTo>
                        <a:pt x="4368" y="468"/>
                      </a:lnTo>
                      <a:lnTo>
                        <a:pt x="4356" y="468"/>
                      </a:lnTo>
                      <a:lnTo>
                        <a:pt x="4350" y="456"/>
                      </a:lnTo>
                      <a:lnTo>
                        <a:pt x="4320" y="456"/>
                      </a:lnTo>
                      <a:lnTo>
                        <a:pt x="4296" y="444"/>
                      </a:lnTo>
                      <a:lnTo>
                        <a:pt x="4266" y="468"/>
                      </a:lnTo>
                      <a:lnTo>
                        <a:pt x="4320" y="474"/>
                      </a:lnTo>
                      <a:lnTo>
                        <a:pt x="4332" y="474"/>
                      </a:lnTo>
                      <a:lnTo>
                        <a:pt x="4326" y="480"/>
                      </a:lnTo>
                      <a:lnTo>
                        <a:pt x="4314" y="486"/>
                      </a:lnTo>
                      <a:lnTo>
                        <a:pt x="4308" y="492"/>
                      </a:lnTo>
                      <a:lnTo>
                        <a:pt x="4272" y="492"/>
                      </a:lnTo>
                      <a:lnTo>
                        <a:pt x="4266" y="498"/>
                      </a:lnTo>
                      <a:lnTo>
                        <a:pt x="4254" y="504"/>
                      </a:lnTo>
                      <a:lnTo>
                        <a:pt x="4182" y="504"/>
                      </a:lnTo>
                      <a:lnTo>
                        <a:pt x="4146" y="510"/>
                      </a:lnTo>
                      <a:lnTo>
                        <a:pt x="4134" y="534"/>
                      </a:lnTo>
                      <a:lnTo>
                        <a:pt x="4110" y="528"/>
                      </a:lnTo>
                      <a:lnTo>
                        <a:pt x="4110" y="516"/>
                      </a:lnTo>
                      <a:lnTo>
                        <a:pt x="4116" y="504"/>
                      </a:lnTo>
                      <a:lnTo>
                        <a:pt x="4122" y="498"/>
                      </a:lnTo>
                      <a:lnTo>
                        <a:pt x="4134" y="492"/>
                      </a:lnTo>
                      <a:lnTo>
                        <a:pt x="4152" y="492"/>
                      </a:lnTo>
                      <a:lnTo>
                        <a:pt x="4164" y="480"/>
                      </a:lnTo>
                      <a:lnTo>
                        <a:pt x="4206" y="474"/>
                      </a:lnTo>
                      <a:lnTo>
                        <a:pt x="4248" y="438"/>
                      </a:lnTo>
                      <a:lnTo>
                        <a:pt x="4248" y="426"/>
                      </a:lnTo>
                      <a:lnTo>
                        <a:pt x="4254" y="420"/>
                      </a:lnTo>
                      <a:lnTo>
                        <a:pt x="4266" y="414"/>
                      </a:lnTo>
                      <a:lnTo>
                        <a:pt x="4278" y="414"/>
                      </a:lnTo>
                      <a:lnTo>
                        <a:pt x="4290" y="408"/>
                      </a:lnTo>
                      <a:lnTo>
                        <a:pt x="4302" y="408"/>
                      </a:lnTo>
                      <a:lnTo>
                        <a:pt x="4320" y="402"/>
                      </a:lnTo>
                      <a:lnTo>
                        <a:pt x="4332" y="402"/>
                      </a:lnTo>
                      <a:lnTo>
                        <a:pt x="4344" y="396"/>
                      </a:lnTo>
                      <a:lnTo>
                        <a:pt x="4350" y="390"/>
                      </a:lnTo>
                      <a:lnTo>
                        <a:pt x="4356" y="378"/>
                      </a:lnTo>
                      <a:lnTo>
                        <a:pt x="4350" y="366"/>
                      </a:lnTo>
                      <a:lnTo>
                        <a:pt x="4344" y="360"/>
                      </a:lnTo>
                      <a:lnTo>
                        <a:pt x="4332" y="354"/>
                      </a:lnTo>
                      <a:lnTo>
                        <a:pt x="4326" y="348"/>
                      </a:lnTo>
                      <a:lnTo>
                        <a:pt x="4290" y="348"/>
                      </a:lnTo>
                      <a:lnTo>
                        <a:pt x="4320" y="336"/>
                      </a:lnTo>
                      <a:lnTo>
                        <a:pt x="4314" y="330"/>
                      </a:lnTo>
                      <a:lnTo>
                        <a:pt x="4302" y="324"/>
                      </a:lnTo>
                      <a:lnTo>
                        <a:pt x="4290" y="312"/>
                      </a:lnTo>
                      <a:lnTo>
                        <a:pt x="4284" y="312"/>
                      </a:lnTo>
                      <a:lnTo>
                        <a:pt x="4278" y="318"/>
                      </a:lnTo>
                      <a:lnTo>
                        <a:pt x="4254" y="318"/>
                      </a:lnTo>
                      <a:lnTo>
                        <a:pt x="4248" y="312"/>
                      </a:lnTo>
                      <a:lnTo>
                        <a:pt x="4242" y="300"/>
                      </a:lnTo>
                      <a:lnTo>
                        <a:pt x="4236" y="294"/>
                      </a:lnTo>
                      <a:lnTo>
                        <a:pt x="4194" y="294"/>
                      </a:lnTo>
                      <a:lnTo>
                        <a:pt x="4188" y="300"/>
                      </a:lnTo>
                      <a:lnTo>
                        <a:pt x="4182" y="300"/>
                      </a:lnTo>
                      <a:lnTo>
                        <a:pt x="4128" y="288"/>
                      </a:lnTo>
                      <a:lnTo>
                        <a:pt x="3990" y="282"/>
                      </a:lnTo>
                      <a:lnTo>
                        <a:pt x="3990" y="300"/>
                      </a:lnTo>
                      <a:lnTo>
                        <a:pt x="3924" y="300"/>
                      </a:lnTo>
                      <a:lnTo>
                        <a:pt x="3942" y="282"/>
                      </a:lnTo>
                      <a:lnTo>
                        <a:pt x="3942" y="276"/>
                      </a:lnTo>
                      <a:lnTo>
                        <a:pt x="3936" y="270"/>
                      </a:lnTo>
                      <a:lnTo>
                        <a:pt x="3912" y="264"/>
                      </a:lnTo>
                      <a:lnTo>
                        <a:pt x="3882" y="264"/>
                      </a:lnTo>
                      <a:lnTo>
                        <a:pt x="3852" y="270"/>
                      </a:lnTo>
                      <a:lnTo>
                        <a:pt x="3840" y="270"/>
                      </a:lnTo>
                      <a:lnTo>
                        <a:pt x="3780" y="264"/>
                      </a:lnTo>
                      <a:lnTo>
                        <a:pt x="3792" y="264"/>
                      </a:lnTo>
                      <a:lnTo>
                        <a:pt x="3810" y="258"/>
                      </a:lnTo>
                      <a:lnTo>
                        <a:pt x="3822" y="258"/>
                      </a:lnTo>
                      <a:lnTo>
                        <a:pt x="3834" y="252"/>
                      </a:lnTo>
                      <a:lnTo>
                        <a:pt x="3840" y="252"/>
                      </a:lnTo>
                      <a:lnTo>
                        <a:pt x="3840" y="246"/>
                      </a:lnTo>
                      <a:lnTo>
                        <a:pt x="3834" y="240"/>
                      </a:lnTo>
                      <a:lnTo>
                        <a:pt x="3822" y="240"/>
                      </a:lnTo>
                      <a:lnTo>
                        <a:pt x="3804" y="234"/>
                      </a:lnTo>
                      <a:lnTo>
                        <a:pt x="3762" y="234"/>
                      </a:lnTo>
                      <a:lnTo>
                        <a:pt x="3720" y="228"/>
                      </a:lnTo>
                      <a:lnTo>
                        <a:pt x="3714" y="240"/>
                      </a:lnTo>
                      <a:lnTo>
                        <a:pt x="3684" y="240"/>
                      </a:lnTo>
                      <a:lnTo>
                        <a:pt x="3672" y="246"/>
                      </a:lnTo>
                      <a:lnTo>
                        <a:pt x="3660" y="246"/>
                      </a:lnTo>
                      <a:lnTo>
                        <a:pt x="3648" y="252"/>
                      </a:lnTo>
                      <a:lnTo>
                        <a:pt x="3648" y="258"/>
                      </a:lnTo>
                      <a:lnTo>
                        <a:pt x="3654" y="270"/>
                      </a:lnTo>
                      <a:lnTo>
                        <a:pt x="3678" y="282"/>
                      </a:lnTo>
                      <a:lnTo>
                        <a:pt x="3696" y="294"/>
                      </a:lnTo>
                      <a:lnTo>
                        <a:pt x="3708" y="294"/>
                      </a:lnTo>
                      <a:lnTo>
                        <a:pt x="3714" y="300"/>
                      </a:lnTo>
                      <a:lnTo>
                        <a:pt x="3720" y="300"/>
                      </a:lnTo>
                      <a:lnTo>
                        <a:pt x="3576" y="294"/>
                      </a:lnTo>
                      <a:lnTo>
                        <a:pt x="3630" y="312"/>
                      </a:lnTo>
                      <a:lnTo>
                        <a:pt x="3576" y="324"/>
                      </a:lnTo>
                      <a:lnTo>
                        <a:pt x="3564" y="330"/>
                      </a:lnTo>
                      <a:lnTo>
                        <a:pt x="3534" y="336"/>
                      </a:lnTo>
                      <a:lnTo>
                        <a:pt x="3498" y="342"/>
                      </a:lnTo>
                      <a:lnTo>
                        <a:pt x="3474" y="342"/>
                      </a:lnTo>
                      <a:lnTo>
                        <a:pt x="3468" y="336"/>
                      </a:lnTo>
                      <a:lnTo>
                        <a:pt x="3474" y="324"/>
                      </a:lnTo>
                      <a:lnTo>
                        <a:pt x="3486" y="312"/>
                      </a:lnTo>
                      <a:lnTo>
                        <a:pt x="3420" y="312"/>
                      </a:lnTo>
                      <a:lnTo>
                        <a:pt x="3408" y="318"/>
                      </a:lnTo>
                      <a:lnTo>
                        <a:pt x="3390" y="318"/>
                      </a:lnTo>
                      <a:lnTo>
                        <a:pt x="3378" y="324"/>
                      </a:lnTo>
                      <a:lnTo>
                        <a:pt x="3366" y="336"/>
                      </a:lnTo>
                      <a:lnTo>
                        <a:pt x="3348" y="336"/>
                      </a:lnTo>
                      <a:lnTo>
                        <a:pt x="3318" y="342"/>
                      </a:lnTo>
                      <a:lnTo>
                        <a:pt x="3276" y="342"/>
                      </a:lnTo>
                      <a:lnTo>
                        <a:pt x="3246" y="348"/>
                      </a:lnTo>
                      <a:lnTo>
                        <a:pt x="3234" y="354"/>
                      </a:lnTo>
                      <a:lnTo>
                        <a:pt x="3216" y="354"/>
                      </a:lnTo>
                      <a:lnTo>
                        <a:pt x="3204" y="360"/>
                      </a:lnTo>
                      <a:lnTo>
                        <a:pt x="3186" y="360"/>
                      </a:lnTo>
                      <a:lnTo>
                        <a:pt x="3180" y="366"/>
                      </a:lnTo>
                      <a:lnTo>
                        <a:pt x="3174" y="366"/>
                      </a:lnTo>
                      <a:lnTo>
                        <a:pt x="3132" y="396"/>
                      </a:lnTo>
                      <a:lnTo>
                        <a:pt x="3114" y="396"/>
                      </a:lnTo>
                      <a:lnTo>
                        <a:pt x="3108" y="402"/>
                      </a:lnTo>
                      <a:lnTo>
                        <a:pt x="3102" y="402"/>
                      </a:lnTo>
                      <a:lnTo>
                        <a:pt x="3096" y="408"/>
                      </a:lnTo>
                      <a:lnTo>
                        <a:pt x="3102" y="414"/>
                      </a:lnTo>
                      <a:lnTo>
                        <a:pt x="3120" y="426"/>
                      </a:lnTo>
                      <a:lnTo>
                        <a:pt x="3132" y="438"/>
                      </a:lnTo>
                      <a:lnTo>
                        <a:pt x="3150" y="444"/>
                      </a:lnTo>
                      <a:lnTo>
                        <a:pt x="3156" y="450"/>
                      </a:lnTo>
                      <a:lnTo>
                        <a:pt x="3162" y="450"/>
                      </a:lnTo>
                      <a:lnTo>
                        <a:pt x="3120" y="462"/>
                      </a:lnTo>
                      <a:lnTo>
                        <a:pt x="3096" y="474"/>
                      </a:lnTo>
                      <a:lnTo>
                        <a:pt x="2994" y="474"/>
                      </a:lnTo>
                      <a:lnTo>
                        <a:pt x="2988" y="480"/>
                      </a:lnTo>
                      <a:lnTo>
                        <a:pt x="2952" y="468"/>
                      </a:lnTo>
                      <a:lnTo>
                        <a:pt x="2934" y="474"/>
                      </a:lnTo>
                      <a:lnTo>
                        <a:pt x="2880" y="474"/>
                      </a:lnTo>
                      <a:lnTo>
                        <a:pt x="2874" y="480"/>
                      </a:lnTo>
                      <a:lnTo>
                        <a:pt x="2874" y="498"/>
                      </a:lnTo>
                      <a:lnTo>
                        <a:pt x="2880" y="510"/>
                      </a:lnTo>
                      <a:lnTo>
                        <a:pt x="2892" y="522"/>
                      </a:lnTo>
                      <a:lnTo>
                        <a:pt x="2898" y="522"/>
                      </a:lnTo>
                      <a:lnTo>
                        <a:pt x="2904" y="528"/>
                      </a:lnTo>
                      <a:lnTo>
                        <a:pt x="2910" y="540"/>
                      </a:lnTo>
                      <a:lnTo>
                        <a:pt x="2916" y="546"/>
                      </a:lnTo>
                      <a:lnTo>
                        <a:pt x="2922" y="546"/>
                      </a:lnTo>
                      <a:lnTo>
                        <a:pt x="2928" y="552"/>
                      </a:lnTo>
                      <a:lnTo>
                        <a:pt x="2940" y="552"/>
                      </a:lnTo>
                      <a:lnTo>
                        <a:pt x="2952" y="558"/>
                      </a:lnTo>
                      <a:lnTo>
                        <a:pt x="2964" y="558"/>
                      </a:lnTo>
                      <a:lnTo>
                        <a:pt x="2976" y="564"/>
                      </a:lnTo>
                      <a:lnTo>
                        <a:pt x="2994" y="564"/>
                      </a:lnTo>
                      <a:lnTo>
                        <a:pt x="3012" y="570"/>
                      </a:lnTo>
                      <a:lnTo>
                        <a:pt x="3024" y="570"/>
                      </a:lnTo>
                      <a:lnTo>
                        <a:pt x="3036" y="576"/>
                      </a:lnTo>
                      <a:lnTo>
                        <a:pt x="3042" y="576"/>
                      </a:lnTo>
                      <a:lnTo>
                        <a:pt x="3054" y="588"/>
                      </a:lnTo>
                      <a:lnTo>
                        <a:pt x="3054" y="594"/>
                      </a:lnTo>
                      <a:lnTo>
                        <a:pt x="3060" y="600"/>
                      </a:lnTo>
                      <a:lnTo>
                        <a:pt x="3030" y="600"/>
                      </a:lnTo>
                      <a:lnTo>
                        <a:pt x="3012" y="606"/>
                      </a:lnTo>
                      <a:lnTo>
                        <a:pt x="3000" y="606"/>
                      </a:lnTo>
                      <a:lnTo>
                        <a:pt x="2964" y="588"/>
                      </a:lnTo>
                      <a:lnTo>
                        <a:pt x="2928" y="576"/>
                      </a:lnTo>
                      <a:lnTo>
                        <a:pt x="2904" y="570"/>
                      </a:lnTo>
                      <a:lnTo>
                        <a:pt x="2886" y="564"/>
                      </a:lnTo>
                      <a:lnTo>
                        <a:pt x="2862" y="564"/>
                      </a:lnTo>
                      <a:lnTo>
                        <a:pt x="2844" y="558"/>
                      </a:lnTo>
                      <a:lnTo>
                        <a:pt x="2802" y="558"/>
                      </a:lnTo>
                      <a:lnTo>
                        <a:pt x="2796" y="564"/>
                      </a:lnTo>
                      <a:lnTo>
                        <a:pt x="2796" y="576"/>
                      </a:lnTo>
                      <a:lnTo>
                        <a:pt x="2802" y="582"/>
                      </a:lnTo>
                      <a:lnTo>
                        <a:pt x="2808" y="582"/>
                      </a:lnTo>
                      <a:lnTo>
                        <a:pt x="2820" y="594"/>
                      </a:lnTo>
                      <a:lnTo>
                        <a:pt x="2784" y="594"/>
                      </a:lnTo>
                      <a:lnTo>
                        <a:pt x="2772" y="582"/>
                      </a:lnTo>
                      <a:lnTo>
                        <a:pt x="2754" y="582"/>
                      </a:lnTo>
                      <a:lnTo>
                        <a:pt x="2748" y="576"/>
                      </a:lnTo>
                      <a:lnTo>
                        <a:pt x="2724" y="576"/>
                      </a:lnTo>
                      <a:lnTo>
                        <a:pt x="2724" y="582"/>
                      </a:lnTo>
                      <a:lnTo>
                        <a:pt x="2730" y="600"/>
                      </a:lnTo>
                      <a:lnTo>
                        <a:pt x="2736" y="612"/>
                      </a:lnTo>
                      <a:lnTo>
                        <a:pt x="2748" y="618"/>
                      </a:lnTo>
                      <a:lnTo>
                        <a:pt x="2766" y="624"/>
                      </a:lnTo>
                      <a:lnTo>
                        <a:pt x="2802" y="624"/>
                      </a:lnTo>
                      <a:lnTo>
                        <a:pt x="2820" y="630"/>
                      </a:lnTo>
                      <a:lnTo>
                        <a:pt x="2844" y="630"/>
                      </a:lnTo>
                      <a:lnTo>
                        <a:pt x="2856" y="636"/>
                      </a:lnTo>
                      <a:lnTo>
                        <a:pt x="2862" y="648"/>
                      </a:lnTo>
                      <a:lnTo>
                        <a:pt x="2874" y="654"/>
                      </a:lnTo>
                      <a:lnTo>
                        <a:pt x="2844" y="654"/>
                      </a:lnTo>
                      <a:lnTo>
                        <a:pt x="2838" y="648"/>
                      </a:lnTo>
                      <a:lnTo>
                        <a:pt x="2826" y="642"/>
                      </a:lnTo>
                      <a:lnTo>
                        <a:pt x="2772" y="642"/>
                      </a:lnTo>
                      <a:lnTo>
                        <a:pt x="2760" y="636"/>
                      </a:lnTo>
                      <a:lnTo>
                        <a:pt x="2730" y="636"/>
                      </a:lnTo>
                      <a:lnTo>
                        <a:pt x="2724" y="624"/>
                      </a:lnTo>
                      <a:lnTo>
                        <a:pt x="2700" y="624"/>
                      </a:lnTo>
                      <a:lnTo>
                        <a:pt x="2694" y="606"/>
                      </a:lnTo>
                      <a:lnTo>
                        <a:pt x="2664" y="594"/>
                      </a:lnTo>
                      <a:lnTo>
                        <a:pt x="2670" y="588"/>
                      </a:lnTo>
                      <a:lnTo>
                        <a:pt x="2682" y="582"/>
                      </a:lnTo>
                      <a:lnTo>
                        <a:pt x="2688" y="576"/>
                      </a:lnTo>
                      <a:lnTo>
                        <a:pt x="2688" y="564"/>
                      </a:lnTo>
                      <a:lnTo>
                        <a:pt x="2658" y="534"/>
                      </a:lnTo>
                      <a:lnTo>
                        <a:pt x="2646" y="528"/>
                      </a:lnTo>
                      <a:lnTo>
                        <a:pt x="2616" y="528"/>
                      </a:lnTo>
                      <a:lnTo>
                        <a:pt x="2628" y="534"/>
                      </a:lnTo>
                      <a:lnTo>
                        <a:pt x="2652" y="558"/>
                      </a:lnTo>
                      <a:lnTo>
                        <a:pt x="2640" y="570"/>
                      </a:lnTo>
                      <a:lnTo>
                        <a:pt x="2616" y="582"/>
                      </a:lnTo>
                      <a:lnTo>
                        <a:pt x="2604" y="582"/>
                      </a:lnTo>
                      <a:lnTo>
                        <a:pt x="2586" y="624"/>
                      </a:lnTo>
                      <a:lnTo>
                        <a:pt x="2658" y="660"/>
                      </a:lnTo>
                      <a:lnTo>
                        <a:pt x="2676" y="660"/>
                      </a:lnTo>
                      <a:lnTo>
                        <a:pt x="2676" y="696"/>
                      </a:lnTo>
                      <a:lnTo>
                        <a:pt x="2670" y="708"/>
                      </a:lnTo>
                      <a:lnTo>
                        <a:pt x="2670" y="720"/>
                      </a:lnTo>
                      <a:lnTo>
                        <a:pt x="2676" y="738"/>
                      </a:lnTo>
                      <a:lnTo>
                        <a:pt x="2712" y="744"/>
                      </a:lnTo>
                      <a:lnTo>
                        <a:pt x="2712" y="768"/>
                      </a:lnTo>
                      <a:lnTo>
                        <a:pt x="2772" y="780"/>
                      </a:lnTo>
                      <a:lnTo>
                        <a:pt x="2778" y="780"/>
                      </a:lnTo>
                      <a:lnTo>
                        <a:pt x="2784" y="774"/>
                      </a:lnTo>
                      <a:lnTo>
                        <a:pt x="2796" y="774"/>
                      </a:lnTo>
                      <a:lnTo>
                        <a:pt x="2814" y="768"/>
                      </a:lnTo>
                      <a:lnTo>
                        <a:pt x="2850" y="768"/>
                      </a:lnTo>
                      <a:lnTo>
                        <a:pt x="2868" y="774"/>
                      </a:lnTo>
                      <a:lnTo>
                        <a:pt x="2874" y="780"/>
                      </a:lnTo>
                      <a:lnTo>
                        <a:pt x="2886" y="786"/>
                      </a:lnTo>
                      <a:lnTo>
                        <a:pt x="2904" y="786"/>
                      </a:lnTo>
                      <a:lnTo>
                        <a:pt x="2916" y="792"/>
                      </a:lnTo>
                      <a:lnTo>
                        <a:pt x="2952" y="804"/>
                      </a:lnTo>
                      <a:lnTo>
                        <a:pt x="2976" y="828"/>
                      </a:lnTo>
                      <a:lnTo>
                        <a:pt x="2976" y="834"/>
                      </a:lnTo>
                      <a:lnTo>
                        <a:pt x="2964" y="834"/>
                      </a:lnTo>
                      <a:lnTo>
                        <a:pt x="2958" y="840"/>
                      </a:lnTo>
                      <a:lnTo>
                        <a:pt x="2946" y="840"/>
                      </a:lnTo>
                      <a:lnTo>
                        <a:pt x="2940" y="846"/>
                      </a:lnTo>
                      <a:lnTo>
                        <a:pt x="2946" y="852"/>
                      </a:lnTo>
                      <a:lnTo>
                        <a:pt x="2958" y="858"/>
                      </a:lnTo>
                      <a:lnTo>
                        <a:pt x="2976" y="876"/>
                      </a:lnTo>
                      <a:lnTo>
                        <a:pt x="3024" y="876"/>
                      </a:lnTo>
                      <a:lnTo>
                        <a:pt x="3012" y="882"/>
                      </a:lnTo>
                      <a:lnTo>
                        <a:pt x="3006" y="882"/>
                      </a:lnTo>
                      <a:lnTo>
                        <a:pt x="2994" y="888"/>
                      </a:lnTo>
                      <a:lnTo>
                        <a:pt x="2970" y="888"/>
                      </a:lnTo>
                      <a:lnTo>
                        <a:pt x="2958" y="882"/>
                      </a:lnTo>
                      <a:lnTo>
                        <a:pt x="2952" y="876"/>
                      </a:lnTo>
                      <a:lnTo>
                        <a:pt x="2940" y="870"/>
                      </a:lnTo>
                      <a:lnTo>
                        <a:pt x="2940" y="858"/>
                      </a:lnTo>
                      <a:lnTo>
                        <a:pt x="2928" y="834"/>
                      </a:lnTo>
                      <a:lnTo>
                        <a:pt x="2916" y="822"/>
                      </a:lnTo>
                      <a:lnTo>
                        <a:pt x="2892" y="810"/>
                      </a:lnTo>
                      <a:lnTo>
                        <a:pt x="2886" y="804"/>
                      </a:lnTo>
                      <a:lnTo>
                        <a:pt x="2880" y="804"/>
                      </a:lnTo>
                      <a:lnTo>
                        <a:pt x="2874" y="798"/>
                      </a:lnTo>
                      <a:lnTo>
                        <a:pt x="2874" y="786"/>
                      </a:lnTo>
                      <a:lnTo>
                        <a:pt x="2868" y="780"/>
                      </a:lnTo>
                      <a:lnTo>
                        <a:pt x="2844" y="780"/>
                      </a:lnTo>
                      <a:lnTo>
                        <a:pt x="2832" y="786"/>
                      </a:lnTo>
                      <a:lnTo>
                        <a:pt x="2814" y="786"/>
                      </a:lnTo>
                      <a:lnTo>
                        <a:pt x="2802" y="792"/>
                      </a:lnTo>
                      <a:lnTo>
                        <a:pt x="2778" y="792"/>
                      </a:lnTo>
                      <a:lnTo>
                        <a:pt x="2760" y="810"/>
                      </a:lnTo>
                      <a:lnTo>
                        <a:pt x="2766" y="816"/>
                      </a:lnTo>
                      <a:lnTo>
                        <a:pt x="2772" y="828"/>
                      </a:lnTo>
                      <a:lnTo>
                        <a:pt x="2784" y="834"/>
                      </a:lnTo>
                      <a:lnTo>
                        <a:pt x="2802" y="852"/>
                      </a:lnTo>
                      <a:lnTo>
                        <a:pt x="2814" y="858"/>
                      </a:lnTo>
                      <a:lnTo>
                        <a:pt x="2814" y="864"/>
                      </a:lnTo>
                      <a:lnTo>
                        <a:pt x="2790" y="888"/>
                      </a:lnTo>
                      <a:lnTo>
                        <a:pt x="2784" y="888"/>
                      </a:lnTo>
                      <a:lnTo>
                        <a:pt x="2778" y="930"/>
                      </a:lnTo>
                      <a:lnTo>
                        <a:pt x="2736" y="948"/>
                      </a:lnTo>
                      <a:lnTo>
                        <a:pt x="2736" y="954"/>
                      </a:lnTo>
                      <a:lnTo>
                        <a:pt x="2730" y="966"/>
                      </a:lnTo>
                      <a:lnTo>
                        <a:pt x="2724" y="972"/>
                      </a:lnTo>
                      <a:lnTo>
                        <a:pt x="2694" y="972"/>
                      </a:lnTo>
                      <a:lnTo>
                        <a:pt x="2682" y="966"/>
                      </a:lnTo>
                      <a:lnTo>
                        <a:pt x="2652" y="966"/>
                      </a:lnTo>
                      <a:lnTo>
                        <a:pt x="2592" y="960"/>
                      </a:lnTo>
                      <a:lnTo>
                        <a:pt x="2586" y="960"/>
                      </a:lnTo>
                      <a:lnTo>
                        <a:pt x="2580" y="954"/>
                      </a:lnTo>
                      <a:lnTo>
                        <a:pt x="2568" y="948"/>
                      </a:lnTo>
                      <a:lnTo>
                        <a:pt x="2556" y="948"/>
                      </a:lnTo>
                      <a:lnTo>
                        <a:pt x="2544" y="936"/>
                      </a:lnTo>
                      <a:lnTo>
                        <a:pt x="2598" y="936"/>
                      </a:lnTo>
                      <a:lnTo>
                        <a:pt x="2616" y="942"/>
                      </a:lnTo>
                      <a:lnTo>
                        <a:pt x="2640" y="924"/>
                      </a:lnTo>
                      <a:lnTo>
                        <a:pt x="2652" y="924"/>
                      </a:lnTo>
                      <a:lnTo>
                        <a:pt x="2664" y="930"/>
                      </a:lnTo>
                      <a:lnTo>
                        <a:pt x="2682" y="930"/>
                      </a:lnTo>
                      <a:lnTo>
                        <a:pt x="2694" y="924"/>
                      </a:lnTo>
                      <a:lnTo>
                        <a:pt x="2694" y="906"/>
                      </a:lnTo>
                      <a:lnTo>
                        <a:pt x="2700" y="894"/>
                      </a:lnTo>
                      <a:lnTo>
                        <a:pt x="2700" y="882"/>
                      </a:lnTo>
                      <a:lnTo>
                        <a:pt x="2724" y="876"/>
                      </a:lnTo>
                      <a:lnTo>
                        <a:pt x="2724" y="852"/>
                      </a:lnTo>
                      <a:lnTo>
                        <a:pt x="2712" y="852"/>
                      </a:lnTo>
                      <a:lnTo>
                        <a:pt x="2718" y="846"/>
                      </a:lnTo>
                      <a:lnTo>
                        <a:pt x="2724" y="834"/>
                      </a:lnTo>
                      <a:lnTo>
                        <a:pt x="2724" y="822"/>
                      </a:lnTo>
                      <a:lnTo>
                        <a:pt x="2718" y="816"/>
                      </a:lnTo>
                      <a:lnTo>
                        <a:pt x="2712" y="816"/>
                      </a:lnTo>
                      <a:lnTo>
                        <a:pt x="2700" y="810"/>
                      </a:lnTo>
                      <a:lnTo>
                        <a:pt x="2682" y="810"/>
                      </a:lnTo>
                      <a:lnTo>
                        <a:pt x="2664" y="804"/>
                      </a:lnTo>
                      <a:lnTo>
                        <a:pt x="2652" y="804"/>
                      </a:lnTo>
                      <a:lnTo>
                        <a:pt x="2634" y="786"/>
                      </a:lnTo>
                      <a:lnTo>
                        <a:pt x="2634" y="744"/>
                      </a:lnTo>
                      <a:lnTo>
                        <a:pt x="2628" y="732"/>
                      </a:lnTo>
                      <a:lnTo>
                        <a:pt x="2616" y="720"/>
                      </a:lnTo>
                      <a:lnTo>
                        <a:pt x="2604" y="714"/>
                      </a:lnTo>
                      <a:lnTo>
                        <a:pt x="2598" y="702"/>
                      </a:lnTo>
                      <a:lnTo>
                        <a:pt x="2592" y="696"/>
                      </a:lnTo>
                      <a:lnTo>
                        <a:pt x="2586" y="660"/>
                      </a:lnTo>
                      <a:lnTo>
                        <a:pt x="2520" y="624"/>
                      </a:lnTo>
                      <a:lnTo>
                        <a:pt x="2532" y="612"/>
                      </a:lnTo>
                      <a:lnTo>
                        <a:pt x="2544" y="588"/>
                      </a:lnTo>
                      <a:lnTo>
                        <a:pt x="2544" y="576"/>
                      </a:lnTo>
                      <a:lnTo>
                        <a:pt x="2538" y="564"/>
                      </a:lnTo>
                      <a:lnTo>
                        <a:pt x="2514" y="540"/>
                      </a:lnTo>
                      <a:lnTo>
                        <a:pt x="2496" y="540"/>
                      </a:lnTo>
                      <a:lnTo>
                        <a:pt x="2484" y="534"/>
                      </a:lnTo>
                      <a:lnTo>
                        <a:pt x="2472" y="534"/>
                      </a:lnTo>
                      <a:lnTo>
                        <a:pt x="2340" y="522"/>
                      </a:lnTo>
                      <a:lnTo>
                        <a:pt x="2328" y="552"/>
                      </a:lnTo>
                      <a:lnTo>
                        <a:pt x="2346" y="570"/>
                      </a:lnTo>
                      <a:lnTo>
                        <a:pt x="2334" y="600"/>
                      </a:lnTo>
                      <a:lnTo>
                        <a:pt x="2280" y="624"/>
                      </a:lnTo>
                      <a:lnTo>
                        <a:pt x="2268" y="654"/>
                      </a:lnTo>
                      <a:lnTo>
                        <a:pt x="2304" y="660"/>
                      </a:lnTo>
                      <a:lnTo>
                        <a:pt x="2334" y="708"/>
                      </a:lnTo>
                      <a:lnTo>
                        <a:pt x="2322" y="726"/>
                      </a:lnTo>
                      <a:lnTo>
                        <a:pt x="2352" y="750"/>
                      </a:lnTo>
                      <a:lnTo>
                        <a:pt x="2388" y="744"/>
                      </a:lnTo>
                      <a:lnTo>
                        <a:pt x="2394" y="750"/>
                      </a:lnTo>
                      <a:lnTo>
                        <a:pt x="2400" y="762"/>
                      </a:lnTo>
                      <a:lnTo>
                        <a:pt x="2412" y="768"/>
                      </a:lnTo>
                      <a:lnTo>
                        <a:pt x="2418" y="774"/>
                      </a:lnTo>
                      <a:lnTo>
                        <a:pt x="2430" y="780"/>
                      </a:lnTo>
                      <a:lnTo>
                        <a:pt x="2472" y="780"/>
                      </a:lnTo>
                      <a:lnTo>
                        <a:pt x="2466" y="840"/>
                      </a:lnTo>
                      <a:lnTo>
                        <a:pt x="2448" y="816"/>
                      </a:lnTo>
                      <a:lnTo>
                        <a:pt x="2430" y="828"/>
                      </a:lnTo>
                      <a:lnTo>
                        <a:pt x="2418" y="822"/>
                      </a:lnTo>
                      <a:lnTo>
                        <a:pt x="2388" y="804"/>
                      </a:lnTo>
                      <a:lnTo>
                        <a:pt x="2352" y="792"/>
                      </a:lnTo>
                      <a:lnTo>
                        <a:pt x="2328" y="780"/>
                      </a:lnTo>
                      <a:lnTo>
                        <a:pt x="2268" y="780"/>
                      </a:lnTo>
                      <a:lnTo>
                        <a:pt x="2250" y="762"/>
                      </a:lnTo>
                      <a:lnTo>
                        <a:pt x="2244" y="780"/>
                      </a:lnTo>
                      <a:lnTo>
                        <a:pt x="2220" y="756"/>
                      </a:lnTo>
                      <a:lnTo>
                        <a:pt x="2214" y="756"/>
                      </a:lnTo>
                      <a:lnTo>
                        <a:pt x="2208" y="750"/>
                      </a:lnTo>
                      <a:lnTo>
                        <a:pt x="2196" y="744"/>
                      </a:lnTo>
                      <a:lnTo>
                        <a:pt x="2178" y="744"/>
                      </a:lnTo>
                      <a:lnTo>
                        <a:pt x="2154" y="732"/>
                      </a:lnTo>
                      <a:lnTo>
                        <a:pt x="2130" y="732"/>
                      </a:lnTo>
                      <a:lnTo>
                        <a:pt x="2118" y="738"/>
                      </a:lnTo>
                      <a:lnTo>
                        <a:pt x="2088" y="738"/>
                      </a:lnTo>
                      <a:lnTo>
                        <a:pt x="2076" y="732"/>
                      </a:lnTo>
                      <a:lnTo>
                        <a:pt x="2022" y="732"/>
                      </a:lnTo>
                      <a:lnTo>
                        <a:pt x="2016" y="738"/>
                      </a:lnTo>
                      <a:lnTo>
                        <a:pt x="2010" y="738"/>
                      </a:lnTo>
                      <a:lnTo>
                        <a:pt x="2004" y="744"/>
                      </a:lnTo>
                      <a:lnTo>
                        <a:pt x="2004" y="750"/>
                      </a:lnTo>
                      <a:lnTo>
                        <a:pt x="2016" y="762"/>
                      </a:lnTo>
                      <a:lnTo>
                        <a:pt x="2028" y="768"/>
                      </a:lnTo>
                      <a:lnTo>
                        <a:pt x="2040" y="780"/>
                      </a:lnTo>
                      <a:lnTo>
                        <a:pt x="2046" y="780"/>
                      </a:lnTo>
                      <a:lnTo>
                        <a:pt x="2022" y="810"/>
                      </a:lnTo>
                      <a:lnTo>
                        <a:pt x="2010" y="798"/>
                      </a:lnTo>
                      <a:lnTo>
                        <a:pt x="2010" y="828"/>
                      </a:lnTo>
                      <a:lnTo>
                        <a:pt x="1998" y="828"/>
                      </a:lnTo>
                      <a:lnTo>
                        <a:pt x="1986" y="822"/>
                      </a:lnTo>
                      <a:lnTo>
                        <a:pt x="1980" y="822"/>
                      </a:lnTo>
                      <a:lnTo>
                        <a:pt x="1974" y="816"/>
                      </a:lnTo>
                      <a:lnTo>
                        <a:pt x="1974" y="786"/>
                      </a:lnTo>
                      <a:lnTo>
                        <a:pt x="1968" y="780"/>
                      </a:lnTo>
                      <a:lnTo>
                        <a:pt x="1950" y="780"/>
                      </a:lnTo>
                      <a:lnTo>
                        <a:pt x="1938" y="786"/>
                      </a:lnTo>
                      <a:lnTo>
                        <a:pt x="1920" y="792"/>
                      </a:lnTo>
                      <a:lnTo>
                        <a:pt x="1908" y="804"/>
                      </a:lnTo>
                      <a:lnTo>
                        <a:pt x="1884" y="816"/>
                      </a:lnTo>
                      <a:lnTo>
                        <a:pt x="1866" y="816"/>
                      </a:lnTo>
                      <a:lnTo>
                        <a:pt x="1842" y="804"/>
                      </a:lnTo>
                      <a:lnTo>
                        <a:pt x="1824" y="804"/>
                      </a:lnTo>
                      <a:lnTo>
                        <a:pt x="1800" y="810"/>
                      </a:lnTo>
                      <a:lnTo>
                        <a:pt x="1782" y="816"/>
                      </a:lnTo>
                      <a:lnTo>
                        <a:pt x="1764" y="828"/>
                      </a:lnTo>
                      <a:lnTo>
                        <a:pt x="1752" y="834"/>
                      </a:lnTo>
                      <a:lnTo>
                        <a:pt x="1746" y="840"/>
                      </a:lnTo>
                      <a:lnTo>
                        <a:pt x="1680" y="840"/>
                      </a:lnTo>
                      <a:lnTo>
                        <a:pt x="1692" y="816"/>
                      </a:lnTo>
                      <a:lnTo>
                        <a:pt x="1692" y="780"/>
                      </a:lnTo>
                      <a:lnTo>
                        <a:pt x="1680" y="780"/>
                      </a:lnTo>
                      <a:lnTo>
                        <a:pt x="1668" y="786"/>
                      </a:lnTo>
                      <a:lnTo>
                        <a:pt x="1650" y="792"/>
                      </a:lnTo>
                      <a:lnTo>
                        <a:pt x="1638" y="792"/>
                      </a:lnTo>
                      <a:lnTo>
                        <a:pt x="1626" y="804"/>
                      </a:lnTo>
                      <a:lnTo>
                        <a:pt x="1626" y="816"/>
                      </a:lnTo>
                      <a:lnTo>
                        <a:pt x="1632" y="822"/>
                      </a:lnTo>
                      <a:lnTo>
                        <a:pt x="1632" y="828"/>
                      </a:lnTo>
                      <a:lnTo>
                        <a:pt x="1608" y="834"/>
                      </a:lnTo>
                      <a:lnTo>
                        <a:pt x="1608" y="810"/>
                      </a:lnTo>
                      <a:lnTo>
                        <a:pt x="1584" y="816"/>
                      </a:lnTo>
                      <a:lnTo>
                        <a:pt x="1530" y="822"/>
                      </a:lnTo>
                      <a:lnTo>
                        <a:pt x="1488" y="852"/>
                      </a:lnTo>
                      <a:lnTo>
                        <a:pt x="1440" y="858"/>
                      </a:lnTo>
                      <a:lnTo>
                        <a:pt x="1452" y="876"/>
                      </a:lnTo>
                      <a:lnTo>
                        <a:pt x="1440" y="876"/>
                      </a:lnTo>
                      <a:lnTo>
                        <a:pt x="1428" y="870"/>
                      </a:lnTo>
                      <a:lnTo>
                        <a:pt x="1422" y="870"/>
                      </a:lnTo>
                      <a:lnTo>
                        <a:pt x="1410" y="876"/>
                      </a:lnTo>
                      <a:lnTo>
                        <a:pt x="1404" y="882"/>
                      </a:lnTo>
                      <a:lnTo>
                        <a:pt x="1404" y="924"/>
                      </a:lnTo>
                      <a:lnTo>
                        <a:pt x="1332" y="930"/>
                      </a:lnTo>
                      <a:lnTo>
                        <a:pt x="1326" y="924"/>
                      </a:lnTo>
                      <a:lnTo>
                        <a:pt x="1314" y="918"/>
                      </a:lnTo>
                      <a:lnTo>
                        <a:pt x="1308" y="912"/>
                      </a:lnTo>
                      <a:lnTo>
                        <a:pt x="1266" y="912"/>
                      </a:lnTo>
                      <a:lnTo>
                        <a:pt x="1260" y="906"/>
                      </a:lnTo>
                      <a:lnTo>
                        <a:pt x="1260" y="876"/>
                      </a:lnTo>
                      <a:lnTo>
                        <a:pt x="1266" y="870"/>
                      </a:lnTo>
                      <a:lnTo>
                        <a:pt x="1266" y="864"/>
                      </a:lnTo>
                      <a:lnTo>
                        <a:pt x="1272" y="858"/>
                      </a:lnTo>
                      <a:lnTo>
                        <a:pt x="1284" y="864"/>
                      </a:lnTo>
                      <a:lnTo>
                        <a:pt x="1344" y="864"/>
                      </a:lnTo>
                      <a:lnTo>
                        <a:pt x="1332" y="858"/>
                      </a:lnTo>
                      <a:lnTo>
                        <a:pt x="1326" y="846"/>
                      </a:lnTo>
                      <a:lnTo>
                        <a:pt x="1314" y="840"/>
                      </a:lnTo>
                      <a:lnTo>
                        <a:pt x="1302" y="828"/>
                      </a:lnTo>
                      <a:lnTo>
                        <a:pt x="1290" y="822"/>
                      </a:lnTo>
                      <a:lnTo>
                        <a:pt x="1278" y="810"/>
                      </a:lnTo>
                      <a:lnTo>
                        <a:pt x="1152" y="810"/>
                      </a:lnTo>
                      <a:lnTo>
                        <a:pt x="1164" y="822"/>
                      </a:lnTo>
                      <a:lnTo>
                        <a:pt x="1188" y="822"/>
                      </a:lnTo>
                      <a:lnTo>
                        <a:pt x="1200" y="828"/>
                      </a:lnTo>
                      <a:lnTo>
                        <a:pt x="1200" y="846"/>
                      </a:lnTo>
                      <a:lnTo>
                        <a:pt x="1194" y="864"/>
                      </a:lnTo>
                      <a:lnTo>
                        <a:pt x="1194" y="876"/>
                      </a:lnTo>
                      <a:lnTo>
                        <a:pt x="1188" y="894"/>
                      </a:lnTo>
                      <a:lnTo>
                        <a:pt x="1188" y="918"/>
                      </a:lnTo>
                      <a:lnTo>
                        <a:pt x="1194" y="918"/>
                      </a:lnTo>
                      <a:lnTo>
                        <a:pt x="1206" y="924"/>
                      </a:lnTo>
                      <a:lnTo>
                        <a:pt x="1230" y="924"/>
                      </a:lnTo>
                      <a:lnTo>
                        <a:pt x="1236" y="930"/>
                      </a:lnTo>
                      <a:lnTo>
                        <a:pt x="1242" y="930"/>
                      </a:lnTo>
                      <a:lnTo>
                        <a:pt x="1236" y="966"/>
                      </a:lnTo>
                      <a:lnTo>
                        <a:pt x="1248" y="996"/>
                      </a:lnTo>
                      <a:lnTo>
                        <a:pt x="1212" y="972"/>
                      </a:lnTo>
                      <a:lnTo>
                        <a:pt x="1194" y="996"/>
                      </a:lnTo>
                      <a:lnTo>
                        <a:pt x="1188" y="966"/>
                      </a:lnTo>
                      <a:lnTo>
                        <a:pt x="1116" y="948"/>
                      </a:lnTo>
                      <a:lnTo>
                        <a:pt x="1086" y="984"/>
                      </a:lnTo>
                      <a:lnTo>
                        <a:pt x="1062" y="984"/>
                      </a:lnTo>
                      <a:lnTo>
                        <a:pt x="1056" y="996"/>
                      </a:lnTo>
                      <a:lnTo>
                        <a:pt x="1044" y="1002"/>
                      </a:lnTo>
                      <a:lnTo>
                        <a:pt x="1038" y="1008"/>
                      </a:lnTo>
                      <a:lnTo>
                        <a:pt x="1026" y="1014"/>
                      </a:lnTo>
                      <a:lnTo>
                        <a:pt x="1014" y="1014"/>
                      </a:lnTo>
                      <a:lnTo>
                        <a:pt x="1002" y="1020"/>
                      </a:lnTo>
                      <a:lnTo>
                        <a:pt x="1002" y="1032"/>
                      </a:lnTo>
                      <a:lnTo>
                        <a:pt x="1008" y="1038"/>
                      </a:lnTo>
                      <a:lnTo>
                        <a:pt x="1020" y="1044"/>
                      </a:lnTo>
                      <a:lnTo>
                        <a:pt x="1032" y="1056"/>
                      </a:lnTo>
                      <a:lnTo>
                        <a:pt x="1044" y="1062"/>
                      </a:lnTo>
                      <a:lnTo>
                        <a:pt x="1050" y="1068"/>
                      </a:lnTo>
                      <a:lnTo>
                        <a:pt x="1062" y="1074"/>
                      </a:lnTo>
                      <a:lnTo>
                        <a:pt x="1080" y="1104"/>
                      </a:lnTo>
                      <a:lnTo>
                        <a:pt x="1050" y="1086"/>
                      </a:lnTo>
                      <a:lnTo>
                        <a:pt x="1038" y="1092"/>
                      </a:lnTo>
                      <a:lnTo>
                        <a:pt x="1032" y="1098"/>
                      </a:lnTo>
                      <a:lnTo>
                        <a:pt x="1020" y="1098"/>
                      </a:lnTo>
                      <a:lnTo>
                        <a:pt x="1008" y="1092"/>
                      </a:lnTo>
                      <a:lnTo>
                        <a:pt x="996" y="1092"/>
                      </a:lnTo>
                      <a:lnTo>
                        <a:pt x="978" y="1086"/>
                      </a:lnTo>
                      <a:lnTo>
                        <a:pt x="966" y="1080"/>
                      </a:lnTo>
                      <a:lnTo>
                        <a:pt x="948" y="1080"/>
                      </a:lnTo>
                      <a:lnTo>
                        <a:pt x="936" y="1074"/>
                      </a:lnTo>
                      <a:lnTo>
                        <a:pt x="924" y="1074"/>
                      </a:lnTo>
                      <a:lnTo>
                        <a:pt x="918" y="1068"/>
                      </a:lnTo>
                      <a:lnTo>
                        <a:pt x="918" y="1056"/>
                      </a:lnTo>
                      <a:lnTo>
                        <a:pt x="906" y="1050"/>
                      </a:lnTo>
                      <a:lnTo>
                        <a:pt x="888" y="1050"/>
                      </a:lnTo>
                      <a:lnTo>
                        <a:pt x="864" y="1062"/>
                      </a:lnTo>
                      <a:lnTo>
                        <a:pt x="858" y="1068"/>
                      </a:lnTo>
                      <a:lnTo>
                        <a:pt x="840" y="1068"/>
                      </a:lnTo>
                      <a:lnTo>
                        <a:pt x="882" y="1104"/>
                      </a:lnTo>
                      <a:lnTo>
                        <a:pt x="900" y="1104"/>
                      </a:lnTo>
                      <a:lnTo>
                        <a:pt x="912" y="1110"/>
                      </a:lnTo>
                      <a:lnTo>
                        <a:pt x="924" y="1110"/>
                      </a:lnTo>
                      <a:lnTo>
                        <a:pt x="936" y="1116"/>
                      </a:lnTo>
                      <a:lnTo>
                        <a:pt x="942" y="1116"/>
                      </a:lnTo>
                      <a:lnTo>
                        <a:pt x="942" y="1122"/>
                      </a:lnTo>
                      <a:lnTo>
                        <a:pt x="936" y="1134"/>
                      </a:lnTo>
                      <a:lnTo>
                        <a:pt x="924" y="1140"/>
                      </a:lnTo>
                      <a:lnTo>
                        <a:pt x="918" y="1146"/>
                      </a:lnTo>
                      <a:lnTo>
                        <a:pt x="852" y="1128"/>
                      </a:lnTo>
                      <a:lnTo>
                        <a:pt x="840" y="1122"/>
                      </a:lnTo>
                      <a:lnTo>
                        <a:pt x="834" y="1116"/>
                      </a:lnTo>
                      <a:lnTo>
                        <a:pt x="822" y="1110"/>
                      </a:lnTo>
                      <a:lnTo>
                        <a:pt x="762" y="1110"/>
                      </a:lnTo>
                      <a:lnTo>
                        <a:pt x="756" y="1104"/>
                      </a:lnTo>
                      <a:lnTo>
                        <a:pt x="756" y="1056"/>
                      </a:lnTo>
                      <a:lnTo>
                        <a:pt x="738" y="1044"/>
                      </a:lnTo>
                      <a:lnTo>
                        <a:pt x="750" y="1032"/>
                      </a:lnTo>
                      <a:lnTo>
                        <a:pt x="756" y="1020"/>
                      </a:lnTo>
                      <a:lnTo>
                        <a:pt x="756" y="1002"/>
                      </a:lnTo>
                      <a:lnTo>
                        <a:pt x="738" y="990"/>
                      </a:lnTo>
                      <a:lnTo>
                        <a:pt x="702" y="978"/>
                      </a:lnTo>
                      <a:lnTo>
                        <a:pt x="672" y="972"/>
                      </a:lnTo>
                      <a:lnTo>
                        <a:pt x="660" y="966"/>
                      </a:lnTo>
                      <a:lnTo>
                        <a:pt x="630" y="948"/>
                      </a:lnTo>
                      <a:lnTo>
                        <a:pt x="606" y="930"/>
                      </a:lnTo>
                      <a:lnTo>
                        <a:pt x="594" y="912"/>
                      </a:lnTo>
                      <a:lnTo>
                        <a:pt x="630" y="912"/>
                      </a:lnTo>
                      <a:lnTo>
                        <a:pt x="630" y="924"/>
                      </a:lnTo>
                      <a:lnTo>
                        <a:pt x="642" y="924"/>
                      </a:lnTo>
                      <a:lnTo>
                        <a:pt x="654" y="930"/>
                      </a:lnTo>
                      <a:lnTo>
                        <a:pt x="672" y="930"/>
                      </a:lnTo>
                      <a:lnTo>
                        <a:pt x="690" y="936"/>
                      </a:lnTo>
                      <a:lnTo>
                        <a:pt x="720" y="936"/>
                      </a:lnTo>
                      <a:lnTo>
                        <a:pt x="732" y="942"/>
                      </a:lnTo>
                      <a:lnTo>
                        <a:pt x="738" y="954"/>
                      </a:lnTo>
                      <a:lnTo>
                        <a:pt x="762" y="966"/>
                      </a:lnTo>
                      <a:lnTo>
                        <a:pt x="816" y="966"/>
                      </a:lnTo>
                      <a:lnTo>
                        <a:pt x="846" y="972"/>
                      </a:lnTo>
                      <a:lnTo>
                        <a:pt x="858" y="972"/>
                      </a:lnTo>
                      <a:lnTo>
                        <a:pt x="870" y="978"/>
                      </a:lnTo>
                      <a:lnTo>
                        <a:pt x="894" y="984"/>
                      </a:lnTo>
                      <a:lnTo>
                        <a:pt x="930" y="990"/>
                      </a:lnTo>
                      <a:lnTo>
                        <a:pt x="978" y="984"/>
                      </a:lnTo>
                      <a:lnTo>
                        <a:pt x="1026" y="972"/>
                      </a:lnTo>
                      <a:lnTo>
                        <a:pt x="1062" y="954"/>
                      </a:lnTo>
                      <a:lnTo>
                        <a:pt x="1080" y="936"/>
                      </a:lnTo>
                      <a:lnTo>
                        <a:pt x="1074" y="912"/>
                      </a:lnTo>
                      <a:lnTo>
                        <a:pt x="1032" y="870"/>
                      </a:lnTo>
                      <a:lnTo>
                        <a:pt x="1014" y="858"/>
                      </a:lnTo>
                      <a:lnTo>
                        <a:pt x="996" y="852"/>
                      </a:lnTo>
                      <a:lnTo>
                        <a:pt x="948" y="840"/>
                      </a:lnTo>
                      <a:lnTo>
                        <a:pt x="900" y="822"/>
                      </a:lnTo>
                      <a:lnTo>
                        <a:pt x="828" y="798"/>
                      </a:lnTo>
                      <a:lnTo>
                        <a:pt x="792" y="780"/>
                      </a:lnTo>
                      <a:lnTo>
                        <a:pt x="756" y="774"/>
                      </a:lnTo>
                      <a:lnTo>
                        <a:pt x="624" y="774"/>
                      </a:lnTo>
                      <a:lnTo>
                        <a:pt x="612" y="756"/>
                      </a:lnTo>
                      <a:lnTo>
                        <a:pt x="588" y="762"/>
                      </a:lnTo>
                      <a:lnTo>
                        <a:pt x="552" y="744"/>
                      </a:lnTo>
                      <a:lnTo>
                        <a:pt x="588" y="738"/>
                      </a:lnTo>
                      <a:lnTo>
                        <a:pt x="606" y="726"/>
                      </a:lnTo>
                      <a:lnTo>
                        <a:pt x="600" y="726"/>
                      </a:lnTo>
                      <a:lnTo>
                        <a:pt x="594" y="720"/>
                      </a:lnTo>
                      <a:lnTo>
                        <a:pt x="582" y="720"/>
                      </a:lnTo>
                      <a:lnTo>
                        <a:pt x="564" y="714"/>
                      </a:lnTo>
                      <a:lnTo>
                        <a:pt x="546" y="714"/>
                      </a:lnTo>
                      <a:lnTo>
                        <a:pt x="534" y="708"/>
                      </a:lnTo>
                      <a:lnTo>
                        <a:pt x="522" y="720"/>
                      </a:lnTo>
                      <a:lnTo>
                        <a:pt x="522" y="726"/>
                      </a:lnTo>
                      <a:lnTo>
                        <a:pt x="516" y="732"/>
                      </a:lnTo>
                      <a:lnTo>
                        <a:pt x="498" y="732"/>
                      </a:lnTo>
                      <a:lnTo>
                        <a:pt x="486" y="744"/>
                      </a:lnTo>
                      <a:lnTo>
                        <a:pt x="450" y="744"/>
                      </a:lnTo>
                      <a:lnTo>
                        <a:pt x="444" y="756"/>
                      </a:lnTo>
                      <a:lnTo>
                        <a:pt x="420" y="762"/>
                      </a:lnTo>
                      <a:lnTo>
                        <a:pt x="420" y="768"/>
                      </a:lnTo>
                      <a:lnTo>
                        <a:pt x="414" y="780"/>
                      </a:lnTo>
                      <a:lnTo>
                        <a:pt x="390" y="780"/>
                      </a:lnTo>
                      <a:lnTo>
                        <a:pt x="384" y="792"/>
                      </a:lnTo>
                      <a:lnTo>
                        <a:pt x="396" y="804"/>
                      </a:lnTo>
                      <a:lnTo>
                        <a:pt x="396" y="810"/>
                      </a:lnTo>
                      <a:lnTo>
                        <a:pt x="378" y="810"/>
                      </a:lnTo>
                      <a:lnTo>
                        <a:pt x="378" y="822"/>
                      </a:lnTo>
                      <a:lnTo>
                        <a:pt x="384" y="834"/>
                      </a:lnTo>
                      <a:lnTo>
                        <a:pt x="384" y="840"/>
                      </a:lnTo>
                      <a:lnTo>
                        <a:pt x="390" y="846"/>
                      </a:lnTo>
                      <a:lnTo>
                        <a:pt x="396" y="846"/>
                      </a:lnTo>
                      <a:lnTo>
                        <a:pt x="402" y="840"/>
                      </a:lnTo>
                      <a:lnTo>
                        <a:pt x="420" y="840"/>
                      </a:lnTo>
                      <a:lnTo>
                        <a:pt x="468" y="888"/>
                      </a:lnTo>
                      <a:lnTo>
                        <a:pt x="468" y="900"/>
                      </a:lnTo>
                      <a:lnTo>
                        <a:pt x="462" y="900"/>
                      </a:lnTo>
                      <a:lnTo>
                        <a:pt x="450" y="906"/>
                      </a:lnTo>
                      <a:lnTo>
                        <a:pt x="444" y="906"/>
                      </a:lnTo>
                      <a:lnTo>
                        <a:pt x="444" y="918"/>
                      </a:lnTo>
                      <a:lnTo>
                        <a:pt x="438" y="918"/>
                      </a:lnTo>
                      <a:lnTo>
                        <a:pt x="426" y="924"/>
                      </a:lnTo>
                      <a:lnTo>
                        <a:pt x="420" y="930"/>
                      </a:lnTo>
                      <a:lnTo>
                        <a:pt x="438" y="948"/>
                      </a:lnTo>
                      <a:lnTo>
                        <a:pt x="450" y="954"/>
                      </a:lnTo>
                      <a:lnTo>
                        <a:pt x="456" y="966"/>
                      </a:lnTo>
                      <a:lnTo>
                        <a:pt x="468" y="972"/>
                      </a:lnTo>
                      <a:lnTo>
                        <a:pt x="492" y="996"/>
                      </a:lnTo>
                      <a:lnTo>
                        <a:pt x="504" y="1002"/>
                      </a:lnTo>
                      <a:lnTo>
                        <a:pt x="510" y="1008"/>
                      </a:lnTo>
                      <a:lnTo>
                        <a:pt x="510" y="1014"/>
                      </a:lnTo>
                      <a:lnTo>
                        <a:pt x="504" y="1020"/>
                      </a:lnTo>
                      <a:lnTo>
                        <a:pt x="492" y="1020"/>
                      </a:lnTo>
                      <a:lnTo>
                        <a:pt x="480" y="1014"/>
                      </a:lnTo>
                      <a:lnTo>
                        <a:pt x="474" y="1014"/>
                      </a:lnTo>
                      <a:lnTo>
                        <a:pt x="468" y="1044"/>
                      </a:lnTo>
                      <a:lnTo>
                        <a:pt x="480" y="1056"/>
                      </a:lnTo>
                      <a:lnTo>
                        <a:pt x="480" y="1068"/>
                      </a:lnTo>
                      <a:lnTo>
                        <a:pt x="492" y="1068"/>
                      </a:lnTo>
                      <a:lnTo>
                        <a:pt x="498" y="1074"/>
                      </a:lnTo>
                      <a:lnTo>
                        <a:pt x="504" y="1074"/>
                      </a:lnTo>
                      <a:lnTo>
                        <a:pt x="510" y="1080"/>
                      </a:lnTo>
                      <a:lnTo>
                        <a:pt x="510" y="1086"/>
                      </a:lnTo>
                      <a:lnTo>
                        <a:pt x="504" y="1092"/>
                      </a:lnTo>
                      <a:lnTo>
                        <a:pt x="498" y="1104"/>
                      </a:lnTo>
                      <a:lnTo>
                        <a:pt x="522" y="1110"/>
                      </a:lnTo>
                      <a:lnTo>
                        <a:pt x="534" y="1116"/>
                      </a:lnTo>
                      <a:lnTo>
                        <a:pt x="540" y="1122"/>
                      </a:lnTo>
                      <a:lnTo>
                        <a:pt x="540" y="1128"/>
                      </a:lnTo>
                      <a:lnTo>
                        <a:pt x="516" y="1152"/>
                      </a:lnTo>
                      <a:lnTo>
                        <a:pt x="510" y="1152"/>
                      </a:lnTo>
                      <a:lnTo>
                        <a:pt x="582" y="1188"/>
                      </a:lnTo>
                      <a:lnTo>
                        <a:pt x="588" y="1200"/>
                      </a:lnTo>
                      <a:lnTo>
                        <a:pt x="594" y="1206"/>
                      </a:lnTo>
                      <a:lnTo>
                        <a:pt x="600" y="1218"/>
                      </a:lnTo>
                      <a:lnTo>
                        <a:pt x="600" y="1230"/>
                      </a:lnTo>
                      <a:lnTo>
                        <a:pt x="594" y="1236"/>
                      </a:lnTo>
                      <a:lnTo>
                        <a:pt x="588" y="1248"/>
                      </a:lnTo>
                      <a:lnTo>
                        <a:pt x="552" y="1284"/>
                      </a:lnTo>
                      <a:lnTo>
                        <a:pt x="546" y="1284"/>
                      </a:lnTo>
                      <a:lnTo>
                        <a:pt x="486" y="1344"/>
                      </a:lnTo>
                      <a:lnTo>
                        <a:pt x="426" y="1374"/>
                      </a:lnTo>
                      <a:lnTo>
                        <a:pt x="432" y="1386"/>
                      </a:lnTo>
                      <a:lnTo>
                        <a:pt x="462" y="1368"/>
                      </a:lnTo>
                      <a:lnTo>
                        <a:pt x="468" y="1386"/>
                      </a:lnTo>
                      <a:lnTo>
                        <a:pt x="480" y="1398"/>
                      </a:lnTo>
                      <a:lnTo>
                        <a:pt x="492" y="1404"/>
                      </a:lnTo>
                      <a:lnTo>
                        <a:pt x="498" y="1410"/>
                      </a:lnTo>
                      <a:lnTo>
                        <a:pt x="546" y="1410"/>
                      </a:lnTo>
                      <a:lnTo>
                        <a:pt x="558" y="1428"/>
                      </a:lnTo>
                      <a:lnTo>
                        <a:pt x="546" y="1428"/>
                      </a:lnTo>
                      <a:lnTo>
                        <a:pt x="534" y="1422"/>
                      </a:lnTo>
                      <a:lnTo>
                        <a:pt x="504" y="1422"/>
                      </a:lnTo>
                      <a:lnTo>
                        <a:pt x="492" y="1434"/>
                      </a:lnTo>
                      <a:lnTo>
                        <a:pt x="492" y="1440"/>
                      </a:lnTo>
                      <a:lnTo>
                        <a:pt x="456" y="1440"/>
                      </a:lnTo>
                      <a:lnTo>
                        <a:pt x="450" y="1470"/>
                      </a:lnTo>
                      <a:lnTo>
                        <a:pt x="438" y="1470"/>
                      </a:lnTo>
                      <a:lnTo>
                        <a:pt x="432" y="1482"/>
                      </a:lnTo>
                      <a:lnTo>
                        <a:pt x="438" y="1494"/>
                      </a:lnTo>
                      <a:lnTo>
                        <a:pt x="432" y="1500"/>
                      </a:lnTo>
                      <a:lnTo>
                        <a:pt x="426" y="1500"/>
                      </a:lnTo>
                      <a:lnTo>
                        <a:pt x="414" y="1512"/>
                      </a:lnTo>
                      <a:lnTo>
                        <a:pt x="414" y="1530"/>
                      </a:lnTo>
                      <a:lnTo>
                        <a:pt x="432" y="1536"/>
                      </a:lnTo>
                      <a:lnTo>
                        <a:pt x="420" y="1560"/>
                      </a:lnTo>
                      <a:lnTo>
                        <a:pt x="432" y="1566"/>
                      </a:lnTo>
                      <a:lnTo>
                        <a:pt x="444" y="1584"/>
                      </a:lnTo>
                      <a:lnTo>
                        <a:pt x="426" y="1596"/>
                      </a:lnTo>
                      <a:lnTo>
                        <a:pt x="426" y="1608"/>
                      </a:lnTo>
                      <a:lnTo>
                        <a:pt x="432" y="1608"/>
                      </a:lnTo>
                      <a:lnTo>
                        <a:pt x="444" y="1620"/>
                      </a:lnTo>
                      <a:lnTo>
                        <a:pt x="456" y="1626"/>
                      </a:lnTo>
                      <a:lnTo>
                        <a:pt x="462" y="1632"/>
                      </a:lnTo>
                      <a:lnTo>
                        <a:pt x="462" y="1638"/>
                      </a:lnTo>
                      <a:lnTo>
                        <a:pt x="444" y="1638"/>
                      </a:lnTo>
                      <a:lnTo>
                        <a:pt x="438" y="1656"/>
                      </a:lnTo>
                      <a:lnTo>
                        <a:pt x="462" y="1662"/>
                      </a:lnTo>
                      <a:lnTo>
                        <a:pt x="468" y="1668"/>
                      </a:lnTo>
                      <a:lnTo>
                        <a:pt x="474" y="1680"/>
                      </a:lnTo>
                      <a:lnTo>
                        <a:pt x="486" y="1692"/>
                      </a:lnTo>
                      <a:lnTo>
                        <a:pt x="486" y="1716"/>
                      </a:lnTo>
                      <a:lnTo>
                        <a:pt x="510" y="1716"/>
                      </a:lnTo>
                      <a:lnTo>
                        <a:pt x="516" y="1722"/>
                      </a:lnTo>
                      <a:lnTo>
                        <a:pt x="516" y="1728"/>
                      </a:lnTo>
                      <a:lnTo>
                        <a:pt x="528" y="1722"/>
                      </a:lnTo>
                      <a:lnTo>
                        <a:pt x="564" y="1728"/>
                      </a:lnTo>
                      <a:lnTo>
                        <a:pt x="570" y="1746"/>
                      </a:lnTo>
                      <a:lnTo>
                        <a:pt x="600" y="1728"/>
                      </a:lnTo>
                      <a:lnTo>
                        <a:pt x="606" y="1728"/>
                      </a:lnTo>
                      <a:lnTo>
                        <a:pt x="612" y="1734"/>
                      </a:lnTo>
                      <a:lnTo>
                        <a:pt x="648" y="1752"/>
                      </a:lnTo>
                      <a:lnTo>
                        <a:pt x="654" y="1758"/>
                      </a:lnTo>
                      <a:lnTo>
                        <a:pt x="654" y="1770"/>
                      </a:lnTo>
                      <a:lnTo>
                        <a:pt x="648" y="1776"/>
                      </a:lnTo>
                      <a:lnTo>
                        <a:pt x="660" y="1794"/>
                      </a:lnTo>
                      <a:lnTo>
                        <a:pt x="654" y="1812"/>
                      </a:lnTo>
                      <a:lnTo>
                        <a:pt x="660" y="1818"/>
                      </a:lnTo>
                      <a:lnTo>
                        <a:pt x="672" y="1824"/>
                      </a:lnTo>
                      <a:lnTo>
                        <a:pt x="690" y="1842"/>
                      </a:lnTo>
                      <a:lnTo>
                        <a:pt x="690" y="1854"/>
                      </a:lnTo>
                      <a:lnTo>
                        <a:pt x="720" y="1866"/>
                      </a:lnTo>
                      <a:lnTo>
                        <a:pt x="720" y="1890"/>
                      </a:lnTo>
                      <a:lnTo>
                        <a:pt x="756" y="1890"/>
                      </a:lnTo>
                      <a:lnTo>
                        <a:pt x="762" y="1896"/>
                      </a:lnTo>
                      <a:lnTo>
                        <a:pt x="768" y="1896"/>
                      </a:lnTo>
                      <a:lnTo>
                        <a:pt x="768" y="1902"/>
                      </a:lnTo>
                      <a:lnTo>
                        <a:pt x="762" y="1908"/>
                      </a:lnTo>
                      <a:lnTo>
                        <a:pt x="786" y="1920"/>
                      </a:lnTo>
                      <a:lnTo>
                        <a:pt x="774" y="1926"/>
                      </a:lnTo>
                      <a:lnTo>
                        <a:pt x="768" y="1938"/>
                      </a:lnTo>
                      <a:lnTo>
                        <a:pt x="744" y="1950"/>
                      </a:lnTo>
                      <a:lnTo>
                        <a:pt x="738" y="1950"/>
                      </a:lnTo>
                      <a:lnTo>
                        <a:pt x="732" y="1944"/>
                      </a:lnTo>
                      <a:lnTo>
                        <a:pt x="726" y="1944"/>
                      </a:lnTo>
                      <a:lnTo>
                        <a:pt x="726" y="1938"/>
                      </a:lnTo>
                      <a:lnTo>
                        <a:pt x="702" y="1938"/>
                      </a:lnTo>
                      <a:lnTo>
                        <a:pt x="696" y="1944"/>
                      </a:lnTo>
                      <a:lnTo>
                        <a:pt x="696" y="1950"/>
                      </a:lnTo>
                      <a:lnTo>
                        <a:pt x="720" y="1974"/>
                      </a:lnTo>
                      <a:lnTo>
                        <a:pt x="720" y="1992"/>
                      </a:lnTo>
                      <a:lnTo>
                        <a:pt x="726" y="1998"/>
                      </a:lnTo>
                      <a:lnTo>
                        <a:pt x="732" y="2010"/>
                      </a:lnTo>
                      <a:lnTo>
                        <a:pt x="732" y="2028"/>
                      </a:lnTo>
                      <a:lnTo>
                        <a:pt x="720" y="2028"/>
                      </a:lnTo>
                      <a:lnTo>
                        <a:pt x="714" y="2022"/>
                      </a:lnTo>
                      <a:lnTo>
                        <a:pt x="708" y="2022"/>
                      </a:lnTo>
                      <a:lnTo>
                        <a:pt x="720" y="2028"/>
                      </a:lnTo>
                      <a:lnTo>
                        <a:pt x="768" y="2028"/>
                      </a:lnTo>
                      <a:lnTo>
                        <a:pt x="774" y="2022"/>
                      </a:lnTo>
                      <a:lnTo>
                        <a:pt x="774" y="2010"/>
                      </a:lnTo>
                      <a:lnTo>
                        <a:pt x="804" y="2010"/>
                      </a:lnTo>
                      <a:lnTo>
                        <a:pt x="816" y="2004"/>
                      </a:lnTo>
                      <a:lnTo>
                        <a:pt x="864" y="2004"/>
                      </a:lnTo>
                      <a:lnTo>
                        <a:pt x="870" y="2022"/>
                      </a:lnTo>
                      <a:lnTo>
                        <a:pt x="876" y="2022"/>
                      </a:lnTo>
                      <a:lnTo>
                        <a:pt x="882" y="2028"/>
                      </a:lnTo>
                      <a:lnTo>
                        <a:pt x="894" y="2034"/>
                      </a:lnTo>
                      <a:lnTo>
                        <a:pt x="900" y="2034"/>
                      </a:lnTo>
                      <a:lnTo>
                        <a:pt x="900" y="2046"/>
                      </a:lnTo>
                      <a:lnTo>
                        <a:pt x="894" y="2052"/>
                      </a:lnTo>
                      <a:lnTo>
                        <a:pt x="888" y="2052"/>
                      </a:lnTo>
                      <a:lnTo>
                        <a:pt x="894" y="2070"/>
                      </a:lnTo>
                      <a:lnTo>
                        <a:pt x="894" y="2088"/>
                      </a:lnTo>
                      <a:lnTo>
                        <a:pt x="930" y="2088"/>
                      </a:lnTo>
                      <a:lnTo>
                        <a:pt x="972" y="2106"/>
                      </a:lnTo>
                      <a:lnTo>
                        <a:pt x="984" y="2154"/>
                      </a:lnTo>
                      <a:lnTo>
                        <a:pt x="990" y="2154"/>
                      </a:lnTo>
                      <a:lnTo>
                        <a:pt x="1014" y="2148"/>
                      </a:lnTo>
                      <a:lnTo>
                        <a:pt x="1020" y="2154"/>
                      </a:lnTo>
                      <a:lnTo>
                        <a:pt x="1032" y="2154"/>
                      </a:lnTo>
                      <a:lnTo>
                        <a:pt x="1038" y="2160"/>
                      </a:lnTo>
                      <a:lnTo>
                        <a:pt x="1086" y="2160"/>
                      </a:lnTo>
                      <a:lnTo>
                        <a:pt x="1092" y="2166"/>
                      </a:lnTo>
                      <a:lnTo>
                        <a:pt x="1092" y="2160"/>
                      </a:lnTo>
                      <a:lnTo>
                        <a:pt x="1098" y="2154"/>
                      </a:lnTo>
                      <a:lnTo>
                        <a:pt x="1110" y="2154"/>
                      </a:lnTo>
                      <a:lnTo>
                        <a:pt x="1116" y="2166"/>
                      </a:lnTo>
                      <a:lnTo>
                        <a:pt x="1140" y="2190"/>
                      </a:lnTo>
                      <a:lnTo>
                        <a:pt x="1152" y="2184"/>
                      </a:lnTo>
                      <a:lnTo>
                        <a:pt x="1170" y="2184"/>
                      </a:lnTo>
                      <a:lnTo>
                        <a:pt x="1176" y="2190"/>
                      </a:lnTo>
                      <a:lnTo>
                        <a:pt x="1188" y="2196"/>
                      </a:lnTo>
                      <a:lnTo>
                        <a:pt x="1230" y="2196"/>
                      </a:lnTo>
                      <a:lnTo>
                        <a:pt x="1230" y="2202"/>
                      </a:lnTo>
                      <a:lnTo>
                        <a:pt x="1236" y="2208"/>
                      </a:lnTo>
                      <a:lnTo>
                        <a:pt x="1254" y="2220"/>
                      </a:lnTo>
                      <a:lnTo>
                        <a:pt x="1278" y="2220"/>
                      </a:lnTo>
                      <a:lnTo>
                        <a:pt x="1284" y="2226"/>
                      </a:lnTo>
                      <a:lnTo>
                        <a:pt x="1284" y="2250"/>
                      </a:lnTo>
                      <a:lnTo>
                        <a:pt x="1266" y="2262"/>
                      </a:lnTo>
                      <a:lnTo>
                        <a:pt x="1272" y="2262"/>
                      </a:lnTo>
                      <a:lnTo>
                        <a:pt x="1278" y="2268"/>
                      </a:lnTo>
                      <a:lnTo>
                        <a:pt x="1284" y="2268"/>
                      </a:lnTo>
                      <a:lnTo>
                        <a:pt x="1290" y="2274"/>
                      </a:lnTo>
                      <a:lnTo>
                        <a:pt x="1284" y="2280"/>
                      </a:lnTo>
                      <a:lnTo>
                        <a:pt x="1266" y="2280"/>
                      </a:lnTo>
                      <a:lnTo>
                        <a:pt x="1260" y="2286"/>
                      </a:lnTo>
                      <a:lnTo>
                        <a:pt x="1272" y="2298"/>
                      </a:lnTo>
                      <a:lnTo>
                        <a:pt x="1284" y="2304"/>
                      </a:lnTo>
                      <a:lnTo>
                        <a:pt x="1284" y="2316"/>
                      </a:lnTo>
                      <a:lnTo>
                        <a:pt x="1290" y="2328"/>
                      </a:lnTo>
                      <a:lnTo>
                        <a:pt x="1290" y="2334"/>
                      </a:lnTo>
                      <a:lnTo>
                        <a:pt x="1278" y="2346"/>
                      </a:lnTo>
                      <a:lnTo>
                        <a:pt x="1266" y="2346"/>
                      </a:lnTo>
                      <a:lnTo>
                        <a:pt x="1254" y="2352"/>
                      </a:lnTo>
                      <a:lnTo>
                        <a:pt x="1224" y="2352"/>
                      </a:lnTo>
                      <a:lnTo>
                        <a:pt x="1212" y="2364"/>
                      </a:lnTo>
                      <a:lnTo>
                        <a:pt x="1212" y="2370"/>
                      </a:lnTo>
                      <a:lnTo>
                        <a:pt x="1206" y="2376"/>
                      </a:lnTo>
                      <a:lnTo>
                        <a:pt x="1188" y="2376"/>
                      </a:lnTo>
                      <a:lnTo>
                        <a:pt x="1188" y="2412"/>
                      </a:lnTo>
                      <a:lnTo>
                        <a:pt x="1194" y="2412"/>
                      </a:lnTo>
                      <a:lnTo>
                        <a:pt x="1200" y="2406"/>
                      </a:lnTo>
                      <a:lnTo>
                        <a:pt x="1212" y="2406"/>
                      </a:lnTo>
                      <a:lnTo>
                        <a:pt x="1224" y="2400"/>
                      </a:lnTo>
                      <a:lnTo>
                        <a:pt x="1254" y="2400"/>
                      </a:lnTo>
                      <a:lnTo>
                        <a:pt x="1254" y="2412"/>
                      </a:lnTo>
                      <a:lnTo>
                        <a:pt x="1248" y="2418"/>
                      </a:lnTo>
                      <a:lnTo>
                        <a:pt x="1242" y="2430"/>
                      </a:lnTo>
                      <a:lnTo>
                        <a:pt x="1230" y="2436"/>
                      </a:lnTo>
                      <a:lnTo>
                        <a:pt x="1224" y="2442"/>
                      </a:lnTo>
                      <a:lnTo>
                        <a:pt x="1170" y="2454"/>
                      </a:lnTo>
                      <a:lnTo>
                        <a:pt x="1218" y="2490"/>
                      </a:lnTo>
                      <a:lnTo>
                        <a:pt x="1212" y="2490"/>
                      </a:lnTo>
                      <a:lnTo>
                        <a:pt x="1206" y="2496"/>
                      </a:lnTo>
                      <a:lnTo>
                        <a:pt x="1194" y="2496"/>
                      </a:lnTo>
                      <a:lnTo>
                        <a:pt x="1188" y="2502"/>
                      </a:lnTo>
                      <a:lnTo>
                        <a:pt x="1176" y="2526"/>
                      </a:lnTo>
                      <a:lnTo>
                        <a:pt x="1176" y="2544"/>
                      </a:lnTo>
                      <a:lnTo>
                        <a:pt x="1164" y="2550"/>
                      </a:lnTo>
                      <a:lnTo>
                        <a:pt x="1158" y="2556"/>
                      </a:lnTo>
                      <a:lnTo>
                        <a:pt x="1146" y="2556"/>
                      </a:lnTo>
                      <a:lnTo>
                        <a:pt x="1140" y="2550"/>
                      </a:lnTo>
                      <a:lnTo>
                        <a:pt x="1128" y="2544"/>
                      </a:lnTo>
                      <a:lnTo>
                        <a:pt x="1122" y="2538"/>
                      </a:lnTo>
                      <a:lnTo>
                        <a:pt x="1116" y="2556"/>
                      </a:lnTo>
                      <a:lnTo>
                        <a:pt x="1122" y="2562"/>
                      </a:lnTo>
                      <a:lnTo>
                        <a:pt x="1128" y="2574"/>
                      </a:lnTo>
                      <a:lnTo>
                        <a:pt x="1134" y="2580"/>
                      </a:lnTo>
                      <a:lnTo>
                        <a:pt x="1146" y="2580"/>
                      </a:lnTo>
                      <a:lnTo>
                        <a:pt x="1146" y="2586"/>
                      </a:lnTo>
                      <a:lnTo>
                        <a:pt x="1152" y="2598"/>
                      </a:lnTo>
                      <a:lnTo>
                        <a:pt x="1158" y="2604"/>
                      </a:lnTo>
                      <a:lnTo>
                        <a:pt x="1194" y="2604"/>
                      </a:lnTo>
                      <a:lnTo>
                        <a:pt x="1200" y="2610"/>
                      </a:lnTo>
                      <a:lnTo>
                        <a:pt x="1212" y="2616"/>
                      </a:lnTo>
                      <a:lnTo>
                        <a:pt x="1218" y="2628"/>
                      </a:lnTo>
                      <a:lnTo>
                        <a:pt x="1224" y="2634"/>
                      </a:lnTo>
                      <a:lnTo>
                        <a:pt x="1254" y="2634"/>
                      </a:lnTo>
                      <a:lnTo>
                        <a:pt x="1272" y="2652"/>
                      </a:lnTo>
                      <a:lnTo>
                        <a:pt x="1278" y="2664"/>
                      </a:lnTo>
                      <a:lnTo>
                        <a:pt x="1290" y="2670"/>
                      </a:lnTo>
                      <a:lnTo>
                        <a:pt x="1314" y="2694"/>
                      </a:lnTo>
                      <a:lnTo>
                        <a:pt x="1320" y="2694"/>
                      </a:lnTo>
                      <a:lnTo>
                        <a:pt x="1332" y="2700"/>
                      </a:lnTo>
                      <a:lnTo>
                        <a:pt x="1338" y="2700"/>
                      </a:lnTo>
                      <a:lnTo>
                        <a:pt x="1350" y="2706"/>
                      </a:lnTo>
                      <a:lnTo>
                        <a:pt x="1344" y="2706"/>
                      </a:lnTo>
                      <a:lnTo>
                        <a:pt x="1368" y="2688"/>
                      </a:lnTo>
                      <a:lnTo>
                        <a:pt x="1380" y="2688"/>
                      </a:lnTo>
                      <a:lnTo>
                        <a:pt x="1398" y="2694"/>
                      </a:lnTo>
                      <a:lnTo>
                        <a:pt x="1410" y="2700"/>
                      </a:lnTo>
                      <a:lnTo>
                        <a:pt x="1428" y="2706"/>
                      </a:lnTo>
                      <a:lnTo>
                        <a:pt x="1488" y="2718"/>
                      </a:lnTo>
                      <a:lnTo>
                        <a:pt x="1524" y="2718"/>
                      </a:lnTo>
                      <a:lnTo>
                        <a:pt x="1530" y="2724"/>
                      </a:lnTo>
                      <a:lnTo>
                        <a:pt x="1536" y="2724"/>
                      </a:lnTo>
                      <a:lnTo>
                        <a:pt x="1584" y="2754"/>
                      </a:lnTo>
                      <a:lnTo>
                        <a:pt x="1584" y="2760"/>
                      </a:lnTo>
                      <a:lnTo>
                        <a:pt x="1590" y="2760"/>
                      </a:lnTo>
                      <a:lnTo>
                        <a:pt x="1602" y="2766"/>
                      </a:lnTo>
                      <a:lnTo>
                        <a:pt x="1626" y="2766"/>
                      </a:lnTo>
                      <a:lnTo>
                        <a:pt x="1632" y="2760"/>
                      </a:lnTo>
                      <a:lnTo>
                        <a:pt x="1644" y="2760"/>
                      </a:lnTo>
                      <a:lnTo>
                        <a:pt x="1644" y="2754"/>
                      </a:lnTo>
                      <a:lnTo>
                        <a:pt x="1674" y="2754"/>
                      </a:lnTo>
                      <a:lnTo>
                        <a:pt x="1686" y="2760"/>
                      </a:lnTo>
                      <a:lnTo>
                        <a:pt x="1698" y="2772"/>
                      </a:lnTo>
                      <a:lnTo>
                        <a:pt x="1728" y="2778"/>
                      </a:lnTo>
                      <a:lnTo>
                        <a:pt x="1728" y="2790"/>
                      </a:lnTo>
                      <a:lnTo>
                        <a:pt x="1722" y="2796"/>
                      </a:lnTo>
                      <a:lnTo>
                        <a:pt x="1722" y="2802"/>
                      </a:lnTo>
                      <a:lnTo>
                        <a:pt x="1740" y="2802"/>
                      </a:lnTo>
                      <a:lnTo>
                        <a:pt x="1752" y="2814"/>
                      </a:lnTo>
                      <a:lnTo>
                        <a:pt x="1764" y="2820"/>
                      </a:lnTo>
                      <a:lnTo>
                        <a:pt x="1776" y="2832"/>
                      </a:lnTo>
                      <a:lnTo>
                        <a:pt x="1788" y="2826"/>
                      </a:lnTo>
                      <a:lnTo>
                        <a:pt x="1794" y="2826"/>
                      </a:lnTo>
                      <a:lnTo>
                        <a:pt x="1818" y="2838"/>
                      </a:lnTo>
                      <a:lnTo>
                        <a:pt x="1836" y="2856"/>
                      </a:lnTo>
                      <a:lnTo>
                        <a:pt x="1842" y="2868"/>
                      </a:lnTo>
                      <a:lnTo>
                        <a:pt x="1854" y="2874"/>
                      </a:lnTo>
                      <a:lnTo>
                        <a:pt x="1860" y="2880"/>
                      </a:lnTo>
                      <a:lnTo>
                        <a:pt x="1884" y="2880"/>
                      </a:lnTo>
                      <a:lnTo>
                        <a:pt x="1890" y="2874"/>
                      </a:lnTo>
                      <a:lnTo>
                        <a:pt x="1890" y="2862"/>
                      </a:lnTo>
                      <a:lnTo>
                        <a:pt x="1908" y="2862"/>
                      </a:lnTo>
                      <a:lnTo>
                        <a:pt x="1914" y="2856"/>
                      </a:lnTo>
                      <a:lnTo>
                        <a:pt x="1914" y="2826"/>
                      </a:lnTo>
                      <a:lnTo>
                        <a:pt x="1908" y="2820"/>
                      </a:lnTo>
                      <a:lnTo>
                        <a:pt x="1908" y="2814"/>
                      </a:lnTo>
                      <a:lnTo>
                        <a:pt x="1896" y="2802"/>
                      </a:lnTo>
                      <a:lnTo>
                        <a:pt x="1890" y="2790"/>
                      </a:lnTo>
                      <a:lnTo>
                        <a:pt x="1884" y="2784"/>
                      </a:lnTo>
                      <a:lnTo>
                        <a:pt x="1872" y="2778"/>
                      </a:lnTo>
                      <a:lnTo>
                        <a:pt x="1866" y="2772"/>
                      </a:lnTo>
                      <a:lnTo>
                        <a:pt x="1854" y="2772"/>
                      </a:lnTo>
                      <a:lnTo>
                        <a:pt x="1854" y="2748"/>
                      </a:lnTo>
                      <a:lnTo>
                        <a:pt x="1848" y="2742"/>
                      </a:lnTo>
                      <a:lnTo>
                        <a:pt x="1836" y="2736"/>
                      </a:lnTo>
                      <a:lnTo>
                        <a:pt x="1830" y="2724"/>
                      </a:lnTo>
                      <a:lnTo>
                        <a:pt x="1824" y="2718"/>
                      </a:lnTo>
                      <a:lnTo>
                        <a:pt x="1824" y="2706"/>
                      </a:lnTo>
                      <a:lnTo>
                        <a:pt x="1830" y="2694"/>
                      </a:lnTo>
                      <a:lnTo>
                        <a:pt x="1830" y="2682"/>
                      </a:lnTo>
                      <a:lnTo>
                        <a:pt x="1818" y="2658"/>
                      </a:lnTo>
                      <a:lnTo>
                        <a:pt x="1812" y="2652"/>
                      </a:lnTo>
                      <a:lnTo>
                        <a:pt x="1806" y="2640"/>
                      </a:lnTo>
                      <a:lnTo>
                        <a:pt x="1794" y="2634"/>
                      </a:lnTo>
                      <a:lnTo>
                        <a:pt x="1788" y="2628"/>
                      </a:lnTo>
                      <a:lnTo>
                        <a:pt x="1776" y="2628"/>
                      </a:lnTo>
                      <a:lnTo>
                        <a:pt x="1758" y="2622"/>
                      </a:lnTo>
                      <a:lnTo>
                        <a:pt x="1758" y="2604"/>
                      </a:lnTo>
                      <a:lnTo>
                        <a:pt x="1794" y="2568"/>
                      </a:lnTo>
                      <a:lnTo>
                        <a:pt x="1800" y="2556"/>
                      </a:lnTo>
                      <a:lnTo>
                        <a:pt x="1806" y="2550"/>
                      </a:lnTo>
                      <a:lnTo>
                        <a:pt x="1806" y="2544"/>
                      </a:lnTo>
                      <a:lnTo>
                        <a:pt x="1800" y="2532"/>
                      </a:lnTo>
                      <a:lnTo>
                        <a:pt x="1788" y="2520"/>
                      </a:lnTo>
                      <a:lnTo>
                        <a:pt x="1800" y="2520"/>
                      </a:lnTo>
                      <a:lnTo>
                        <a:pt x="1812" y="2526"/>
                      </a:lnTo>
                      <a:lnTo>
                        <a:pt x="1830" y="2526"/>
                      </a:lnTo>
                      <a:lnTo>
                        <a:pt x="1842" y="2514"/>
                      </a:lnTo>
                      <a:lnTo>
                        <a:pt x="1872" y="2514"/>
                      </a:lnTo>
                      <a:lnTo>
                        <a:pt x="1878" y="2508"/>
                      </a:lnTo>
                      <a:lnTo>
                        <a:pt x="1860" y="2490"/>
                      </a:lnTo>
                      <a:lnTo>
                        <a:pt x="1890" y="2490"/>
                      </a:lnTo>
                      <a:lnTo>
                        <a:pt x="1890" y="2472"/>
                      </a:lnTo>
                      <a:lnTo>
                        <a:pt x="1878" y="2472"/>
                      </a:lnTo>
                      <a:lnTo>
                        <a:pt x="1854" y="2460"/>
                      </a:lnTo>
                      <a:lnTo>
                        <a:pt x="1842" y="2448"/>
                      </a:lnTo>
                      <a:lnTo>
                        <a:pt x="1842" y="2442"/>
                      </a:lnTo>
                      <a:lnTo>
                        <a:pt x="1878" y="2442"/>
                      </a:lnTo>
                      <a:lnTo>
                        <a:pt x="1878" y="2430"/>
                      </a:lnTo>
                      <a:lnTo>
                        <a:pt x="1866" y="2418"/>
                      </a:lnTo>
                      <a:lnTo>
                        <a:pt x="1860" y="2406"/>
                      </a:lnTo>
                      <a:lnTo>
                        <a:pt x="1812" y="2358"/>
                      </a:lnTo>
                      <a:lnTo>
                        <a:pt x="1800" y="2358"/>
                      </a:lnTo>
                      <a:lnTo>
                        <a:pt x="1788" y="2364"/>
                      </a:lnTo>
                      <a:lnTo>
                        <a:pt x="1746" y="2364"/>
                      </a:lnTo>
                      <a:lnTo>
                        <a:pt x="1740" y="2358"/>
                      </a:lnTo>
                      <a:lnTo>
                        <a:pt x="1740" y="2328"/>
                      </a:lnTo>
                      <a:lnTo>
                        <a:pt x="1734" y="2322"/>
                      </a:lnTo>
                      <a:lnTo>
                        <a:pt x="1710" y="2322"/>
                      </a:lnTo>
                      <a:lnTo>
                        <a:pt x="1704" y="2316"/>
                      </a:lnTo>
                      <a:lnTo>
                        <a:pt x="1698" y="2316"/>
                      </a:lnTo>
                      <a:lnTo>
                        <a:pt x="1698" y="2286"/>
                      </a:lnTo>
                      <a:lnTo>
                        <a:pt x="1710" y="2262"/>
                      </a:lnTo>
                      <a:lnTo>
                        <a:pt x="1710" y="2238"/>
                      </a:lnTo>
                      <a:lnTo>
                        <a:pt x="1704" y="2232"/>
                      </a:lnTo>
                      <a:lnTo>
                        <a:pt x="1698" y="2196"/>
                      </a:lnTo>
                      <a:lnTo>
                        <a:pt x="1722" y="2196"/>
                      </a:lnTo>
                      <a:lnTo>
                        <a:pt x="1722" y="2172"/>
                      </a:lnTo>
                      <a:lnTo>
                        <a:pt x="1716" y="2166"/>
                      </a:lnTo>
                      <a:lnTo>
                        <a:pt x="1716" y="2154"/>
                      </a:lnTo>
                      <a:lnTo>
                        <a:pt x="1722" y="2148"/>
                      </a:lnTo>
                      <a:lnTo>
                        <a:pt x="1734" y="2148"/>
                      </a:lnTo>
                      <a:lnTo>
                        <a:pt x="1746" y="2154"/>
                      </a:lnTo>
                      <a:lnTo>
                        <a:pt x="1758" y="2166"/>
                      </a:lnTo>
                      <a:lnTo>
                        <a:pt x="1770" y="2172"/>
                      </a:lnTo>
                      <a:lnTo>
                        <a:pt x="1776" y="2184"/>
                      </a:lnTo>
                      <a:lnTo>
                        <a:pt x="1788" y="2190"/>
                      </a:lnTo>
                      <a:lnTo>
                        <a:pt x="1800" y="2190"/>
                      </a:lnTo>
                      <a:lnTo>
                        <a:pt x="1806" y="2184"/>
                      </a:lnTo>
                      <a:lnTo>
                        <a:pt x="1812" y="2172"/>
                      </a:lnTo>
                      <a:lnTo>
                        <a:pt x="1818" y="2166"/>
                      </a:lnTo>
                      <a:lnTo>
                        <a:pt x="1812" y="2154"/>
                      </a:lnTo>
                      <a:lnTo>
                        <a:pt x="1800" y="2142"/>
                      </a:lnTo>
                      <a:lnTo>
                        <a:pt x="1830" y="2130"/>
                      </a:lnTo>
                      <a:lnTo>
                        <a:pt x="1830" y="2106"/>
                      </a:lnTo>
                      <a:lnTo>
                        <a:pt x="1836" y="2106"/>
                      </a:lnTo>
                      <a:lnTo>
                        <a:pt x="1848" y="2100"/>
                      </a:lnTo>
                      <a:lnTo>
                        <a:pt x="1860" y="2100"/>
                      </a:lnTo>
                      <a:lnTo>
                        <a:pt x="1872" y="2094"/>
                      </a:lnTo>
                      <a:lnTo>
                        <a:pt x="1884" y="2082"/>
                      </a:lnTo>
                      <a:lnTo>
                        <a:pt x="1884" y="2064"/>
                      </a:lnTo>
                      <a:lnTo>
                        <a:pt x="1878" y="2058"/>
                      </a:lnTo>
                      <a:lnTo>
                        <a:pt x="1878" y="2052"/>
                      </a:lnTo>
                      <a:lnTo>
                        <a:pt x="1908" y="2052"/>
                      </a:lnTo>
                      <a:lnTo>
                        <a:pt x="1920" y="2058"/>
                      </a:lnTo>
                      <a:lnTo>
                        <a:pt x="1926" y="2058"/>
                      </a:lnTo>
                      <a:lnTo>
                        <a:pt x="1926" y="2064"/>
                      </a:lnTo>
                      <a:lnTo>
                        <a:pt x="1932" y="2070"/>
                      </a:lnTo>
                      <a:lnTo>
                        <a:pt x="1962" y="2070"/>
                      </a:lnTo>
                      <a:lnTo>
                        <a:pt x="1974" y="2058"/>
                      </a:lnTo>
                      <a:lnTo>
                        <a:pt x="1986" y="2052"/>
                      </a:lnTo>
                      <a:lnTo>
                        <a:pt x="2004" y="2052"/>
                      </a:lnTo>
                      <a:lnTo>
                        <a:pt x="2010" y="2058"/>
                      </a:lnTo>
                      <a:lnTo>
                        <a:pt x="2016" y="2070"/>
                      </a:lnTo>
                      <a:lnTo>
                        <a:pt x="2076" y="2070"/>
                      </a:lnTo>
                      <a:lnTo>
                        <a:pt x="2082" y="2076"/>
                      </a:lnTo>
                      <a:lnTo>
                        <a:pt x="2082" y="2082"/>
                      </a:lnTo>
                      <a:lnTo>
                        <a:pt x="2088" y="2094"/>
                      </a:lnTo>
                      <a:lnTo>
                        <a:pt x="2124" y="2094"/>
                      </a:lnTo>
                      <a:lnTo>
                        <a:pt x="2136" y="2124"/>
                      </a:lnTo>
                      <a:lnTo>
                        <a:pt x="2136" y="2130"/>
                      </a:lnTo>
                      <a:lnTo>
                        <a:pt x="2148" y="2142"/>
                      </a:lnTo>
                      <a:lnTo>
                        <a:pt x="2160" y="2142"/>
                      </a:lnTo>
                      <a:lnTo>
                        <a:pt x="2160" y="2124"/>
                      </a:lnTo>
                      <a:lnTo>
                        <a:pt x="2148" y="2112"/>
                      </a:lnTo>
                      <a:lnTo>
                        <a:pt x="2148" y="2106"/>
                      </a:lnTo>
                      <a:lnTo>
                        <a:pt x="2160" y="2106"/>
                      </a:lnTo>
                      <a:lnTo>
                        <a:pt x="2232" y="2142"/>
                      </a:lnTo>
                      <a:lnTo>
                        <a:pt x="2238" y="2136"/>
                      </a:lnTo>
                      <a:lnTo>
                        <a:pt x="2244" y="2124"/>
                      </a:lnTo>
                      <a:lnTo>
                        <a:pt x="2256" y="2118"/>
                      </a:lnTo>
                      <a:lnTo>
                        <a:pt x="2268" y="2106"/>
                      </a:lnTo>
                      <a:lnTo>
                        <a:pt x="2280" y="2100"/>
                      </a:lnTo>
                      <a:lnTo>
                        <a:pt x="2286" y="2100"/>
                      </a:lnTo>
                      <a:lnTo>
                        <a:pt x="2322" y="2118"/>
                      </a:lnTo>
                      <a:lnTo>
                        <a:pt x="2334" y="2118"/>
                      </a:lnTo>
                      <a:lnTo>
                        <a:pt x="2352" y="2112"/>
                      </a:lnTo>
                      <a:lnTo>
                        <a:pt x="2364" y="2106"/>
                      </a:lnTo>
                      <a:lnTo>
                        <a:pt x="2370" y="2100"/>
                      </a:lnTo>
                      <a:lnTo>
                        <a:pt x="2382" y="2100"/>
                      </a:lnTo>
                      <a:lnTo>
                        <a:pt x="2388" y="2106"/>
                      </a:lnTo>
                      <a:lnTo>
                        <a:pt x="2400" y="2112"/>
                      </a:lnTo>
                      <a:lnTo>
                        <a:pt x="2406" y="2124"/>
                      </a:lnTo>
                      <a:lnTo>
                        <a:pt x="2430" y="2136"/>
                      </a:lnTo>
                      <a:lnTo>
                        <a:pt x="2454" y="2136"/>
                      </a:lnTo>
                      <a:lnTo>
                        <a:pt x="2466" y="2142"/>
                      </a:lnTo>
                      <a:lnTo>
                        <a:pt x="2478" y="2142"/>
                      </a:lnTo>
                      <a:lnTo>
                        <a:pt x="2490" y="2118"/>
                      </a:lnTo>
                      <a:lnTo>
                        <a:pt x="2496" y="2124"/>
                      </a:lnTo>
                      <a:lnTo>
                        <a:pt x="2508" y="2124"/>
                      </a:lnTo>
                      <a:lnTo>
                        <a:pt x="2514" y="2130"/>
                      </a:lnTo>
                      <a:lnTo>
                        <a:pt x="2526" y="2136"/>
                      </a:lnTo>
                      <a:lnTo>
                        <a:pt x="2562" y="2136"/>
                      </a:lnTo>
                      <a:lnTo>
                        <a:pt x="2568" y="2130"/>
                      </a:lnTo>
                      <a:lnTo>
                        <a:pt x="2574" y="2118"/>
                      </a:lnTo>
                      <a:lnTo>
                        <a:pt x="2574" y="2106"/>
                      </a:lnTo>
                      <a:lnTo>
                        <a:pt x="2568" y="2088"/>
                      </a:lnTo>
                      <a:lnTo>
                        <a:pt x="2544" y="2064"/>
                      </a:lnTo>
                      <a:lnTo>
                        <a:pt x="2532" y="2058"/>
                      </a:lnTo>
                      <a:lnTo>
                        <a:pt x="2514" y="2052"/>
                      </a:lnTo>
                      <a:lnTo>
                        <a:pt x="2490" y="2052"/>
                      </a:lnTo>
                      <a:lnTo>
                        <a:pt x="2460" y="2022"/>
                      </a:lnTo>
                      <a:lnTo>
                        <a:pt x="2472" y="2022"/>
                      </a:lnTo>
                      <a:lnTo>
                        <a:pt x="2484" y="2016"/>
                      </a:lnTo>
                      <a:lnTo>
                        <a:pt x="2496" y="2016"/>
                      </a:lnTo>
                      <a:lnTo>
                        <a:pt x="2508" y="2004"/>
                      </a:lnTo>
                      <a:lnTo>
                        <a:pt x="2508" y="1992"/>
                      </a:lnTo>
                      <a:lnTo>
                        <a:pt x="2502" y="1986"/>
                      </a:lnTo>
                      <a:lnTo>
                        <a:pt x="2496" y="1974"/>
                      </a:lnTo>
                      <a:lnTo>
                        <a:pt x="2490" y="1968"/>
                      </a:lnTo>
                      <a:lnTo>
                        <a:pt x="2502" y="1956"/>
                      </a:lnTo>
                      <a:lnTo>
                        <a:pt x="2556" y="1956"/>
                      </a:lnTo>
                      <a:lnTo>
                        <a:pt x="2544" y="1944"/>
                      </a:lnTo>
                      <a:lnTo>
                        <a:pt x="2532" y="1944"/>
                      </a:lnTo>
                      <a:lnTo>
                        <a:pt x="2508" y="1932"/>
                      </a:lnTo>
                      <a:lnTo>
                        <a:pt x="2496" y="1932"/>
                      </a:lnTo>
                      <a:lnTo>
                        <a:pt x="2508" y="1914"/>
                      </a:lnTo>
                      <a:lnTo>
                        <a:pt x="2484" y="1914"/>
                      </a:lnTo>
                      <a:lnTo>
                        <a:pt x="2484" y="1908"/>
                      </a:lnTo>
                      <a:lnTo>
                        <a:pt x="2478" y="1902"/>
                      </a:lnTo>
                      <a:lnTo>
                        <a:pt x="2478" y="1896"/>
                      </a:lnTo>
                      <a:lnTo>
                        <a:pt x="2490" y="1884"/>
                      </a:lnTo>
                      <a:lnTo>
                        <a:pt x="2526" y="1872"/>
                      </a:lnTo>
                      <a:lnTo>
                        <a:pt x="2586" y="1866"/>
                      </a:lnTo>
                      <a:lnTo>
                        <a:pt x="2640" y="1866"/>
                      </a:lnTo>
                      <a:lnTo>
                        <a:pt x="2646" y="1848"/>
                      </a:lnTo>
                      <a:lnTo>
                        <a:pt x="2712" y="1848"/>
                      </a:lnTo>
                      <a:lnTo>
                        <a:pt x="2712" y="1830"/>
                      </a:lnTo>
                      <a:lnTo>
                        <a:pt x="2718" y="1824"/>
                      </a:lnTo>
                      <a:lnTo>
                        <a:pt x="2808" y="1824"/>
                      </a:lnTo>
                      <a:lnTo>
                        <a:pt x="2862" y="1806"/>
                      </a:lnTo>
                      <a:lnTo>
                        <a:pt x="2874" y="1806"/>
                      </a:lnTo>
                      <a:lnTo>
                        <a:pt x="2874" y="1794"/>
                      </a:lnTo>
                      <a:lnTo>
                        <a:pt x="2886" y="1782"/>
                      </a:lnTo>
                      <a:lnTo>
                        <a:pt x="2898" y="1776"/>
                      </a:lnTo>
                      <a:lnTo>
                        <a:pt x="2916" y="1770"/>
                      </a:lnTo>
                      <a:lnTo>
                        <a:pt x="2940" y="1770"/>
                      </a:lnTo>
                      <a:lnTo>
                        <a:pt x="2958" y="1776"/>
                      </a:lnTo>
                      <a:lnTo>
                        <a:pt x="2976" y="1776"/>
                      </a:lnTo>
                      <a:lnTo>
                        <a:pt x="2988" y="1788"/>
                      </a:lnTo>
                      <a:lnTo>
                        <a:pt x="3000" y="1788"/>
                      </a:lnTo>
                      <a:lnTo>
                        <a:pt x="3012" y="1776"/>
                      </a:lnTo>
                      <a:lnTo>
                        <a:pt x="3018" y="1776"/>
                      </a:lnTo>
                      <a:lnTo>
                        <a:pt x="3036" y="1794"/>
                      </a:lnTo>
                      <a:lnTo>
                        <a:pt x="3042" y="1806"/>
                      </a:lnTo>
                      <a:lnTo>
                        <a:pt x="3048" y="1812"/>
                      </a:lnTo>
                      <a:lnTo>
                        <a:pt x="3060" y="1812"/>
                      </a:lnTo>
                      <a:lnTo>
                        <a:pt x="3066" y="1818"/>
                      </a:lnTo>
                      <a:lnTo>
                        <a:pt x="3066" y="1860"/>
                      </a:lnTo>
                      <a:lnTo>
                        <a:pt x="3072" y="1866"/>
                      </a:lnTo>
                      <a:lnTo>
                        <a:pt x="3090" y="1866"/>
                      </a:lnTo>
                      <a:lnTo>
                        <a:pt x="3102" y="1860"/>
                      </a:lnTo>
                      <a:lnTo>
                        <a:pt x="3120" y="1860"/>
                      </a:lnTo>
                      <a:lnTo>
                        <a:pt x="3132" y="1842"/>
                      </a:lnTo>
                      <a:lnTo>
                        <a:pt x="3156" y="1878"/>
                      </a:lnTo>
                      <a:lnTo>
                        <a:pt x="3180" y="1866"/>
                      </a:lnTo>
                      <a:lnTo>
                        <a:pt x="3204" y="1878"/>
                      </a:lnTo>
                      <a:lnTo>
                        <a:pt x="3210" y="1872"/>
                      </a:lnTo>
                      <a:lnTo>
                        <a:pt x="3216" y="1872"/>
                      </a:lnTo>
                      <a:lnTo>
                        <a:pt x="3228" y="1878"/>
                      </a:lnTo>
                      <a:lnTo>
                        <a:pt x="3228" y="1902"/>
                      </a:lnTo>
                      <a:lnTo>
                        <a:pt x="3222" y="1908"/>
                      </a:lnTo>
                      <a:lnTo>
                        <a:pt x="3222" y="1914"/>
                      </a:lnTo>
                      <a:lnTo>
                        <a:pt x="3228" y="1914"/>
                      </a:lnTo>
                      <a:lnTo>
                        <a:pt x="3234" y="1908"/>
                      </a:lnTo>
                      <a:lnTo>
                        <a:pt x="3240" y="1908"/>
                      </a:lnTo>
                      <a:lnTo>
                        <a:pt x="3246" y="1902"/>
                      </a:lnTo>
                      <a:lnTo>
                        <a:pt x="3252" y="1902"/>
                      </a:lnTo>
                      <a:lnTo>
                        <a:pt x="3258" y="1908"/>
                      </a:lnTo>
                      <a:lnTo>
                        <a:pt x="3270" y="1914"/>
                      </a:lnTo>
                      <a:lnTo>
                        <a:pt x="3276" y="1920"/>
                      </a:lnTo>
                      <a:lnTo>
                        <a:pt x="3288" y="1926"/>
                      </a:lnTo>
                      <a:lnTo>
                        <a:pt x="3300" y="1914"/>
                      </a:lnTo>
                      <a:lnTo>
                        <a:pt x="3300" y="1896"/>
                      </a:lnTo>
                      <a:lnTo>
                        <a:pt x="3306" y="1890"/>
                      </a:lnTo>
                      <a:lnTo>
                        <a:pt x="3318" y="1884"/>
                      </a:lnTo>
                      <a:lnTo>
                        <a:pt x="3330" y="1884"/>
                      </a:lnTo>
                      <a:lnTo>
                        <a:pt x="3342" y="1866"/>
                      </a:lnTo>
                      <a:lnTo>
                        <a:pt x="3378" y="1854"/>
                      </a:lnTo>
                      <a:lnTo>
                        <a:pt x="3396" y="1836"/>
                      </a:lnTo>
                      <a:lnTo>
                        <a:pt x="3402" y="1836"/>
                      </a:lnTo>
                      <a:lnTo>
                        <a:pt x="3408" y="1842"/>
                      </a:lnTo>
                      <a:lnTo>
                        <a:pt x="3408" y="1860"/>
                      </a:lnTo>
                      <a:lnTo>
                        <a:pt x="3396" y="1872"/>
                      </a:lnTo>
                      <a:lnTo>
                        <a:pt x="3390" y="1872"/>
                      </a:lnTo>
                      <a:lnTo>
                        <a:pt x="3426" y="1890"/>
                      </a:lnTo>
                      <a:lnTo>
                        <a:pt x="3456" y="1902"/>
                      </a:lnTo>
                      <a:lnTo>
                        <a:pt x="3486" y="1920"/>
                      </a:lnTo>
                      <a:lnTo>
                        <a:pt x="3498" y="1926"/>
                      </a:lnTo>
                      <a:lnTo>
                        <a:pt x="3516" y="1938"/>
                      </a:lnTo>
                      <a:lnTo>
                        <a:pt x="3546" y="1968"/>
                      </a:lnTo>
                      <a:lnTo>
                        <a:pt x="3618" y="2028"/>
                      </a:lnTo>
                      <a:lnTo>
                        <a:pt x="3636" y="2052"/>
                      </a:lnTo>
                      <a:lnTo>
                        <a:pt x="3672" y="2088"/>
                      </a:lnTo>
                      <a:lnTo>
                        <a:pt x="3684" y="2106"/>
                      </a:lnTo>
                      <a:lnTo>
                        <a:pt x="3696" y="2118"/>
                      </a:lnTo>
                      <a:lnTo>
                        <a:pt x="3708" y="2124"/>
                      </a:lnTo>
                      <a:lnTo>
                        <a:pt x="3720" y="2124"/>
                      </a:lnTo>
                      <a:lnTo>
                        <a:pt x="3732" y="2118"/>
                      </a:lnTo>
                      <a:lnTo>
                        <a:pt x="3744" y="2106"/>
                      </a:lnTo>
                      <a:lnTo>
                        <a:pt x="3744" y="2094"/>
                      </a:lnTo>
                      <a:lnTo>
                        <a:pt x="3750" y="2088"/>
                      </a:lnTo>
                      <a:lnTo>
                        <a:pt x="3750" y="2082"/>
                      </a:lnTo>
                      <a:lnTo>
                        <a:pt x="3762" y="2082"/>
                      </a:lnTo>
                      <a:lnTo>
                        <a:pt x="3768" y="2088"/>
                      </a:lnTo>
                      <a:lnTo>
                        <a:pt x="3768" y="2100"/>
                      </a:lnTo>
                      <a:lnTo>
                        <a:pt x="3774" y="2106"/>
                      </a:lnTo>
                      <a:lnTo>
                        <a:pt x="3774" y="2112"/>
                      </a:lnTo>
                      <a:lnTo>
                        <a:pt x="3804" y="2112"/>
                      </a:lnTo>
                      <a:lnTo>
                        <a:pt x="3816" y="2118"/>
                      </a:lnTo>
                      <a:lnTo>
                        <a:pt x="3822" y="2130"/>
                      </a:lnTo>
                      <a:lnTo>
                        <a:pt x="3834" y="2136"/>
                      </a:lnTo>
                      <a:lnTo>
                        <a:pt x="3858" y="2136"/>
                      </a:lnTo>
                      <a:lnTo>
                        <a:pt x="3864" y="2124"/>
                      </a:lnTo>
                      <a:lnTo>
                        <a:pt x="3876" y="2118"/>
                      </a:lnTo>
                      <a:lnTo>
                        <a:pt x="3894" y="2112"/>
                      </a:lnTo>
                      <a:lnTo>
                        <a:pt x="3906" y="2106"/>
                      </a:lnTo>
                      <a:lnTo>
                        <a:pt x="3924" y="2106"/>
                      </a:lnTo>
                      <a:lnTo>
                        <a:pt x="3948" y="2118"/>
                      </a:lnTo>
                      <a:lnTo>
                        <a:pt x="3972" y="2142"/>
                      </a:lnTo>
                      <a:lnTo>
                        <a:pt x="3984" y="2148"/>
                      </a:lnTo>
                      <a:lnTo>
                        <a:pt x="3990" y="2160"/>
                      </a:lnTo>
                      <a:lnTo>
                        <a:pt x="4002" y="2160"/>
                      </a:lnTo>
                      <a:lnTo>
                        <a:pt x="4014" y="2166"/>
                      </a:lnTo>
                      <a:lnTo>
                        <a:pt x="4026" y="2166"/>
                      </a:lnTo>
                      <a:lnTo>
                        <a:pt x="4038" y="2172"/>
                      </a:lnTo>
                      <a:lnTo>
                        <a:pt x="4044" y="2172"/>
                      </a:lnTo>
                      <a:lnTo>
                        <a:pt x="4044" y="2178"/>
                      </a:lnTo>
                      <a:lnTo>
                        <a:pt x="4050" y="2190"/>
                      </a:lnTo>
                      <a:lnTo>
                        <a:pt x="4056" y="2196"/>
                      </a:lnTo>
                      <a:lnTo>
                        <a:pt x="4062" y="2208"/>
                      </a:lnTo>
                      <a:lnTo>
                        <a:pt x="4068" y="2214"/>
                      </a:lnTo>
                      <a:lnTo>
                        <a:pt x="4068" y="2220"/>
                      </a:lnTo>
                      <a:lnTo>
                        <a:pt x="4140" y="2226"/>
                      </a:lnTo>
                      <a:lnTo>
                        <a:pt x="4152" y="2190"/>
                      </a:lnTo>
                      <a:lnTo>
                        <a:pt x="4176" y="2214"/>
                      </a:lnTo>
                      <a:lnTo>
                        <a:pt x="4212" y="2256"/>
                      </a:lnTo>
                      <a:lnTo>
                        <a:pt x="4254" y="2256"/>
                      </a:lnTo>
                      <a:lnTo>
                        <a:pt x="4266" y="2244"/>
                      </a:lnTo>
                      <a:lnTo>
                        <a:pt x="4266" y="2226"/>
                      </a:lnTo>
                      <a:lnTo>
                        <a:pt x="4326" y="2226"/>
                      </a:lnTo>
                      <a:lnTo>
                        <a:pt x="4320" y="2214"/>
                      </a:lnTo>
                      <a:lnTo>
                        <a:pt x="4344" y="2214"/>
                      </a:lnTo>
                      <a:lnTo>
                        <a:pt x="4338" y="2208"/>
                      </a:lnTo>
                      <a:lnTo>
                        <a:pt x="4338" y="2202"/>
                      </a:lnTo>
                      <a:lnTo>
                        <a:pt x="4374" y="2166"/>
                      </a:lnTo>
                      <a:lnTo>
                        <a:pt x="4392" y="2166"/>
                      </a:lnTo>
                      <a:lnTo>
                        <a:pt x="4404" y="2148"/>
                      </a:lnTo>
                      <a:lnTo>
                        <a:pt x="4428" y="2148"/>
                      </a:lnTo>
                      <a:lnTo>
                        <a:pt x="4428" y="2142"/>
                      </a:lnTo>
                      <a:lnTo>
                        <a:pt x="4434" y="2136"/>
                      </a:lnTo>
                      <a:lnTo>
                        <a:pt x="4434" y="2130"/>
                      </a:lnTo>
                      <a:lnTo>
                        <a:pt x="4440" y="2124"/>
                      </a:lnTo>
                      <a:lnTo>
                        <a:pt x="4458" y="2124"/>
                      </a:lnTo>
                      <a:lnTo>
                        <a:pt x="4464" y="2130"/>
                      </a:lnTo>
                      <a:lnTo>
                        <a:pt x="4482" y="2124"/>
                      </a:lnTo>
                      <a:lnTo>
                        <a:pt x="4482" y="2130"/>
                      </a:lnTo>
                      <a:lnTo>
                        <a:pt x="4518" y="2130"/>
                      </a:lnTo>
                      <a:lnTo>
                        <a:pt x="4524" y="2148"/>
                      </a:lnTo>
                      <a:lnTo>
                        <a:pt x="4548" y="2148"/>
                      </a:lnTo>
                      <a:lnTo>
                        <a:pt x="4566" y="2142"/>
                      </a:lnTo>
                      <a:lnTo>
                        <a:pt x="4608" y="2142"/>
                      </a:lnTo>
                      <a:lnTo>
                        <a:pt x="4608" y="2148"/>
                      </a:lnTo>
                      <a:lnTo>
                        <a:pt x="4614" y="2154"/>
                      </a:lnTo>
                      <a:lnTo>
                        <a:pt x="4614" y="2166"/>
                      </a:lnTo>
                      <a:lnTo>
                        <a:pt x="4620" y="2172"/>
                      </a:lnTo>
                      <a:lnTo>
                        <a:pt x="4638" y="2178"/>
                      </a:lnTo>
                      <a:lnTo>
                        <a:pt x="4668" y="2178"/>
                      </a:lnTo>
                      <a:lnTo>
                        <a:pt x="4674" y="2190"/>
                      </a:lnTo>
                      <a:lnTo>
                        <a:pt x="4698" y="2184"/>
                      </a:lnTo>
                      <a:lnTo>
                        <a:pt x="4704" y="2196"/>
                      </a:lnTo>
                      <a:lnTo>
                        <a:pt x="4704" y="2190"/>
                      </a:lnTo>
                      <a:lnTo>
                        <a:pt x="4710" y="2184"/>
                      </a:lnTo>
                      <a:lnTo>
                        <a:pt x="4752" y="2184"/>
                      </a:lnTo>
                      <a:lnTo>
                        <a:pt x="4752" y="2196"/>
                      </a:lnTo>
                      <a:lnTo>
                        <a:pt x="4800" y="2190"/>
                      </a:lnTo>
                      <a:lnTo>
                        <a:pt x="4800" y="2202"/>
                      </a:lnTo>
                      <a:lnTo>
                        <a:pt x="4806" y="2208"/>
                      </a:lnTo>
                      <a:lnTo>
                        <a:pt x="4830" y="2196"/>
                      </a:lnTo>
                      <a:lnTo>
                        <a:pt x="4836" y="2190"/>
                      </a:lnTo>
                      <a:lnTo>
                        <a:pt x="4836" y="2184"/>
                      </a:lnTo>
                      <a:lnTo>
                        <a:pt x="4854" y="2184"/>
                      </a:lnTo>
                      <a:lnTo>
                        <a:pt x="4854" y="2160"/>
                      </a:lnTo>
                      <a:lnTo>
                        <a:pt x="4848" y="2148"/>
                      </a:lnTo>
                      <a:lnTo>
                        <a:pt x="4842" y="2142"/>
                      </a:lnTo>
                      <a:lnTo>
                        <a:pt x="4836" y="2142"/>
                      </a:lnTo>
                      <a:lnTo>
                        <a:pt x="4812" y="2106"/>
                      </a:lnTo>
                      <a:lnTo>
                        <a:pt x="4806" y="2088"/>
                      </a:lnTo>
                      <a:lnTo>
                        <a:pt x="4794" y="2076"/>
                      </a:lnTo>
                      <a:lnTo>
                        <a:pt x="4794" y="2064"/>
                      </a:lnTo>
                      <a:lnTo>
                        <a:pt x="4812" y="2064"/>
                      </a:lnTo>
                      <a:lnTo>
                        <a:pt x="4806" y="2052"/>
                      </a:lnTo>
                      <a:lnTo>
                        <a:pt x="4812" y="2052"/>
                      </a:lnTo>
                      <a:lnTo>
                        <a:pt x="4824" y="2046"/>
                      </a:lnTo>
                      <a:lnTo>
                        <a:pt x="4830" y="2034"/>
                      </a:lnTo>
                      <a:lnTo>
                        <a:pt x="4830" y="2016"/>
                      </a:lnTo>
                      <a:lnTo>
                        <a:pt x="4890" y="2046"/>
                      </a:lnTo>
                      <a:lnTo>
                        <a:pt x="4902" y="2046"/>
                      </a:lnTo>
                      <a:lnTo>
                        <a:pt x="4926" y="2052"/>
                      </a:lnTo>
                      <a:lnTo>
                        <a:pt x="4962" y="2052"/>
                      </a:lnTo>
                      <a:lnTo>
                        <a:pt x="4974" y="2058"/>
                      </a:lnTo>
                      <a:lnTo>
                        <a:pt x="4980" y="2064"/>
                      </a:lnTo>
                      <a:lnTo>
                        <a:pt x="5004" y="2076"/>
                      </a:lnTo>
                      <a:lnTo>
                        <a:pt x="5010" y="2076"/>
                      </a:lnTo>
                      <a:lnTo>
                        <a:pt x="5022" y="2070"/>
                      </a:lnTo>
                      <a:lnTo>
                        <a:pt x="5040" y="2070"/>
                      </a:lnTo>
                      <a:lnTo>
                        <a:pt x="5052" y="2076"/>
                      </a:lnTo>
                      <a:lnTo>
                        <a:pt x="5058" y="2082"/>
                      </a:lnTo>
                      <a:lnTo>
                        <a:pt x="5064" y="2094"/>
                      </a:lnTo>
                      <a:lnTo>
                        <a:pt x="5076" y="2106"/>
                      </a:lnTo>
                      <a:lnTo>
                        <a:pt x="5088" y="2130"/>
                      </a:lnTo>
                      <a:lnTo>
                        <a:pt x="5094" y="2136"/>
                      </a:lnTo>
                      <a:lnTo>
                        <a:pt x="5094" y="2142"/>
                      </a:lnTo>
                      <a:lnTo>
                        <a:pt x="5118" y="2136"/>
                      </a:lnTo>
                      <a:lnTo>
                        <a:pt x="5118" y="2142"/>
                      </a:lnTo>
                      <a:lnTo>
                        <a:pt x="5136" y="2160"/>
                      </a:lnTo>
                      <a:lnTo>
                        <a:pt x="5166" y="2160"/>
                      </a:lnTo>
                      <a:lnTo>
                        <a:pt x="5172" y="2166"/>
                      </a:lnTo>
                      <a:lnTo>
                        <a:pt x="5184" y="2166"/>
                      </a:lnTo>
                      <a:lnTo>
                        <a:pt x="5196" y="2172"/>
                      </a:lnTo>
                      <a:lnTo>
                        <a:pt x="5208" y="2172"/>
                      </a:lnTo>
                      <a:lnTo>
                        <a:pt x="5220" y="2166"/>
                      </a:lnTo>
                      <a:lnTo>
                        <a:pt x="5274" y="2148"/>
                      </a:lnTo>
                      <a:lnTo>
                        <a:pt x="5322" y="2148"/>
                      </a:lnTo>
                      <a:lnTo>
                        <a:pt x="5334" y="2154"/>
                      </a:lnTo>
                      <a:lnTo>
                        <a:pt x="5340" y="2154"/>
                      </a:lnTo>
                      <a:lnTo>
                        <a:pt x="5346" y="2160"/>
                      </a:lnTo>
                      <a:lnTo>
                        <a:pt x="5382" y="2160"/>
                      </a:lnTo>
                      <a:lnTo>
                        <a:pt x="5406" y="2184"/>
                      </a:lnTo>
                      <a:lnTo>
                        <a:pt x="5466" y="2184"/>
                      </a:lnTo>
                      <a:lnTo>
                        <a:pt x="5472" y="2190"/>
                      </a:lnTo>
                      <a:lnTo>
                        <a:pt x="5472" y="2196"/>
                      </a:lnTo>
                      <a:lnTo>
                        <a:pt x="5484" y="2208"/>
                      </a:lnTo>
                      <a:lnTo>
                        <a:pt x="5484" y="2214"/>
                      </a:lnTo>
                      <a:lnTo>
                        <a:pt x="5502" y="2214"/>
                      </a:lnTo>
                      <a:lnTo>
                        <a:pt x="5514" y="2220"/>
                      </a:lnTo>
                      <a:lnTo>
                        <a:pt x="5514" y="2232"/>
                      </a:lnTo>
                      <a:lnTo>
                        <a:pt x="5520" y="2238"/>
                      </a:lnTo>
                      <a:lnTo>
                        <a:pt x="5586" y="2238"/>
                      </a:lnTo>
                      <a:lnTo>
                        <a:pt x="5592" y="2244"/>
                      </a:lnTo>
                      <a:lnTo>
                        <a:pt x="5598" y="2244"/>
                      </a:lnTo>
                      <a:lnTo>
                        <a:pt x="5610" y="2250"/>
                      </a:lnTo>
                      <a:lnTo>
                        <a:pt x="5634" y="2250"/>
                      </a:lnTo>
                      <a:lnTo>
                        <a:pt x="5646" y="2244"/>
                      </a:lnTo>
                      <a:lnTo>
                        <a:pt x="5664" y="2244"/>
                      </a:lnTo>
                      <a:lnTo>
                        <a:pt x="5670" y="2250"/>
                      </a:lnTo>
                      <a:lnTo>
                        <a:pt x="5670" y="2256"/>
                      </a:lnTo>
                      <a:lnTo>
                        <a:pt x="5676" y="2256"/>
                      </a:lnTo>
                      <a:lnTo>
                        <a:pt x="5694" y="2238"/>
                      </a:lnTo>
                      <a:lnTo>
                        <a:pt x="5694" y="2232"/>
                      </a:lnTo>
                      <a:lnTo>
                        <a:pt x="5742" y="2232"/>
                      </a:lnTo>
                      <a:lnTo>
                        <a:pt x="5754" y="2220"/>
                      </a:lnTo>
                      <a:lnTo>
                        <a:pt x="5790" y="2220"/>
                      </a:lnTo>
                      <a:lnTo>
                        <a:pt x="5802" y="2208"/>
                      </a:lnTo>
                      <a:lnTo>
                        <a:pt x="5802" y="2196"/>
                      </a:lnTo>
                      <a:lnTo>
                        <a:pt x="5832" y="2166"/>
                      </a:lnTo>
                      <a:lnTo>
                        <a:pt x="5850" y="2166"/>
                      </a:lnTo>
                      <a:lnTo>
                        <a:pt x="5862" y="2172"/>
                      </a:lnTo>
                      <a:lnTo>
                        <a:pt x="5898" y="2172"/>
                      </a:lnTo>
                      <a:lnTo>
                        <a:pt x="5916" y="2190"/>
                      </a:lnTo>
                      <a:lnTo>
                        <a:pt x="5928" y="2196"/>
                      </a:lnTo>
                      <a:lnTo>
                        <a:pt x="5952" y="2196"/>
                      </a:lnTo>
                      <a:lnTo>
                        <a:pt x="5964" y="2190"/>
                      </a:lnTo>
                      <a:lnTo>
                        <a:pt x="5970" y="2184"/>
                      </a:lnTo>
                      <a:lnTo>
                        <a:pt x="5994" y="2190"/>
                      </a:lnTo>
                      <a:lnTo>
                        <a:pt x="6012" y="2190"/>
                      </a:lnTo>
                      <a:lnTo>
                        <a:pt x="6048" y="2214"/>
                      </a:lnTo>
                      <a:lnTo>
                        <a:pt x="6084" y="2214"/>
                      </a:lnTo>
                      <a:lnTo>
                        <a:pt x="6090" y="2220"/>
                      </a:lnTo>
                      <a:lnTo>
                        <a:pt x="6102" y="2220"/>
                      </a:lnTo>
                      <a:lnTo>
                        <a:pt x="6120" y="2202"/>
                      </a:lnTo>
                      <a:lnTo>
                        <a:pt x="6120" y="2190"/>
                      </a:lnTo>
                      <a:lnTo>
                        <a:pt x="6144" y="2190"/>
                      </a:lnTo>
                      <a:lnTo>
                        <a:pt x="6156" y="2184"/>
                      </a:lnTo>
                      <a:lnTo>
                        <a:pt x="6162" y="2178"/>
                      </a:lnTo>
                      <a:lnTo>
                        <a:pt x="6162" y="2166"/>
                      </a:lnTo>
                      <a:lnTo>
                        <a:pt x="6150" y="2166"/>
                      </a:lnTo>
                      <a:lnTo>
                        <a:pt x="6144" y="2160"/>
                      </a:lnTo>
                      <a:lnTo>
                        <a:pt x="6138" y="2118"/>
                      </a:lnTo>
                      <a:lnTo>
                        <a:pt x="6138" y="2046"/>
                      </a:lnTo>
                      <a:lnTo>
                        <a:pt x="6156" y="2028"/>
                      </a:lnTo>
                      <a:lnTo>
                        <a:pt x="6156" y="2016"/>
                      </a:lnTo>
                      <a:lnTo>
                        <a:pt x="6150" y="2010"/>
                      </a:lnTo>
                      <a:lnTo>
                        <a:pt x="6138" y="2004"/>
                      </a:lnTo>
                      <a:lnTo>
                        <a:pt x="6126" y="1992"/>
                      </a:lnTo>
                      <a:lnTo>
                        <a:pt x="6114" y="1992"/>
                      </a:lnTo>
                      <a:lnTo>
                        <a:pt x="6108" y="1986"/>
                      </a:lnTo>
                      <a:lnTo>
                        <a:pt x="6096" y="1986"/>
                      </a:lnTo>
                      <a:lnTo>
                        <a:pt x="6078" y="1980"/>
                      </a:lnTo>
                      <a:lnTo>
                        <a:pt x="6072" y="1980"/>
                      </a:lnTo>
                      <a:lnTo>
                        <a:pt x="6072" y="1968"/>
                      </a:lnTo>
                      <a:lnTo>
                        <a:pt x="6078" y="1968"/>
                      </a:lnTo>
                      <a:lnTo>
                        <a:pt x="6120" y="1926"/>
                      </a:lnTo>
                      <a:lnTo>
                        <a:pt x="6156" y="1920"/>
                      </a:lnTo>
                      <a:lnTo>
                        <a:pt x="6162" y="1908"/>
                      </a:lnTo>
                      <a:lnTo>
                        <a:pt x="6204" y="1914"/>
                      </a:lnTo>
                      <a:lnTo>
                        <a:pt x="6258" y="1902"/>
                      </a:lnTo>
                      <a:lnTo>
                        <a:pt x="6294" y="1920"/>
                      </a:lnTo>
                      <a:lnTo>
                        <a:pt x="6330" y="1944"/>
                      </a:lnTo>
                      <a:lnTo>
                        <a:pt x="6402" y="1944"/>
                      </a:lnTo>
                      <a:lnTo>
                        <a:pt x="6408" y="1950"/>
                      </a:lnTo>
                      <a:lnTo>
                        <a:pt x="6420" y="1956"/>
                      </a:lnTo>
                      <a:lnTo>
                        <a:pt x="6426" y="1962"/>
                      </a:lnTo>
                      <a:lnTo>
                        <a:pt x="6438" y="1968"/>
                      </a:lnTo>
                      <a:lnTo>
                        <a:pt x="6438" y="1980"/>
                      </a:lnTo>
                      <a:lnTo>
                        <a:pt x="6444" y="1980"/>
                      </a:lnTo>
                      <a:lnTo>
                        <a:pt x="6456" y="1992"/>
                      </a:lnTo>
                      <a:lnTo>
                        <a:pt x="6468" y="1998"/>
                      </a:lnTo>
                      <a:lnTo>
                        <a:pt x="6480" y="2010"/>
                      </a:lnTo>
                      <a:lnTo>
                        <a:pt x="6492" y="2010"/>
                      </a:lnTo>
                      <a:lnTo>
                        <a:pt x="6498" y="2016"/>
                      </a:lnTo>
                      <a:lnTo>
                        <a:pt x="6504" y="2016"/>
                      </a:lnTo>
                      <a:lnTo>
                        <a:pt x="6510" y="2046"/>
                      </a:lnTo>
                      <a:lnTo>
                        <a:pt x="6558" y="2070"/>
                      </a:lnTo>
                      <a:lnTo>
                        <a:pt x="6570" y="2100"/>
                      </a:lnTo>
                      <a:lnTo>
                        <a:pt x="6582" y="2100"/>
                      </a:lnTo>
                      <a:lnTo>
                        <a:pt x="6630" y="2124"/>
                      </a:lnTo>
                      <a:lnTo>
                        <a:pt x="6636" y="2136"/>
                      </a:lnTo>
                      <a:lnTo>
                        <a:pt x="6654" y="2154"/>
                      </a:lnTo>
                      <a:lnTo>
                        <a:pt x="6660" y="2166"/>
                      </a:lnTo>
                      <a:lnTo>
                        <a:pt x="6672" y="2166"/>
                      </a:lnTo>
                      <a:lnTo>
                        <a:pt x="6678" y="2190"/>
                      </a:lnTo>
                      <a:lnTo>
                        <a:pt x="6684" y="2190"/>
                      </a:lnTo>
                      <a:lnTo>
                        <a:pt x="6690" y="2196"/>
                      </a:lnTo>
                      <a:lnTo>
                        <a:pt x="6714" y="2208"/>
                      </a:lnTo>
                      <a:lnTo>
                        <a:pt x="6720" y="2214"/>
                      </a:lnTo>
                      <a:lnTo>
                        <a:pt x="6732" y="2220"/>
                      </a:lnTo>
                      <a:lnTo>
                        <a:pt x="6780" y="2220"/>
                      </a:lnTo>
                      <a:lnTo>
                        <a:pt x="6792" y="2226"/>
                      </a:lnTo>
                      <a:lnTo>
                        <a:pt x="6798" y="2232"/>
                      </a:lnTo>
                      <a:lnTo>
                        <a:pt x="6810" y="2238"/>
                      </a:lnTo>
                      <a:lnTo>
                        <a:pt x="6822" y="2226"/>
                      </a:lnTo>
                      <a:lnTo>
                        <a:pt x="6834" y="2226"/>
                      </a:lnTo>
                      <a:lnTo>
                        <a:pt x="6852" y="2244"/>
                      </a:lnTo>
                      <a:lnTo>
                        <a:pt x="6864" y="2250"/>
                      </a:lnTo>
                      <a:lnTo>
                        <a:pt x="6882" y="2268"/>
                      </a:lnTo>
                      <a:lnTo>
                        <a:pt x="6924" y="2268"/>
                      </a:lnTo>
                      <a:lnTo>
                        <a:pt x="6942" y="2298"/>
                      </a:lnTo>
                      <a:lnTo>
                        <a:pt x="6960" y="2298"/>
                      </a:lnTo>
                      <a:lnTo>
                        <a:pt x="6966" y="2304"/>
                      </a:lnTo>
                      <a:lnTo>
                        <a:pt x="6966" y="2310"/>
                      </a:lnTo>
                      <a:lnTo>
                        <a:pt x="6972" y="2322"/>
                      </a:lnTo>
                      <a:lnTo>
                        <a:pt x="6972" y="2334"/>
                      </a:lnTo>
                      <a:lnTo>
                        <a:pt x="7014" y="2364"/>
                      </a:lnTo>
                      <a:lnTo>
                        <a:pt x="7038" y="2358"/>
                      </a:lnTo>
                      <a:lnTo>
                        <a:pt x="7050" y="2370"/>
                      </a:lnTo>
                      <a:lnTo>
                        <a:pt x="7068" y="2370"/>
                      </a:lnTo>
                      <a:lnTo>
                        <a:pt x="7068" y="2358"/>
                      </a:lnTo>
                      <a:lnTo>
                        <a:pt x="7098" y="2364"/>
                      </a:lnTo>
                      <a:lnTo>
                        <a:pt x="7098" y="2346"/>
                      </a:lnTo>
                      <a:lnTo>
                        <a:pt x="7104" y="2340"/>
                      </a:lnTo>
                      <a:lnTo>
                        <a:pt x="7110" y="2340"/>
                      </a:lnTo>
                      <a:lnTo>
                        <a:pt x="7122" y="2334"/>
                      </a:lnTo>
                      <a:lnTo>
                        <a:pt x="7152" y="2334"/>
                      </a:lnTo>
                      <a:lnTo>
                        <a:pt x="7158" y="2310"/>
                      </a:lnTo>
                      <a:lnTo>
                        <a:pt x="7200" y="2310"/>
                      </a:lnTo>
                      <a:lnTo>
                        <a:pt x="7212" y="2316"/>
                      </a:lnTo>
                      <a:lnTo>
                        <a:pt x="7218" y="2328"/>
                      </a:lnTo>
                      <a:lnTo>
                        <a:pt x="7218" y="2346"/>
                      </a:lnTo>
                      <a:lnTo>
                        <a:pt x="7242" y="2358"/>
                      </a:lnTo>
                      <a:lnTo>
                        <a:pt x="7242" y="2388"/>
                      </a:lnTo>
                      <a:lnTo>
                        <a:pt x="7224" y="2394"/>
                      </a:lnTo>
                      <a:lnTo>
                        <a:pt x="7236" y="2412"/>
                      </a:lnTo>
                      <a:lnTo>
                        <a:pt x="7236" y="2430"/>
                      </a:lnTo>
                      <a:lnTo>
                        <a:pt x="7248" y="2442"/>
                      </a:lnTo>
                      <a:lnTo>
                        <a:pt x="7248" y="2466"/>
                      </a:lnTo>
                      <a:lnTo>
                        <a:pt x="7266" y="2472"/>
                      </a:lnTo>
                      <a:lnTo>
                        <a:pt x="7260" y="2502"/>
                      </a:lnTo>
                      <a:lnTo>
                        <a:pt x="7266" y="2526"/>
                      </a:lnTo>
                      <a:lnTo>
                        <a:pt x="7260" y="2532"/>
                      </a:lnTo>
                      <a:lnTo>
                        <a:pt x="7254" y="2532"/>
                      </a:lnTo>
                      <a:lnTo>
                        <a:pt x="7254" y="2550"/>
                      </a:lnTo>
                      <a:lnTo>
                        <a:pt x="7260" y="2562"/>
                      </a:lnTo>
                      <a:lnTo>
                        <a:pt x="7260" y="2574"/>
                      </a:lnTo>
                      <a:lnTo>
                        <a:pt x="7254" y="2580"/>
                      </a:lnTo>
                      <a:lnTo>
                        <a:pt x="7248" y="2580"/>
                      </a:lnTo>
                      <a:lnTo>
                        <a:pt x="7236" y="2574"/>
                      </a:lnTo>
                      <a:lnTo>
                        <a:pt x="7224" y="2574"/>
                      </a:lnTo>
                      <a:lnTo>
                        <a:pt x="7206" y="2568"/>
                      </a:lnTo>
                      <a:lnTo>
                        <a:pt x="7194" y="2562"/>
                      </a:lnTo>
                      <a:lnTo>
                        <a:pt x="7170" y="2562"/>
                      </a:lnTo>
                      <a:lnTo>
                        <a:pt x="7164" y="2568"/>
                      </a:lnTo>
                      <a:lnTo>
                        <a:pt x="7170" y="2574"/>
                      </a:lnTo>
                      <a:lnTo>
                        <a:pt x="7170" y="2586"/>
                      </a:lnTo>
                      <a:lnTo>
                        <a:pt x="7146" y="2586"/>
                      </a:lnTo>
                      <a:lnTo>
                        <a:pt x="7146" y="2598"/>
                      </a:lnTo>
                      <a:lnTo>
                        <a:pt x="7152" y="2610"/>
                      </a:lnTo>
                      <a:lnTo>
                        <a:pt x="7158" y="2610"/>
                      </a:lnTo>
                      <a:lnTo>
                        <a:pt x="7170" y="2622"/>
                      </a:lnTo>
                      <a:lnTo>
                        <a:pt x="7182" y="2628"/>
                      </a:lnTo>
                      <a:lnTo>
                        <a:pt x="7194" y="2646"/>
                      </a:lnTo>
                      <a:lnTo>
                        <a:pt x="7206" y="2658"/>
                      </a:lnTo>
                      <a:lnTo>
                        <a:pt x="7212" y="2676"/>
                      </a:lnTo>
                      <a:lnTo>
                        <a:pt x="7212" y="2688"/>
                      </a:lnTo>
                      <a:lnTo>
                        <a:pt x="7224" y="2700"/>
                      </a:lnTo>
                      <a:lnTo>
                        <a:pt x="7230" y="2712"/>
                      </a:lnTo>
                      <a:lnTo>
                        <a:pt x="7236" y="2748"/>
                      </a:lnTo>
                      <a:lnTo>
                        <a:pt x="7206" y="2742"/>
                      </a:lnTo>
                      <a:lnTo>
                        <a:pt x="7200" y="2766"/>
                      </a:lnTo>
                      <a:lnTo>
                        <a:pt x="7224" y="2778"/>
                      </a:lnTo>
                      <a:lnTo>
                        <a:pt x="7260" y="2778"/>
                      </a:lnTo>
                      <a:lnTo>
                        <a:pt x="7260" y="2718"/>
                      </a:lnTo>
                      <a:lnTo>
                        <a:pt x="7266" y="2712"/>
                      </a:lnTo>
                      <a:lnTo>
                        <a:pt x="7272" y="2712"/>
                      </a:lnTo>
                      <a:lnTo>
                        <a:pt x="7284" y="2718"/>
                      </a:lnTo>
                      <a:lnTo>
                        <a:pt x="7290" y="2724"/>
                      </a:lnTo>
                      <a:lnTo>
                        <a:pt x="7302" y="2712"/>
                      </a:lnTo>
                      <a:lnTo>
                        <a:pt x="7308" y="2724"/>
                      </a:lnTo>
                      <a:lnTo>
                        <a:pt x="7314" y="2730"/>
                      </a:lnTo>
                      <a:lnTo>
                        <a:pt x="7320" y="2742"/>
                      </a:lnTo>
                      <a:lnTo>
                        <a:pt x="7332" y="2754"/>
                      </a:lnTo>
                      <a:lnTo>
                        <a:pt x="7344" y="2754"/>
                      </a:lnTo>
                      <a:lnTo>
                        <a:pt x="7356" y="2748"/>
                      </a:lnTo>
                      <a:lnTo>
                        <a:pt x="7368" y="2748"/>
                      </a:lnTo>
                      <a:lnTo>
                        <a:pt x="7374" y="2742"/>
                      </a:lnTo>
                      <a:lnTo>
                        <a:pt x="7380" y="2742"/>
                      </a:lnTo>
                      <a:lnTo>
                        <a:pt x="7380" y="2760"/>
                      </a:lnTo>
                      <a:lnTo>
                        <a:pt x="7386" y="2760"/>
                      </a:lnTo>
                      <a:lnTo>
                        <a:pt x="7392" y="2754"/>
                      </a:lnTo>
                      <a:lnTo>
                        <a:pt x="7404" y="2748"/>
                      </a:lnTo>
                      <a:lnTo>
                        <a:pt x="7422" y="2742"/>
                      </a:lnTo>
                      <a:lnTo>
                        <a:pt x="7440" y="2730"/>
                      </a:lnTo>
                      <a:lnTo>
                        <a:pt x="7452" y="2724"/>
                      </a:lnTo>
                      <a:lnTo>
                        <a:pt x="7464" y="2700"/>
                      </a:lnTo>
                      <a:lnTo>
                        <a:pt x="7464" y="2682"/>
                      </a:lnTo>
                      <a:lnTo>
                        <a:pt x="7470" y="2664"/>
                      </a:lnTo>
                      <a:lnTo>
                        <a:pt x="7470" y="2628"/>
                      </a:lnTo>
                      <a:lnTo>
                        <a:pt x="7494" y="2622"/>
                      </a:lnTo>
                      <a:lnTo>
                        <a:pt x="7494" y="2562"/>
                      </a:lnTo>
                      <a:lnTo>
                        <a:pt x="7500" y="2550"/>
                      </a:lnTo>
                      <a:lnTo>
                        <a:pt x="7506" y="2544"/>
                      </a:lnTo>
                      <a:lnTo>
                        <a:pt x="7518" y="2520"/>
                      </a:lnTo>
                      <a:lnTo>
                        <a:pt x="7518" y="2490"/>
                      </a:lnTo>
                      <a:lnTo>
                        <a:pt x="7524" y="2472"/>
                      </a:lnTo>
                      <a:lnTo>
                        <a:pt x="7524" y="2454"/>
                      </a:lnTo>
                      <a:lnTo>
                        <a:pt x="7518" y="2442"/>
                      </a:lnTo>
                      <a:lnTo>
                        <a:pt x="7518" y="2424"/>
                      </a:lnTo>
                      <a:lnTo>
                        <a:pt x="7512" y="2418"/>
                      </a:lnTo>
                      <a:lnTo>
                        <a:pt x="7512" y="2412"/>
                      </a:lnTo>
                      <a:lnTo>
                        <a:pt x="7518" y="2400"/>
                      </a:lnTo>
                      <a:lnTo>
                        <a:pt x="7524" y="2394"/>
                      </a:lnTo>
                      <a:lnTo>
                        <a:pt x="7524" y="2382"/>
                      </a:lnTo>
                      <a:lnTo>
                        <a:pt x="7530" y="2376"/>
                      </a:lnTo>
                      <a:lnTo>
                        <a:pt x="7530" y="2364"/>
                      </a:lnTo>
                      <a:lnTo>
                        <a:pt x="7524" y="2358"/>
                      </a:lnTo>
                      <a:lnTo>
                        <a:pt x="7518" y="2346"/>
                      </a:lnTo>
                      <a:lnTo>
                        <a:pt x="7524" y="2334"/>
                      </a:lnTo>
                      <a:lnTo>
                        <a:pt x="7530" y="2328"/>
                      </a:lnTo>
                      <a:lnTo>
                        <a:pt x="7536" y="2316"/>
                      </a:lnTo>
                      <a:lnTo>
                        <a:pt x="7536" y="2298"/>
                      </a:lnTo>
                      <a:lnTo>
                        <a:pt x="7530" y="2292"/>
                      </a:lnTo>
                      <a:lnTo>
                        <a:pt x="7530" y="2280"/>
                      </a:lnTo>
                      <a:lnTo>
                        <a:pt x="7518" y="2256"/>
                      </a:lnTo>
                      <a:lnTo>
                        <a:pt x="7512" y="2250"/>
                      </a:lnTo>
                      <a:lnTo>
                        <a:pt x="7512" y="2238"/>
                      </a:lnTo>
                      <a:lnTo>
                        <a:pt x="7506" y="2232"/>
                      </a:lnTo>
                      <a:lnTo>
                        <a:pt x="7506" y="2220"/>
                      </a:lnTo>
                      <a:lnTo>
                        <a:pt x="7500" y="2214"/>
                      </a:lnTo>
                      <a:lnTo>
                        <a:pt x="7500" y="2202"/>
                      </a:lnTo>
                      <a:lnTo>
                        <a:pt x="7494" y="2196"/>
                      </a:lnTo>
                      <a:lnTo>
                        <a:pt x="7482" y="2190"/>
                      </a:lnTo>
                      <a:lnTo>
                        <a:pt x="7476" y="2184"/>
                      </a:lnTo>
                      <a:lnTo>
                        <a:pt x="7482" y="2178"/>
                      </a:lnTo>
                      <a:lnTo>
                        <a:pt x="7476" y="2178"/>
                      </a:lnTo>
                      <a:lnTo>
                        <a:pt x="7470" y="2172"/>
                      </a:lnTo>
                      <a:lnTo>
                        <a:pt x="7458" y="2166"/>
                      </a:lnTo>
                      <a:lnTo>
                        <a:pt x="7446" y="2154"/>
                      </a:lnTo>
                      <a:lnTo>
                        <a:pt x="7440" y="2142"/>
                      </a:lnTo>
                      <a:lnTo>
                        <a:pt x="7434" y="2124"/>
                      </a:lnTo>
                      <a:lnTo>
                        <a:pt x="7434" y="2112"/>
                      </a:lnTo>
                      <a:lnTo>
                        <a:pt x="7428" y="2106"/>
                      </a:lnTo>
                      <a:lnTo>
                        <a:pt x="7428" y="2100"/>
                      </a:lnTo>
                      <a:lnTo>
                        <a:pt x="7416" y="2094"/>
                      </a:lnTo>
                      <a:lnTo>
                        <a:pt x="7416" y="2082"/>
                      </a:lnTo>
                      <a:lnTo>
                        <a:pt x="7422" y="2070"/>
                      </a:lnTo>
                      <a:lnTo>
                        <a:pt x="7422" y="2040"/>
                      </a:lnTo>
                      <a:lnTo>
                        <a:pt x="7410" y="2028"/>
                      </a:lnTo>
                      <a:lnTo>
                        <a:pt x="7404" y="2016"/>
                      </a:lnTo>
                      <a:lnTo>
                        <a:pt x="7398" y="2010"/>
                      </a:lnTo>
                      <a:lnTo>
                        <a:pt x="7380" y="2004"/>
                      </a:lnTo>
                      <a:lnTo>
                        <a:pt x="7380" y="1998"/>
                      </a:lnTo>
                      <a:lnTo>
                        <a:pt x="7374" y="1992"/>
                      </a:lnTo>
                      <a:lnTo>
                        <a:pt x="7368" y="1980"/>
                      </a:lnTo>
                      <a:lnTo>
                        <a:pt x="7356" y="1968"/>
                      </a:lnTo>
                      <a:lnTo>
                        <a:pt x="7344" y="1968"/>
                      </a:lnTo>
                      <a:lnTo>
                        <a:pt x="7332" y="1956"/>
                      </a:lnTo>
                      <a:lnTo>
                        <a:pt x="7326" y="1956"/>
                      </a:lnTo>
                      <a:lnTo>
                        <a:pt x="7308" y="1950"/>
                      </a:lnTo>
                      <a:lnTo>
                        <a:pt x="7302" y="1938"/>
                      </a:lnTo>
                      <a:lnTo>
                        <a:pt x="7308" y="1938"/>
                      </a:lnTo>
                      <a:lnTo>
                        <a:pt x="7314" y="1944"/>
                      </a:lnTo>
                      <a:lnTo>
                        <a:pt x="7326" y="1944"/>
                      </a:lnTo>
                      <a:lnTo>
                        <a:pt x="7332" y="1950"/>
                      </a:lnTo>
                      <a:lnTo>
                        <a:pt x="7344" y="1950"/>
                      </a:lnTo>
                      <a:lnTo>
                        <a:pt x="7350" y="1944"/>
                      </a:lnTo>
                      <a:lnTo>
                        <a:pt x="7350" y="1938"/>
                      </a:lnTo>
                      <a:lnTo>
                        <a:pt x="7344" y="1938"/>
                      </a:lnTo>
                      <a:lnTo>
                        <a:pt x="7332" y="1932"/>
                      </a:lnTo>
                      <a:lnTo>
                        <a:pt x="7326" y="1926"/>
                      </a:lnTo>
                      <a:lnTo>
                        <a:pt x="7320" y="1926"/>
                      </a:lnTo>
                      <a:lnTo>
                        <a:pt x="7242" y="1890"/>
                      </a:lnTo>
                      <a:lnTo>
                        <a:pt x="7236" y="1890"/>
                      </a:lnTo>
                      <a:lnTo>
                        <a:pt x="7230" y="1884"/>
                      </a:lnTo>
                      <a:lnTo>
                        <a:pt x="7218" y="1878"/>
                      </a:lnTo>
                      <a:lnTo>
                        <a:pt x="7206" y="1866"/>
                      </a:lnTo>
                      <a:lnTo>
                        <a:pt x="7194" y="1860"/>
                      </a:lnTo>
                      <a:lnTo>
                        <a:pt x="7188" y="1854"/>
                      </a:lnTo>
                      <a:lnTo>
                        <a:pt x="7170" y="1854"/>
                      </a:lnTo>
                      <a:lnTo>
                        <a:pt x="7164" y="1860"/>
                      </a:lnTo>
                      <a:lnTo>
                        <a:pt x="7152" y="1866"/>
                      </a:lnTo>
                      <a:lnTo>
                        <a:pt x="7116" y="1854"/>
                      </a:lnTo>
                      <a:lnTo>
                        <a:pt x="7152" y="1896"/>
                      </a:lnTo>
                      <a:lnTo>
                        <a:pt x="7146" y="1920"/>
                      </a:lnTo>
                      <a:lnTo>
                        <a:pt x="7134" y="1920"/>
                      </a:lnTo>
                      <a:lnTo>
                        <a:pt x="7134" y="1890"/>
                      </a:lnTo>
                      <a:lnTo>
                        <a:pt x="7116" y="1878"/>
                      </a:lnTo>
                      <a:lnTo>
                        <a:pt x="7116" y="1908"/>
                      </a:lnTo>
                      <a:lnTo>
                        <a:pt x="7068" y="1908"/>
                      </a:lnTo>
                      <a:lnTo>
                        <a:pt x="7074" y="1902"/>
                      </a:lnTo>
                      <a:lnTo>
                        <a:pt x="7074" y="1884"/>
                      </a:lnTo>
                      <a:lnTo>
                        <a:pt x="7068" y="1878"/>
                      </a:lnTo>
                      <a:lnTo>
                        <a:pt x="7044" y="1878"/>
                      </a:lnTo>
                      <a:lnTo>
                        <a:pt x="7038" y="1890"/>
                      </a:lnTo>
                      <a:lnTo>
                        <a:pt x="7014" y="1890"/>
                      </a:lnTo>
                      <a:lnTo>
                        <a:pt x="7002" y="1854"/>
                      </a:lnTo>
                      <a:lnTo>
                        <a:pt x="6996" y="1854"/>
                      </a:lnTo>
                      <a:lnTo>
                        <a:pt x="6984" y="1830"/>
                      </a:lnTo>
                      <a:lnTo>
                        <a:pt x="6912" y="1836"/>
                      </a:lnTo>
                      <a:lnTo>
                        <a:pt x="6906" y="1824"/>
                      </a:lnTo>
                      <a:lnTo>
                        <a:pt x="6882" y="1824"/>
                      </a:lnTo>
                      <a:lnTo>
                        <a:pt x="6870" y="1818"/>
                      </a:lnTo>
                      <a:lnTo>
                        <a:pt x="6864" y="1812"/>
                      </a:lnTo>
                      <a:lnTo>
                        <a:pt x="6864" y="1794"/>
                      </a:lnTo>
                      <a:lnTo>
                        <a:pt x="6876" y="1788"/>
                      </a:lnTo>
                      <a:lnTo>
                        <a:pt x="6888" y="1776"/>
                      </a:lnTo>
                      <a:lnTo>
                        <a:pt x="6900" y="1776"/>
                      </a:lnTo>
                      <a:lnTo>
                        <a:pt x="6900" y="1752"/>
                      </a:lnTo>
                      <a:lnTo>
                        <a:pt x="6906" y="1752"/>
                      </a:lnTo>
                      <a:lnTo>
                        <a:pt x="6918" y="1746"/>
                      </a:lnTo>
                      <a:lnTo>
                        <a:pt x="6930" y="1734"/>
                      </a:lnTo>
                      <a:lnTo>
                        <a:pt x="6930" y="1728"/>
                      </a:lnTo>
                      <a:lnTo>
                        <a:pt x="6936" y="1716"/>
                      </a:lnTo>
                      <a:lnTo>
                        <a:pt x="6936" y="1710"/>
                      </a:lnTo>
                      <a:lnTo>
                        <a:pt x="6942" y="1698"/>
                      </a:lnTo>
                      <a:lnTo>
                        <a:pt x="6930" y="1686"/>
                      </a:lnTo>
                      <a:lnTo>
                        <a:pt x="6942" y="1662"/>
                      </a:lnTo>
                      <a:lnTo>
                        <a:pt x="6930" y="1650"/>
                      </a:lnTo>
                      <a:lnTo>
                        <a:pt x="6948" y="1632"/>
                      </a:lnTo>
                      <a:lnTo>
                        <a:pt x="6972" y="1626"/>
                      </a:lnTo>
                      <a:lnTo>
                        <a:pt x="6960" y="1596"/>
                      </a:lnTo>
                      <a:lnTo>
                        <a:pt x="6984" y="1590"/>
                      </a:lnTo>
                      <a:lnTo>
                        <a:pt x="6960" y="1554"/>
                      </a:lnTo>
                      <a:lnTo>
                        <a:pt x="6990" y="1542"/>
                      </a:lnTo>
                      <a:lnTo>
                        <a:pt x="6990" y="1500"/>
                      </a:lnTo>
                      <a:lnTo>
                        <a:pt x="6996" y="1488"/>
                      </a:lnTo>
                      <a:lnTo>
                        <a:pt x="7002" y="1482"/>
                      </a:lnTo>
                      <a:lnTo>
                        <a:pt x="7020" y="1470"/>
                      </a:lnTo>
                      <a:lnTo>
                        <a:pt x="7032" y="1464"/>
                      </a:lnTo>
                      <a:lnTo>
                        <a:pt x="7050" y="1464"/>
                      </a:lnTo>
                      <a:lnTo>
                        <a:pt x="7068" y="1470"/>
                      </a:lnTo>
                      <a:lnTo>
                        <a:pt x="7188" y="1470"/>
                      </a:lnTo>
                      <a:lnTo>
                        <a:pt x="7206" y="1488"/>
                      </a:lnTo>
                      <a:lnTo>
                        <a:pt x="7224" y="1482"/>
                      </a:lnTo>
                      <a:lnTo>
                        <a:pt x="7218" y="1464"/>
                      </a:lnTo>
                      <a:lnTo>
                        <a:pt x="7290" y="1482"/>
                      </a:lnTo>
                      <a:lnTo>
                        <a:pt x="7320" y="1464"/>
                      </a:lnTo>
                      <a:lnTo>
                        <a:pt x="7350" y="1488"/>
                      </a:lnTo>
                      <a:lnTo>
                        <a:pt x="7356" y="1452"/>
                      </a:lnTo>
                      <a:lnTo>
                        <a:pt x="7434" y="1452"/>
                      </a:lnTo>
                      <a:lnTo>
                        <a:pt x="7446" y="1458"/>
                      </a:lnTo>
                      <a:lnTo>
                        <a:pt x="7452" y="1470"/>
                      </a:lnTo>
                      <a:lnTo>
                        <a:pt x="7458" y="1470"/>
                      </a:lnTo>
                      <a:lnTo>
                        <a:pt x="7464" y="1464"/>
                      </a:lnTo>
                      <a:lnTo>
                        <a:pt x="7476" y="1464"/>
                      </a:lnTo>
                      <a:lnTo>
                        <a:pt x="7482" y="1458"/>
                      </a:lnTo>
                      <a:lnTo>
                        <a:pt x="7494" y="1452"/>
                      </a:lnTo>
                      <a:lnTo>
                        <a:pt x="7518" y="1470"/>
                      </a:lnTo>
                      <a:lnTo>
                        <a:pt x="7560" y="1476"/>
                      </a:lnTo>
                      <a:lnTo>
                        <a:pt x="7506" y="1488"/>
                      </a:lnTo>
                      <a:lnTo>
                        <a:pt x="7506" y="1494"/>
                      </a:lnTo>
                      <a:lnTo>
                        <a:pt x="7512" y="1500"/>
                      </a:lnTo>
                      <a:lnTo>
                        <a:pt x="7524" y="1506"/>
                      </a:lnTo>
                      <a:lnTo>
                        <a:pt x="7530" y="1512"/>
                      </a:lnTo>
                      <a:lnTo>
                        <a:pt x="7542" y="1512"/>
                      </a:lnTo>
                      <a:lnTo>
                        <a:pt x="7548" y="1506"/>
                      </a:lnTo>
                      <a:lnTo>
                        <a:pt x="7560" y="1506"/>
                      </a:lnTo>
                      <a:lnTo>
                        <a:pt x="7572" y="1500"/>
                      </a:lnTo>
                      <a:lnTo>
                        <a:pt x="7578" y="1494"/>
                      </a:lnTo>
                      <a:lnTo>
                        <a:pt x="7584" y="1494"/>
                      </a:lnTo>
                      <a:lnTo>
                        <a:pt x="7614" y="1506"/>
                      </a:lnTo>
                      <a:lnTo>
                        <a:pt x="7638" y="1488"/>
                      </a:lnTo>
                      <a:lnTo>
                        <a:pt x="7644" y="1488"/>
                      </a:lnTo>
                      <a:lnTo>
                        <a:pt x="7650" y="1494"/>
                      </a:lnTo>
                      <a:lnTo>
                        <a:pt x="7686" y="1494"/>
                      </a:lnTo>
                      <a:lnTo>
                        <a:pt x="7692" y="1488"/>
                      </a:lnTo>
                      <a:lnTo>
                        <a:pt x="7692" y="1476"/>
                      </a:lnTo>
                      <a:lnTo>
                        <a:pt x="7728" y="1482"/>
                      </a:lnTo>
                      <a:lnTo>
                        <a:pt x="7680" y="1452"/>
                      </a:lnTo>
                      <a:lnTo>
                        <a:pt x="7650" y="1464"/>
                      </a:lnTo>
                      <a:lnTo>
                        <a:pt x="7644" y="1446"/>
                      </a:lnTo>
                      <a:lnTo>
                        <a:pt x="7638" y="1434"/>
                      </a:lnTo>
                      <a:lnTo>
                        <a:pt x="7632" y="1428"/>
                      </a:lnTo>
                      <a:lnTo>
                        <a:pt x="7626" y="1416"/>
                      </a:lnTo>
                      <a:lnTo>
                        <a:pt x="7626" y="1398"/>
                      </a:lnTo>
                      <a:lnTo>
                        <a:pt x="7650" y="1374"/>
                      </a:lnTo>
                      <a:lnTo>
                        <a:pt x="7644" y="1344"/>
                      </a:lnTo>
                      <a:lnTo>
                        <a:pt x="7662" y="1332"/>
                      </a:lnTo>
                      <a:lnTo>
                        <a:pt x="7650" y="1326"/>
                      </a:lnTo>
                      <a:lnTo>
                        <a:pt x="7638" y="1314"/>
                      </a:lnTo>
                      <a:lnTo>
                        <a:pt x="7638" y="1302"/>
                      </a:lnTo>
                      <a:lnTo>
                        <a:pt x="7644" y="1296"/>
                      </a:lnTo>
                      <a:lnTo>
                        <a:pt x="7662" y="1290"/>
                      </a:lnTo>
                      <a:lnTo>
                        <a:pt x="7698" y="1290"/>
                      </a:lnTo>
                      <a:lnTo>
                        <a:pt x="7710" y="1296"/>
                      </a:lnTo>
                      <a:lnTo>
                        <a:pt x="7728" y="1296"/>
                      </a:lnTo>
                      <a:lnTo>
                        <a:pt x="7746" y="1278"/>
                      </a:lnTo>
                      <a:lnTo>
                        <a:pt x="7782" y="1308"/>
                      </a:lnTo>
                      <a:lnTo>
                        <a:pt x="7806" y="1290"/>
                      </a:lnTo>
                      <a:lnTo>
                        <a:pt x="7812" y="1302"/>
                      </a:lnTo>
                      <a:lnTo>
                        <a:pt x="7818" y="1308"/>
                      </a:lnTo>
                      <a:lnTo>
                        <a:pt x="7830" y="1332"/>
                      </a:lnTo>
                      <a:lnTo>
                        <a:pt x="7830" y="1338"/>
                      </a:lnTo>
                      <a:lnTo>
                        <a:pt x="7836" y="1344"/>
                      </a:lnTo>
                      <a:lnTo>
                        <a:pt x="7878" y="1344"/>
                      </a:lnTo>
                      <a:lnTo>
                        <a:pt x="7878" y="1362"/>
                      </a:lnTo>
                      <a:lnTo>
                        <a:pt x="7884" y="1374"/>
                      </a:lnTo>
                      <a:lnTo>
                        <a:pt x="7890" y="1380"/>
                      </a:lnTo>
                      <a:lnTo>
                        <a:pt x="7896" y="1380"/>
                      </a:lnTo>
                      <a:lnTo>
                        <a:pt x="7914" y="1362"/>
                      </a:lnTo>
                      <a:lnTo>
                        <a:pt x="7932" y="1326"/>
                      </a:lnTo>
                      <a:lnTo>
                        <a:pt x="7938" y="1320"/>
                      </a:lnTo>
                      <a:lnTo>
                        <a:pt x="7938" y="1314"/>
                      </a:lnTo>
                      <a:lnTo>
                        <a:pt x="7962" y="1302"/>
                      </a:lnTo>
                      <a:lnTo>
                        <a:pt x="7992" y="1314"/>
                      </a:lnTo>
                      <a:lnTo>
                        <a:pt x="7986" y="1302"/>
                      </a:lnTo>
                      <a:lnTo>
                        <a:pt x="7962" y="1284"/>
                      </a:lnTo>
                      <a:lnTo>
                        <a:pt x="7956" y="1278"/>
                      </a:lnTo>
                      <a:lnTo>
                        <a:pt x="7932" y="1266"/>
                      </a:lnTo>
                      <a:lnTo>
                        <a:pt x="7926" y="1254"/>
                      </a:lnTo>
                      <a:lnTo>
                        <a:pt x="7914" y="1248"/>
                      </a:lnTo>
                      <a:lnTo>
                        <a:pt x="7908" y="1242"/>
                      </a:lnTo>
                      <a:lnTo>
                        <a:pt x="7908" y="1230"/>
                      </a:lnTo>
                      <a:lnTo>
                        <a:pt x="7962" y="1230"/>
                      </a:lnTo>
                      <a:lnTo>
                        <a:pt x="7992" y="1236"/>
                      </a:lnTo>
                      <a:lnTo>
                        <a:pt x="8052" y="1236"/>
                      </a:lnTo>
                      <a:lnTo>
                        <a:pt x="8052" y="1254"/>
                      </a:lnTo>
                      <a:lnTo>
                        <a:pt x="8040" y="1254"/>
                      </a:lnTo>
                      <a:lnTo>
                        <a:pt x="8028" y="1248"/>
                      </a:lnTo>
                      <a:lnTo>
                        <a:pt x="7992" y="1248"/>
                      </a:lnTo>
                      <a:lnTo>
                        <a:pt x="7992" y="1266"/>
                      </a:lnTo>
                      <a:lnTo>
                        <a:pt x="8016" y="1290"/>
                      </a:lnTo>
                      <a:lnTo>
                        <a:pt x="8028" y="1296"/>
                      </a:lnTo>
                      <a:lnTo>
                        <a:pt x="8034" y="1320"/>
                      </a:lnTo>
                      <a:lnTo>
                        <a:pt x="8064" y="1326"/>
                      </a:lnTo>
                      <a:lnTo>
                        <a:pt x="8058" y="1344"/>
                      </a:lnTo>
                      <a:lnTo>
                        <a:pt x="8076" y="1362"/>
                      </a:lnTo>
                      <a:lnTo>
                        <a:pt x="8046" y="1368"/>
                      </a:lnTo>
                      <a:lnTo>
                        <a:pt x="8040" y="1380"/>
                      </a:lnTo>
                      <a:lnTo>
                        <a:pt x="8022" y="1386"/>
                      </a:lnTo>
                      <a:lnTo>
                        <a:pt x="8028" y="1398"/>
                      </a:lnTo>
                      <a:lnTo>
                        <a:pt x="8028" y="1404"/>
                      </a:lnTo>
                      <a:lnTo>
                        <a:pt x="8034" y="1416"/>
                      </a:lnTo>
                      <a:lnTo>
                        <a:pt x="8034" y="1440"/>
                      </a:lnTo>
                      <a:lnTo>
                        <a:pt x="8028" y="1452"/>
                      </a:lnTo>
                      <a:lnTo>
                        <a:pt x="8016" y="1464"/>
                      </a:lnTo>
                      <a:lnTo>
                        <a:pt x="8004" y="1488"/>
                      </a:lnTo>
                      <a:lnTo>
                        <a:pt x="8004" y="1506"/>
                      </a:lnTo>
                      <a:lnTo>
                        <a:pt x="8010" y="1506"/>
                      </a:lnTo>
                      <a:lnTo>
                        <a:pt x="8016" y="1512"/>
                      </a:lnTo>
                      <a:lnTo>
                        <a:pt x="8022" y="1524"/>
                      </a:lnTo>
                      <a:lnTo>
                        <a:pt x="8016" y="1530"/>
                      </a:lnTo>
                      <a:lnTo>
                        <a:pt x="8010" y="1542"/>
                      </a:lnTo>
                      <a:lnTo>
                        <a:pt x="7986" y="1566"/>
                      </a:lnTo>
                      <a:lnTo>
                        <a:pt x="7974" y="1572"/>
                      </a:lnTo>
                      <a:lnTo>
                        <a:pt x="7968" y="1578"/>
                      </a:lnTo>
                      <a:lnTo>
                        <a:pt x="7962" y="1578"/>
                      </a:lnTo>
                      <a:lnTo>
                        <a:pt x="7962" y="1596"/>
                      </a:lnTo>
                      <a:lnTo>
                        <a:pt x="7944" y="1596"/>
                      </a:lnTo>
                      <a:lnTo>
                        <a:pt x="7950" y="1596"/>
                      </a:lnTo>
                      <a:lnTo>
                        <a:pt x="7956" y="1602"/>
                      </a:lnTo>
                      <a:lnTo>
                        <a:pt x="7968" y="1608"/>
                      </a:lnTo>
                      <a:lnTo>
                        <a:pt x="7980" y="1632"/>
                      </a:lnTo>
                      <a:lnTo>
                        <a:pt x="7974" y="1650"/>
                      </a:lnTo>
                      <a:lnTo>
                        <a:pt x="7974" y="1662"/>
                      </a:lnTo>
                      <a:lnTo>
                        <a:pt x="7968" y="1674"/>
                      </a:lnTo>
                      <a:lnTo>
                        <a:pt x="7968" y="1686"/>
                      </a:lnTo>
                      <a:lnTo>
                        <a:pt x="7974" y="1704"/>
                      </a:lnTo>
                      <a:lnTo>
                        <a:pt x="7992" y="1722"/>
                      </a:lnTo>
                      <a:lnTo>
                        <a:pt x="8016" y="1752"/>
                      </a:lnTo>
                      <a:lnTo>
                        <a:pt x="8046" y="1776"/>
                      </a:lnTo>
                      <a:lnTo>
                        <a:pt x="8070" y="1800"/>
                      </a:lnTo>
                      <a:lnTo>
                        <a:pt x="8082" y="1806"/>
                      </a:lnTo>
                      <a:lnTo>
                        <a:pt x="8142" y="1872"/>
                      </a:lnTo>
                      <a:lnTo>
                        <a:pt x="8154" y="1866"/>
                      </a:lnTo>
                      <a:lnTo>
                        <a:pt x="8238" y="1962"/>
                      </a:lnTo>
                      <a:lnTo>
                        <a:pt x="8286" y="1980"/>
                      </a:lnTo>
                      <a:lnTo>
                        <a:pt x="8310" y="2004"/>
                      </a:lnTo>
                      <a:lnTo>
                        <a:pt x="8316" y="2016"/>
                      </a:lnTo>
                      <a:lnTo>
                        <a:pt x="8328" y="2022"/>
                      </a:lnTo>
                      <a:lnTo>
                        <a:pt x="8334" y="2034"/>
                      </a:lnTo>
                      <a:lnTo>
                        <a:pt x="8388" y="2088"/>
                      </a:lnTo>
                      <a:lnTo>
                        <a:pt x="8406" y="2088"/>
                      </a:lnTo>
                      <a:lnTo>
                        <a:pt x="8406" y="2106"/>
                      </a:lnTo>
                      <a:lnTo>
                        <a:pt x="8418" y="2106"/>
                      </a:lnTo>
                      <a:lnTo>
                        <a:pt x="8430" y="2100"/>
                      </a:lnTo>
                      <a:lnTo>
                        <a:pt x="8436" y="2094"/>
                      </a:lnTo>
                      <a:lnTo>
                        <a:pt x="8442" y="2082"/>
                      </a:lnTo>
                      <a:lnTo>
                        <a:pt x="8442" y="2076"/>
                      </a:lnTo>
                      <a:lnTo>
                        <a:pt x="8430" y="2064"/>
                      </a:lnTo>
                      <a:lnTo>
                        <a:pt x="8436" y="2058"/>
                      </a:lnTo>
                      <a:lnTo>
                        <a:pt x="8442" y="2046"/>
                      </a:lnTo>
                      <a:lnTo>
                        <a:pt x="8448" y="2040"/>
                      </a:lnTo>
                      <a:lnTo>
                        <a:pt x="8448" y="2022"/>
                      </a:lnTo>
                      <a:lnTo>
                        <a:pt x="8430" y="2004"/>
                      </a:lnTo>
                      <a:lnTo>
                        <a:pt x="8418" y="1998"/>
                      </a:lnTo>
                      <a:lnTo>
                        <a:pt x="8406" y="1974"/>
                      </a:lnTo>
                      <a:lnTo>
                        <a:pt x="8406" y="1962"/>
                      </a:lnTo>
                      <a:lnTo>
                        <a:pt x="8412" y="1950"/>
                      </a:lnTo>
                      <a:lnTo>
                        <a:pt x="8430" y="1932"/>
                      </a:lnTo>
                      <a:lnTo>
                        <a:pt x="8442" y="1932"/>
                      </a:lnTo>
                      <a:lnTo>
                        <a:pt x="8454" y="1938"/>
                      </a:lnTo>
                      <a:lnTo>
                        <a:pt x="8460" y="1938"/>
                      </a:lnTo>
                      <a:lnTo>
                        <a:pt x="8466" y="1944"/>
                      </a:lnTo>
                      <a:lnTo>
                        <a:pt x="8472" y="1944"/>
                      </a:lnTo>
                      <a:lnTo>
                        <a:pt x="8466" y="1938"/>
                      </a:lnTo>
                      <a:lnTo>
                        <a:pt x="8460" y="1926"/>
                      </a:lnTo>
                      <a:lnTo>
                        <a:pt x="8448" y="1920"/>
                      </a:lnTo>
                      <a:lnTo>
                        <a:pt x="8442" y="1908"/>
                      </a:lnTo>
                      <a:lnTo>
                        <a:pt x="8424" y="1890"/>
                      </a:lnTo>
                      <a:lnTo>
                        <a:pt x="8412" y="1890"/>
                      </a:lnTo>
                      <a:lnTo>
                        <a:pt x="8406" y="1884"/>
                      </a:lnTo>
                      <a:lnTo>
                        <a:pt x="8400" y="1872"/>
                      </a:lnTo>
                      <a:lnTo>
                        <a:pt x="8400" y="1860"/>
                      </a:lnTo>
                      <a:lnTo>
                        <a:pt x="8406" y="1848"/>
                      </a:lnTo>
                      <a:lnTo>
                        <a:pt x="8412" y="1842"/>
                      </a:lnTo>
                      <a:lnTo>
                        <a:pt x="8424" y="1836"/>
                      </a:lnTo>
                      <a:lnTo>
                        <a:pt x="8430" y="1830"/>
                      </a:lnTo>
                      <a:lnTo>
                        <a:pt x="8442" y="1836"/>
                      </a:lnTo>
                      <a:lnTo>
                        <a:pt x="8466" y="1836"/>
                      </a:lnTo>
                      <a:lnTo>
                        <a:pt x="8472" y="1830"/>
                      </a:lnTo>
                      <a:lnTo>
                        <a:pt x="8472" y="1812"/>
                      </a:lnTo>
                      <a:lnTo>
                        <a:pt x="8454" y="1794"/>
                      </a:lnTo>
                      <a:lnTo>
                        <a:pt x="8436" y="1788"/>
                      </a:lnTo>
                      <a:lnTo>
                        <a:pt x="8424" y="1782"/>
                      </a:lnTo>
                      <a:lnTo>
                        <a:pt x="8406" y="1770"/>
                      </a:lnTo>
                      <a:lnTo>
                        <a:pt x="8394" y="1758"/>
                      </a:lnTo>
                      <a:lnTo>
                        <a:pt x="8388" y="1740"/>
                      </a:lnTo>
                      <a:lnTo>
                        <a:pt x="8376" y="1716"/>
                      </a:lnTo>
                      <a:lnTo>
                        <a:pt x="8376" y="1704"/>
                      </a:lnTo>
                      <a:lnTo>
                        <a:pt x="8370" y="1698"/>
                      </a:lnTo>
                      <a:lnTo>
                        <a:pt x="8370" y="1692"/>
                      </a:lnTo>
                      <a:lnTo>
                        <a:pt x="8382" y="1686"/>
                      </a:lnTo>
                      <a:lnTo>
                        <a:pt x="8406" y="1710"/>
                      </a:lnTo>
                      <a:lnTo>
                        <a:pt x="8418" y="1716"/>
                      </a:lnTo>
                      <a:lnTo>
                        <a:pt x="8430" y="1716"/>
                      </a:lnTo>
                      <a:lnTo>
                        <a:pt x="8430" y="1710"/>
                      </a:lnTo>
                      <a:lnTo>
                        <a:pt x="8424" y="1704"/>
                      </a:lnTo>
                      <a:lnTo>
                        <a:pt x="8418" y="1692"/>
                      </a:lnTo>
                      <a:lnTo>
                        <a:pt x="8412" y="1686"/>
                      </a:lnTo>
                      <a:lnTo>
                        <a:pt x="8406" y="1674"/>
                      </a:lnTo>
                      <a:lnTo>
                        <a:pt x="8400" y="1668"/>
                      </a:lnTo>
                      <a:lnTo>
                        <a:pt x="8364" y="1668"/>
                      </a:lnTo>
                      <a:lnTo>
                        <a:pt x="8316" y="1626"/>
                      </a:lnTo>
                      <a:lnTo>
                        <a:pt x="8316" y="1596"/>
                      </a:lnTo>
                      <a:lnTo>
                        <a:pt x="8310" y="1590"/>
                      </a:lnTo>
                      <a:lnTo>
                        <a:pt x="8298" y="1584"/>
                      </a:lnTo>
                      <a:lnTo>
                        <a:pt x="8280" y="1578"/>
                      </a:lnTo>
                      <a:lnTo>
                        <a:pt x="8268" y="1572"/>
                      </a:lnTo>
                      <a:lnTo>
                        <a:pt x="8256" y="1572"/>
                      </a:lnTo>
                      <a:lnTo>
                        <a:pt x="8256" y="1590"/>
                      </a:lnTo>
                      <a:lnTo>
                        <a:pt x="8250" y="1590"/>
                      </a:lnTo>
                      <a:lnTo>
                        <a:pt x="8244" y="1584"/>
                      </a:lnTo>
                      <a:lnTo>
                        <a:pt x="8232" y="1584"/>
                      </a:lnTo>
                      <a:lnTo>
                        <a:pt x="8214" y="1572"/>
                      </a:lnTo>
                      <a:lnTo>
                        <a:pt x="8202" y="1566"/>
                      </a:lnTo>
                      <a:lnTo>
                        <a:pt x="8196" y="1560"/>
                      </a:lnTo>
                      <a:lnTo>
                        <a:pt x="8190" y="1548"/>
                      </a:lnTo>
                      <a:lnTo>
                        <a:pt x="8190" y="1536"/>
                      </a:lnTo>
                      <a:lnTo>
                        <a:pt x="8196" y="1524"/>
                      </a:lnTo>
                      <a:lnTo>
                        <a:pt x="8196" y="1500"/>
                      </a:lnTo>
                      <a:lnTo>
                        <a:pt x="8184" y="1476"/>
                      </a:lnTo>
                      <a:lnTo>
                        <a:pt x="8166" y="1458"/>
                      </a:lnTo>
                      <a:lnTo>
                        <a:pt x="8154" y="1452"/>
                      </a:lnTo>
                      <a:lnTo>
                        <a:pt x="8154" y="1434"/>
                      </a:lnTo>
                      <a:lnTo>
                        <a:pt x="8160" y="1428"/>
                      </a:lnTo>
                      <a:lnTo>
                        <a:pt x="8172" y="1428"/>
                      </a:lnTo>
                      <a:lnTo>
                        <a:pt x="8184" y="1434"/>
                      </a:lnTo>
                      <a:lnTo>
                        <a:pt x="8196" y="1416"/>
                      </a:lnTo>
                      <a:lnTo>
                        <a:pt x="8232" y="1446"/>
                      </a:lnTo>
                      <a:lnTo>
                        <a:pt x="8238" y="1440"/>
                      </a:lnTo>
                      <a:lnTo>
                        <a:pt x="8226" y="1428"/>
                      </a:lnTo>
                      <a:lnTo>
                        <a:pt x="8226" y="1422"/>
                      </a:lnTo>
                      <a:lnTo>
                        <a:pt x="8232" y="1416"/>
                      </a:lnTo>
                      <a:lnTo>
                        <a:pt x="8232" y="1404"/>
                      </a:lnTo>
                      <a:lnTo>
                        <a:pt x="8238" y="1392"/>
                      </a:lnTo>
                      <a:lnTo>
                        <a:pt x="8250" y="1386"/>
                      </a:lnTo>
                      <a:lnTo>
                        <a:pt x="8256" y="1386"/>
                      </a:lnTo>
                      <a:lnTo>
                        <a:pt x="8274" y="1404"/>
                      </a:lnTo>
                      <a:lnTo>
                        <a:pt x="8280" y="1416"/>
                      </a:lnTo>
                      <a:lnTo>
                        <a:pt x="8292" y="1428"/>
                      </a:lnTo>
                      <a:lnTo>
                        <a:pt x="8304" y="1434"/>
                      </a:lnTo>
                      <a:lnTo>
                        <a:pt x="8310" y="1446"/>
                      </a:lnTo>
                      <a:lnTo>
                        <a:pt x="8322" y="1398"/>
                      </a:lnTo>
                      <a:lnTo>
                        <a:pt x="8334" y="1398"/>
                      </a:lnTo>
                      <a:lnTo>
                        <a:pt x="8364" y="1392"/>
                      </a:lnTo>
                      <a:lnTo>
                        <a:pt x="8400" y="1386"/>
                      </a:lnTo>
                      <a:lnTo>
                        <a:pt x="8430" y="1386"/>
                      </a:lnTo>
                      <a:lnTo>
                        <a:pt x="8478" y="1410"/>
                      </a:lnTo>
                      <a:lnTo>
                        <a:pt x="8484" y="1416"/>
                      </a:lnTo>
                      <a:lnTo>
                        <a:pt x="8490" y="1416"/>
                      </a:lnTo>
                      <a:lnTo>
                        <a:pt x="8532" y="1434"/>
                      </a:lnTo>
                      <a:lnTo>
                        <a:pt x="8502" y="1374"/>
                      </a:lnTo>
                      <a:lnTo>
                        <a:pt x="8526" y="1374"/>
                      </a:lnTo>
                      <a:lnTo>
                        <a:pt x="8538" y="1368"/>
                      </a:lnTo>
                      <a:lnTo>
                        <a:pt x="8550" y="1356"/>
                      </a:lnTo>
                      <a:lnTo>
                        <a:pt x="8550" y="1332"/>
                      </a:lnTo>
                      <a:lnTo>
                        <a:pt x="8544" y="1326"/>
                      </a:lnTo>
                      <a:lnTo>
                        <a:pt x="8538" y="1314"/>
                      </a:lnTo>
                      <a:lnTo>
                        <a:pt x="8562" y="1314"/>
                      </a:lnTo>
                      <a:lnTo>
                        <a:pt x="8562" y="1290"/>
                      </a:lnTo>
                      <a:lnTo>
                        <a:pt x="8574" y="1290"/>
                      </a:lnTo>
                      <a:lnTo>
                        <a:pt x="8586" y="1296"/>
                      </a:lnTo>
                      <a:lnTo>
                        <a:pt x="8616" y="1296"/>
                      </a:lnTo>
                      <a:lnTo>
                        <a:pt x="8628" y="1290"/>
                      </a:lnTo>
                      <a:lnTo>
                        <a:pt x="8634" y="1284"/>
                      </a:lnTo>
                      <a:lnTo>
                        <a:pt x="8640" y="1272"/>
                      </a:lnTo>
                      <a:lnTo>
                        <a:pt x="8652" y="1260"/>
                      </a:lnTo>
                      <a:lnTo>
                        <a:pt x="8658" y="1248"/>
                      </a:lnTo>
                      <a:lnTo>
                        <a:pt x="8664" y="1242"/>
                      </a:lnTo>
                      <a:lnTo>
                        <a:pt x="8670" y="1242"/>
                      </a:lnTo>
                      <a:lnTo>
                        <a:pt x="8652" y="1218"/>
                      </a:lnTo>
                      <a:lnTo>
                        <a:pt x="8682" y="1218"/>
                      </a:lnTo>
                      <a:lnTo>
                        <a:pt x="8688" y="1236"/>
                      </a:lnTo>
                      <a:lnTo>
                        <a:pt x="8748" y="1242"/>
                      </a:lnTo>
                      <a:lnTo>
                        <a:pt x="8760" y="1242"/>
                      </a:lnTo>
                      <a:lnTo>
                        <a:pt x="8772" y="1248"/>
                      </a:lnTo>
                      <a:lnTo>
                        <a:pt x="8808" y="1248"/>
                      </a:lnTo>
                      <a:lnTo>
                        <a:pt x="8808" y="1230"/>
                      </a:lnTo>
                      <a:lnTo>
                        <a:pt x="8802" y="1218"/>
                      </a:lnTo>
                      <a:lnTo>
                        <a:pt x="8766" y="1218"/>
                      </a:lnTo>
                      <a:lnTo>
                        <a:pt x="8760" y="1194"/>
                      </a:lnTo>
                      <a:lnTo>
                        <a:pt x="8754" y="1194"/>
                      </a:lnTo>
                      <a:lnTo>
                        <a:pt x="8748" y="1188"/>
                      </a:lnTo>
                      <a:lnTo>
                        <a:pt x="8736" y="1188"/>
                      </a:lnTo>
                      <a:lnTo>
                        <a:pt x="8712" y="1176"/>
                      </a:lnTo>
                      <a:lnTo>
                        <a:pt x="8700" y="1176"/>
                      </a:lnTo>
                      <a:lnTo>
                        <a:pt x="8688" y="1170"/>
                      </a:lnTo>
                      <a:lnTo>
                        <a:pt x="8658" y="1170"/>
                      </a:lnTo>
                      <a:lnTo>
                        <a:pt x="8664" y="1152"/>
                      </a:lnTo>
                      <a:lnTo>
                        <a:pt x="8592" y="1104"/>
                      </a:lnTo>
                      <a:lnTo>
                        <a:pt x="8574" y="1122"/>
                      </a:lnTo>
                      <a:lnTo>
                        <a:pt x="8568" y="1122"/>
                      </a:lnTo>
                      <a:lnTo>
                        <a:pt x="8562" y="1116"/>
                      </a:lnTo>
                      <a:lnTo>
                        <a:pt x="8550" y="1116"/>
                      </a:lnTo>
                      <a:lnTo>
                        <a:pt x="8538" y="1110"/>
                      </a:lnTo>
                      <a:lnTo>
                        <a:pt x="8532" y="1110"/>
                      </a:lnTo>
                      <a:lnTo>
                        <a:pt x="8520" y="1104"/>
                      </a:lnTo>
                      <a:lnTo>
                        <a:pt x="8508" y="1092"/>
                      </a:lnTo>
                      <a:lnTo>
                        <a:pt x="8502" y="1092"/>
                      </a:lnTo>
                      <a:lnTo>
                        <a:pt x="8466" y="1098"/>
                      </a:lnTo>
                      <a:lnTo>
                        <a:pt x="8442" y="1092"/>
                      </a:lnTo>
                      <a:lnTo>
                        <a:pt x="8430" y="1086"/>
                      </a:lnTo>
                      <a:lnTo>
                        <a:pt x="8412" y="1068"/>
                      </a:lnTo>
                      <a:lnTo>
                        <a:pt x="8406" y="1068"/>
                      </a:lnTo>
                      <a:lnTo>
                        <a:pt x="8412" y="1062"/>
                      </a:lnTo>
                      <a:lnTo>
                        <a:pt x="8436" y="1062"/>
                      </a:lnTo>
                      <a:lnTo>
                        <a:pt x="8460" y="1074"/>
                      </a:lnTo>
                      <a:lnTo>
                        <a:pt x="8478" y="1074"/>
                      </a:lnTo>
                      <a:lnTo>
                        <a:pt x="8496" y="1080"/>
                      </a:lnTo>
                      <a:lnTo>
                        <a:pt x="8514" y="1080"/>
                      </a:lnTo>
                      <a:lnTo>
                        <a:pt x="8526" y="1086"/>
                      </a:lnTo>
                      <a:lnTo>
                        <a:pt x="8544" y="1086"/>
                      </a:lnTo>
                      <a:lnTo>
                        <a:pt x="8550" y="1080"/>
                      </a:lnTo>
                      <a:lnTo>
                        <a:pt x="8562" y="1080"/>
                      </a:lnTo>
                      <a:lnTo>
                        <a:pt x="8580" y="1074"/>
                      </a:lnTo>
                      <a:lnTo>
                        <a:pt x="8604" y="1062"/>
                      </a:lnTo>
                      <a:lnTo>
                        <a:pt x="8616" y="1050"/>
                      </a:lnTo>
                      <a:lnTo>
                        <a:pt x="8604" y="1038"/>
                      </a:lnTo>
                      <a:lnTo>
                        <a:pt x="8592" y="1032"/>
                      </a:lnTo>
                      <a:lnTo>
                        <a:pt x="8586" y="1026"/>
                      </a:lnTo>
                      <a:lnTo>
                        <a:pt x="8574" y="1020"/>
                      </a:lnTo>
                      <a:lnTo>
                        <a:pt x="8568" y="1014"/>
                      </a:lnTo>
                      <a:lnTo>
                        <a:pt x="8562" y="1014"/>
                      </a:lnTo>
                      <a:lnTo>
                        <a:pt x="8556" y="1008"/>
                      </a:lnTo>
                      <a:lnTo>
                        <a:pt x="8520" y="990"/>
                      </a:lnTo>
                      <a:lnTo>
                        <a:pt x="8508" y="978"/>
                      </a:lnTo>
                      <a:lnTo>
                        <a:pt x="8514" y="972"/>
                      </a:lnTo>
                      <a:lnTo>
                        <a:pt x="8538" y="972"/>
                      </a:lnTo>
                      <a:lnTo>
                        <a:pt x="8556" y="978"/>
                      </a:lnTo>
                      <a:lnTo>
                        <a:pt x="8562" y="984"/>
                      </a:lnTo>
                      <a:lnTo>
                        <a:pt x="8574" y="990"/>
                      </a:lnTo>
                      <a:lnTo>
                        <a:pt x="8580" y="990"/>
                      </a:lnTo>
                      <a:lnTo>
                        <a:pt x="8586" y="996"/>
                      </a:lnTo>
                      <a:lnTo>
                        <a:pt x="8610" y="1008"/>
                      </a:lnTo>
                      <a:lnTo>
                        <a:pt x="8628" y="1020"/>
                      </a:lnTo>
                      <a:lnTo>
                        <a:pt x="8652" y="1032"/>
                      </a:lnTo>
                      <a:lnTo>
                        <a:pt x="8664" y="1032"/>
                      </a:lnTo>
                      <a:lnTo>
                        <a:pt x="8676" y="1026"/>
                      </a:lnTo>
                      <a:lnTo>
                        <a:pt x="8682" y="1026"/>
                      </a:lnTo>
                      <a:lnTo>
                        <a:pt x="8688" y="1020"/>
                      </a:lnTo>
                      <a:lnTo>
                        <a:pt x="8730" y="1020"/>
                      </a:lnTo>
                      <a:lnTo>
                        <a:pt x="8754" y="1026"/>
                      </a:lnTo>
                      <a:lnTo>
                        <a:pt x="8808" y="1044"/>
                      </a:lnTo>
                      <a:lnTo>
                        <a:pt x="8850" y="1062"/>
                      </a:lnTo>
                      <a:lnTo>
                        <a:pt x="8880" y="1068"/>
                      </a:lnTo>
                      <a:lnTo>
                        <a:pt x="8886" y="1074"/>
                      </a:lnTo>
                      <a:lnTo>
                        <a:pt x="8898" y="1074"/>
                      </a:lnTo>
                      <a:lnTo>
                        <a:pt x="8934" y="1086"/>
                      </a:lnTo>
                      <a:lnTo>
                        <a:pt x="8946" y="1086"/>
                      </a:lnTo>
                      <a:lnTo>
                        <a:pt x="8952" y="1092"/>
                      </a:lnTo>
                      <a:lnTo>
                        <a:pt x="8958" y="1092"/>
                      </a:lnTo>
                      <a:lnTo>
                        <a:pt x="8970" y="1098"/>
                      </a:lnTo>
                      <a:lnTo>
                        <a:pt x="8976" y="1104"/>
                      </a:lnTo>
                      <a:lnTo>
                        <a:pt x="8988" y="1110"/>
                      </a:lnTo>
                      <a:lnTo>
                        <a:pt x="9000" y="1110"/>
                      </a:lnTo>
                      <a:lnTo>
                        <a:pt x="9018" y="1116"/>
                      </a:lnTo>
                      <a:lnTo>
                        <a:pt x="9024" y="1122"/>
                      </a:lnTo>
                      <a:lnTo>
                        <a:pt x="9042" y="1122"/>
                      </a:lnTo>
                      <a:lnTo>
                        <a:pt x="9042" y="1116"/>
                      </a:lnTo>
                      <a:lnTo>
                        <a:pt x="9036" y="1098"/>
                      </a:lnTo>
                      <a:lnTo>
                        <a:pt x="9012" y="1074"/>
                      </a:lnTo>
                      <a:lnTo>
                        <a:pt x="9006" y="1074"/>
                      </a:lnTo>
                      <a:lnTo>
                        <a:pt x="9024" y="1056"/>
                      </a:lnTo>
                      <a:lnTo>
                        <a:pt x="8976" y="1038"/>
                      </a:lnTo>
                      <a:lnTo>
                        <a:pt x="8988" y="1032"/>
                      </a:lnTo>
                      <a:lnTo>
                        <a:pt x="8940" y="1008"/>
                      </a:lnTo>
                      <a:lnTo>
                        <a:pt x="8994" y="1020"/>
                      </a:lnTo>
                      <a:lnTo>
                        <a:pt x="8988" y="996"/>
                      </a:lnTo>
                      <a:lnTo>
                        <a:pt x="9000" y="996"/>
                      </a:lnTo>
                      <a:lnTo>
                        <a:pt x="9012" y="1002"/>
                      </a:lnTo>
                      <a:lnTo>
                        <a:pt x="9048" y="1002"/>
                      </a:lnTo>
                      <a:lnTo>
                        <a:pt x="9048" y="99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6" name="Romania">
                  <a:extLst>
                    <a:ext uri="{FF2B5EF4-FFF2-40B4-BE49-F238E27FC236}">
                      <a16:creationId xmlns:a16="http://schemas.microsoft.com/office/drawing/2014/main" id="{74CCE90D-3DAC-4226-9F62-72B3EBA21634}"/>
                    </a:ext>
                  </a:extLst>
                </p:cNvPr>
                <p:cNvSpPr>
                  <a:spLocks/>
                </p:cNvSpPr>
                <p:nvPr/>
              </p:nvSpPr>
              <p:spPr bwMode="gray">
                <a:xfrm>
                  <a:off x="4750887" y="1920346"/>
                  <a:ext cx="232055" cy="138331"/>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7" name="Moldova">
                  <a:extLst>
                    <a:ext uri="{FF2B5EF4-FFF2-40B4-BE49-F238E27FC236}">
                      <a16:creationId xmlns:a16="http://schemas.microsoft.com/office/drawing/2014/main" id="{8D1F05AF-6FDB-4772-B786-32B10B50359A}"/>
                    </a:ext>
                  </a:extLst>
                </p:cNvPr>
                <p:cNvSpPr>
                  <a:spLocks/>
                </p:cNvSpPr>
                <p:nvPr/>
              </p:nvSpPr>
              <p:spPr bwMode="gray">
                <a:xfrm>
                  <a:off x="4902614" y="1914396"/>
                  <a:ext cx="80327" cy="89245"/>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8" name="Lithuania">
                  <a:extLst>
                    <a:ext uri="{FF2B5EF4-FFF2-40B4-BE49-F238E27FC236}">
                      <a16:creationId xmlns:a16="http://schemas.microsoft.com/office/drawing/2014/main" id="{2F54FE20-A1E1-40E9-8087-8B45C627C1BB}"/>
                    </a:ext>
                  </a:extLst>
                </p:cNvPr>
                <p:cNvSpPr>
                  <a:spLocks/>
                </p:cNvSpPr>
                <p:nvPr/>
              </p:nvSpPr>
              <p:spPr bwMode="gray">
                <a:xfrm>
                  <a:off x="4753862" y="1680871"/>
                  <a:ext cx="129416" cy="74371"/>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9" name="Latvia">
                  <a:extLst>
                    <a:ext uri="{FF2B5EF4-FFF2-40B4-BE49-F238E27FC236}">
                      <a16:creationId xmlns:a16="http://schemas.microsoft.com/office/drawing/2014/main" id="{2C7626F1-2169-4067-9A7A-773FB7D83B4A}"/>
                    </a:ext>
                  </a:extLst>
                </p:cNvPr>
                <p:cNvSpPr>
                  <a:spLocks/>
                </p:cNvSpPr>
                <p:nvPr/>
              </p:nvSpPr>
              <p:spPr bwMode="gray">
                <a:xfrm>
                  <a:off x="4750887" y="1634762"/>
                  <a:ext cx="160653" cy="68421"/>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0" name="Estonia">
                  <a:extLst>
                    <a:ext uri="{FF2B5EF4-FFF2-40B4-BE49-F238E27FC236}">
                      <a16:creationId xmlns:a16="http://schemas.microsoft.com/office/drawing/2014/main" id="{0D95B682-6DCD-4D47-8546-9E847EA98432}"/>
                    </a:ext>
                  </a:extLst>
                </p:cNvPr>
                <p:cNvSpPr>
                  <a:spLocks noEditPoints="1"/>
                </p:cNvSpPr>
                <p:nvPr/>
              </p:nvSpPr>
              <p:spPr bwMode="gray">
                <a:xfrm>
                  <a:off x="4764275" y="1593114"/>
                  <a:ext cx="132391" cy="58010"/>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1" name="Bulgaria">
                  <a:extLst>
                    <a:ext uri="{FF2B5EF4-FFF2-40B4-BE49-F238E27FC236}">
                      <a16:creationId xmlns:a16="http://schemas.microsoft.com/office/drawing/2014/main" id="{5BB232AE-3DC2-4DAA-B7FD-D59284F62050}"/>
                    </a:ext>
                  </a:extLst>
                </p:cNvPr>
                <p:cNvSpPr>
                  <a:spLocks/>
                </p:cNvSpPr>
                <p:nvPr/>
              </p:nvSpPr>
              <p:spPr bwMode="gray">
                <a:xfrm>
                  <a:off x="4808901" y="2042314"/>
                  <a:ext cx="148753" cy="84783"/>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2" name="Belarus">
                  <a:extLst>
                    <a:ext uri="{FF2B5EF4-FFF2-40B4-BE49-F238E27FC236}">
                      <a16:creationId xmlns:a16="http://schemas.microsoft.com/office/drawing/2014/main" id="{206FA845-492F-4D5A-A14B-B691EF1D7150}"/>
                    </a:ext>
                  </a:extLst>
                </p:cNvPr>
                <p:cNvSpPr>
                  <a:spLocks/>
                </p:cNvSpPr>
                <p:nvPr/>
              </p:nvSpPr>
              <p:spPr bwMode="gray">
                <a:xfrm>
                  <a:off x="4810388" y="1689796"/>
                  <a:ext cx="215692" cy="139818"/>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3" name="New Zealand">
                  <a:extLst>
                    <a:ext uri="{FF2B5EF4-FFF2-40B4-BE49-F238E27FC236}">
                      <a16:creationId xmlns:a16="http://schemas.microsoft.com/office/drawing/2014/main" id="{40562D8E-1B33-4C8B-BB6A-EDBA712EDFDC}"/>
                    </a:ext>
                  </a:extLst>
                </p:cNvPr>
                <p:cNvSpPr>
                  <a:spLocks noEditPoints="1"/>
                </p:cNvSpPr>
                <p:nvPr/>
              </p:nvSpPr>
              <p:spPr bwMode="gray">
                <a:xfrm>
                  <a:off x="8243602" y="4425158"/>
                  <a:ext cx="478984" cy="370367"/>
                </a:xfrm>
                <a:custGeom>
                  <a:avLst/>
                  <a:gdLst>
                    <a:gd name="T0" fmla="*/ 2147483647 w 1272"/>
                    <a:gd name="T1" fmla="*/ 2147483647 h 984"/>
                    <a:gd name="T2" fmla="*/ 2147483647 w 1272"/>
                    <a:gd name="T3" fmla="*/ 2147483647 h 984"/>
                    <a:gd name="T4" fmla="*/ 2147483647 w 1272"/>
                    <a:gd name="T5" fmla="*/ 2147483647 h 984"/>
                    <a:gd name="T6" fmla="*/ 2147483647 w 1272"/>
                    <a:gd name="T7" fmla="*/ 2147483647 h 984"/>
                    <a:gd name="T8" fmla="*/ 2147483647 w 1272"/>
                    <a:gd name="T9" fmla="*/ 2147483647 h 984"/>
                    <a:gd name="T10" fmla="*/ 2147483647 w 1272"/>
                    <a:gd name="T11" fmla="*/ 2147483647 h 984"/>
                    <a:gd name="T12" fmla="*/ 2147483647 w 1272"/>
                    <a:gd name="T13" fmla="*/ 2147483647 h 984"/>
                    <a:gd name="T14" fmla="*/ 2147483647 w 1272"/>
                    <a:gd name="T15" fmla="*/ 2147483647 h 984"/>
                    <a:gd name="T16" fmla="*/ 2147483647 w 1272"/>
                    <a:gd name="T17" fmla="*/ 2147483647 h 984"/>
                    <a:gd name="T18" fmla="*/ 2147483647 w 1272"/>
                    <a:gd name="T19" fmla="*/ 2147483647 h 984"/>
                    <a:gd name="T20" fmla="*/ 2147483647 w 1272"/>
                    <a:gd name="T21" fmla="*/ 2147483647 h 984"/>
                    <a:gd name="T22" fmla="*/ 2147483647 w 1272"/>
                    <a:gd name="T23" fmla="*/ 2147483647 h 984"/>
                    <a:gd name="T24" fmla="*/ 2147483647 w 1272"/>
                    <a:gd name="T25" fmla="*/ 2147483647 h 984"/>
                    <a:gd name="T26" fmla="*/ 2147483647 w 1272"/>
                    <a:gd name="T27" fmla="*/ 2147483647 h 984"/>
                    <a:gd name="T28" fmla="*/ 2147483647 w 1272"/>
                    <a:gd name="T29" fmla="*/ 2147483647 h 984"/>
                    <a:gd name="T30" fmla="*/ 2147483647 w 1272"/>
                    <a:gd name="T31" fmla="*/ 2147483647 h 984"/>
                    <a:gd name="T32" fmla="*/ 2147483647 w 1272"/>
                    <a:gd name="T33" fmla="*/ 2147483647 h 984"/>
                    <a:gd name="T34" fmla="*/ 2147483647 w 1272"/>
                    <a:gd name="T35" fmla="*/ 2147483647 h 984"/>
                    <a:gd name="T36" fmla="*/ 2147483647 w 1272"/>
                    <a:gd name="T37" fmla="*/ 2147483647 h 984"/>
                    <a:gd name="T38" fmla="*/ 2147483647 w 1272"/>
                    <a:gd name="T39" fmla="*/ 2147483647 h 984"/>
                    <a:gd name="T40" fmla="*/ 2147483647 w 1272"/>
                    <a:gd name="T41" fmla="*/ 2147483647 h 984"/>
                    <a:gd name="T42" fmla="*/ 2147483647 w 1272"/>
                    <a:gd name="T43" fmla="*/ 2147483647 h 984"/>
                    <a:gd name="T44" fmla="*/ 2147483647 w 1272"/>
                    <a:gd name="T45" fmla="*/ 2147483647 h 984"/>
                    <a:gd name="T46" fmla="*/ 2147483647 w 1272"/>
                    <a:gd name="T47" fmla="*/ 2147483647 h 984"/>
                    <a:gd name="T48" fmla="*/ 2147483647 w 1272"/>
                    <a:gd name="T49" fmla="*/ 2147483647 h 984"/>
                    <a:gd name="T50" fmla="*/ 2147483647 w 1272"/>
                    <a:gd name="T51" fmla="*/ 2147483647 h 984"/>
                    <a:gd name="T52" fmla="*/ 2147483647 w 1272"/>
                    <a:gd name="T53" fmla="*/ 2147483647 h 984"/>
                    <a:gd name="T54" fmla="*/ 2147483647 w 1272"/>
                    <a:gd name="T55" fmla="*/ 2147483647 h 984"/>
                    <a:gd name="T56" fmla="*/ 2147483647 w 1272"/>
                    <a:gd name="T57" fmla="*/ 2147483647 h 984"/>
                    <a:gd name="T58" fmla="*/ 2147483647 w 1272"/>
                    <a:gd name="T59" fmla="*/ 2147483647 h 984"/>
                    <a:gd name="T60" fmla="*/ 2147483647 w 1272"/>
                    <a:gd name="T61" fmla="*/ 2147483647 h 984"/>
                    <a:gd name="T62" fmla="*/ 2147483647 w 1272"/>
                    <a:gd name="T63" fmla="*/ 2147483647 h 984"/>
                    <a:gd name="T64" fmla="*/ 2147483647 w 1272"/>
                    <a:gd name="T65" fmla="*/ 2147483647 h 984"/>
                    <a:gd name="T66" fmla="*/ 2147483647 w 1272"/>
                    <a:gd name="T67" fmla="*/ 2147483647 h 984"/>
                    <a:gd name="T68" fmla="*/ 2147483647 w 1272"/>
                    <a:gd name="T69" fmla="*/ 2147483647 h 984"/>
                    <a:gd name="T70" fmla="*/ 2147483647 w 1272"/>
                    <a:gd name="T71" fmla="*/ 2147483647 h 984"/>
                    <a:gd name="T72" fmla="*/ 2147483647 w 1272"/>
                    <a:gd name="T73" fmla="*/ 2147483647 h 984"/>
                    <a:gd name="T74" fmla="*/ 2147483647 w 1272"/>
                    <a:gd name="T75" fmla="*/ 2147483647 h 984"/>
                    <a:gd name="T76" fmla="*/ 2147483647 w 1272"/>
                    <a:gd name="T77" fmla="*/ 2147483647 h 984"/>
                    <a:gd name="T78" fmla="*/ 2147483647 w 1272"/>
                    <a:gd name="T79" fmla="*/ 2147483647 h 984"/>
                    <a:gd name="T80" fmla="*/ 2147483647 w 1272"/>
                    <a:gd name="T81" fmla="*/ 2147483647 h 984"/>
                    <a:gd name="T82" fmla="*/ 2147483647 w 1272"/>
                    <a:gd name="T83" fmla="*/ 2147483647 h 984"/>
                    <a:gd name="T84" fmla="*/ 2147483647 w 1272"/>
                    <a:gd name="T85" fmla="*/ 2147483647 h 984"/>
                    <a:gd name="T86" fmla="*/ 2147483647 w 1272"/>
                    <a:gd name="T87" fmla="*/ 2147483647 h 984"/>
                    <a:gd name="T88" fmla="*/ 2147483647 w 1272"/>
                    <a:gd name="T89" fmla="*/ 2147483647 h 984"/>
                    <a:gd name="T90" fmla="*/ 2147483647 w 1272"/>
                    <a:gd name="T91" fmla="*/ 2147483647 h 984"/>
                    <a:gd name="T92" fmla="*/ 2147483647 w 1272"/>
                    <a:gd name="T93" fmla="*/ 2147483647 h 984"/>
                    <a:gd name="T94" fmla="*/ 2147483647 w 1272"/>
                    <a:gd name="T95" fmla="*/ 2147483647 h 984"/>
                    <a:gd name="T96" fmla="*/ 2147483647 w 1272"/>
                    <a:gd name="T97" fmla="*/ 2147483647 h 984"/>
                    <a:gd name="T98" fmla="*/ 2147483647 w 1272"/>
                    <a:gd name="T99" fmla="*/ 2147483647 h 984"/>
                    <a:gd name="T100" fmla="*/ 2147483647 w 1272"/>
                    <a:gd name="T101" fmla="*/ 2147483647 h 984"/>
                    <a:gd name="T102" fmla="*/ 2147483647 w 1272"/>
                    <a:gd name="T103" fmla="*/ 2147483647 h 984"/>
                    <a:gd name="T104" fmla="*/ 2147483647 w 1272"/>
                    <a:gd name="T105" fmla="*/ 2147483647 h 984"/>
                    <a:gd name="T106" fmla="*/ 2147483647 w 1272"/>
                    <a:gd name="T107" fmla="*/ 2147483647 h 984"/>
                    <a:gd name="T108" fmla="*/ 2147483647 w 1272"/>
                    <a:gd name="T109" fmla="*/ 2147483647 h 984"/>
                    <a:gd name="T110" fmla="*/ 2147483647 w 1272"/>
                    <a:gd name="T111" fmla="*/ 2147483647 h 984"/>
                    <a:gd name="T112" fmla="*/ 2147483647 w 1272"/>
                    <a:gd name="T113" fmla="*/ 2147483647 h 984"/>
                    <a:gd name="T114" fmla="*/ 2147483647 w 1272"/>
                    <a:gd name="T115" fmla="*/ 2147483647 h 984"/>
                    <a:gd name="T116" fmla="*/ 2147483647 w 1272"/>
                    <a:gd name="T117" fmla="*/ 2147483647 h 984"/>
                    <a:gd name="T118" fmla="*/ 2147483647 w 1272"/>
                    <a:gd name="T119" fmla="*/ 2147483647 h 984"/>
                    <a:gd name="T120" fmla="*/ 2147483647 w 1272"/>
                    <a:gd name="T121" fmla="*/ 2147483647 h 9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72"/>
                    <a:gd name="T184" fmla="*/ 0 h 984"/>
                    <a:gd name="T185" fmla="*/ 1272 w 1272"/>
                    <a:gd name="T186" fmla="*/ 984 h 9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72" h="984">
                      <a:moveTo>
                        <a:pt x="750" y="564"/>
                      </a:moveTo>
                      <a:lnTo>
                        <a:pt x="738" y="564"/>
                      </a:lnTo>
                      <a:lnTo>
                        <a:pt x="744" y="528"/>
                      </a:lnTo>
                      <a:lnTo>
                        <a:pt x="720" y="546"/>
                      </a:lnTo>
                      <a:lnTo>
                        <a:pt x="726" y="540"/>
                      </a:lnTo>
                      <a:lnTo>
                        <a:pt x="726" y="504"/>
                      </a:lnTo>
                      <a:lnTo>
                        <a:pt x="708" y="504"/>
                      </a:lnTo>
                      <a:lnTo>
                        <a:pt x="702" y="510"/>
                      </a:lnTo>
                      <a:lnTo>
                        <a:pt x="696" y="522"/>
                      </a:lnTo>
                      <a:lnTo>
                        <a:pt x="690" y="528"/>
                      </a:lnTo>
                      <a:lnTo>
                        <a:pt x="672" y="540"/>
                      </a:lnTo>
                      <a:lnTo>
                        <a:pt x="660" y="546"/>
                      </a:lnTo>
                      <a:lnTo>
                        <a:pt x="654" y="558"/>
                      </a:lnTo>
                      <a:lnTo>
                        <a:pt x="642" y="570"/>
                      </a:lnTo>
                      <a:lnTo>
                        <a:pt x="630" y="576"/>
                      </a:lnTo>
                      <a:lnTo>
                        <a:pt x="618" y="588"/>
                      </a:lnTo>
                      <a:lnTo>
                        <a:pt x="606" y="588"/>
                      </a:lnTo>
                      <a:lnTo>
                        <a:pt x="588" y="600"/>
                      </a:lnTo>
                      <a:lnTo>
                        <a:pt x="576" y="606"/>
                      </a:lnTo>
                      <a:lnTo>
                        <a:pt x="546" y="636"/>
                      </a:lnTo>
                      <a:lnTo>
                        <a:pt x="540" y="648"/>
                      </a:lnTo>
                      <a:lnTo>
                        <a:pt x="534" y="648"/>
                      </a:lnTo>
                      <a:lnTo>
                        <a:pt x="528" y="654"/>
                      </a:lnTo>
                      <a:lnTo>
                        <a:pt x="510" y="660"/>
                      </a:lnTo>
                      <a:lnTo>
                        <a:pt x="498" y="666"/>
                      </a:lnTo>
                      <a:lnTo>
                        <a:pt x="462" y="678"/>
                      </a:lnTo>
                      <a:lnTo>
                        <a:pt x="438" y="690"/>
                      </a:lnTo>
                      <a:lnTo>
                        <a:pt x="426" y="702"/>
                      </a:lnTo>
                      <a:lnTo>
                        <a:pt x="414" y="708"/>
                      </a:lnTo>
                      <a:lnTo>
                        <a:pt x="408" y="720"/>
                      </a:lnTo>
                      <a:lnTo>
                        <a:pt x="396" y="726"/>
                      </a:lnTo>
                      <a:lnTo>
                        <a:pt x="378" y="726"/>
                      </a:lnTo>
                      <a:lnTo>
                        <a:pt x="366" y="732"/>
                      </a:lnTo>
                      <a:lnTo>
                        <a:pt x="312" y="750"/>
                      </a:lnTo>
                      <a:lnTo>
                        <a:pt x="288" y="762"/>
                      </a:lnTo>
                      <a:lnTo>
                        <a:pt x="270" y="774"/>
                      </a:lnTo>
                      <a:lnTo>
                        <a:pt x="246" y="786"/>
                      </a:lnTo>
                      <a:lnTo>
                        <a:pt x="222" y="792"/>
                      </a:lnTo>
                      <a:lnTo>
                        <a:pt x="198" y="804"/>
                      </a:lnTo>
                      <a:lnTo>
                        <a:pt x="180" y="810"/>
                      </a:lnTo>
                      <a:lnTo>
                        <a:pt x="174" y="816"/>
                      </a:lnTo>
                      <a:lnTo>
                        <a:pt x="168" y="828"/>
                      </a:lnTo>
                      <a:lnTo>
                        <a:pt x="168" y="846"/>
                      </a:lnTo>
                      <a:lnTo>
                        <a:pt x="156" y="834"/>
                      </a:lnTo>
                      <a:lnTo>
                        <a:pt x="150" y="834"/>
                      </a:lnTo>
                      <a:lnTo>
                        <a:pt x="144" y="840"/>
                      </a:lnTo>
                      <a:lnTo>
                        <a:pt x="120" y="852"/>
                      </a:lnTo>
                      <a:lnTo>
                        <a:pt x="108" y="864"/>
                      </a:lnTo>
                      <a:lnTo>
                        <a:pt x="72" y="882"/>
                      </a:lnTo>
                      <a:lnTo>
                        <a:pt x="66" y="882"/>
                      </a:lnTo>
                      <a:lnTo>
                        <a:pt x="54" y="888"/>
                      </a:lnTo>
                      <a:lnTo>
                        <a:pt x="36" y="888"/>
                      </a:lnTo>
                      <a:lnTo>
                        <a:pt x="18" y="894"/>
                      </a:lnTo>
                      <a:lnTo>
                        <a:pt x="12" y="906"/>
                      </a:lnTo>
                      <a:lnTo>
                        <a:pt x="0" y="912"/>
                      </a:lnTo>
                      <a:lnTo>
                        <a:pt x="18" y="912"/>
                      </a:lnTo>
                      <a:lnTo>
                        <a:pt x="24" y="918"/>
                      </a:lnTo>
                      <a:lnTo>
                        <a:pt x="30" y="918"/>
                      </a:lnTo>
                      <a:lnTo>
                        <a:pt x="24" y="924"/>
                      </a:lnTo>
                      <a:lnTo>
                        <a:pt x="24" y="942"/>
                      </a:lnTo>
                      <a:lnTo>
                        <a:pt x="30" y="948"/>
                      </a:lnTo>
                      <a:lnTo>
                        <a:pt x="42" y="948"/>
                      </a:lnTo>
                      <a:lnTo>
                        <a:pt x="54" y="942"/>
                      </a:lnTo>
                      <a:lnTo>
                        <a:pt x="60" y="936"/>
                      </a:lnTo>
                      <a:lnTo>
                        <a:pt x="72" y="948"/>
                      </a:lnTo>
                      <a:lnTo>
                        <a:pt x="96" y="948"/>
                      </a:lnTo>
                      <a:lnTo>
                        <a:pt x="102" y="954"/>
                      </a:lnTo>
                      <a:lnTo>
                        <a:pt x="132" y="954"/>
                      </a:lnTo>
                      <a:lnTo>
                        <a:pt x="150" y="972"/>
                      </a:lnTo>
                      <a:lnTo>
                        <a:pt x="180" y="966"/>
                      </a:lnTo>
                      <a:lnTo>
                        <a:pt x="192" y="972"/>
                      </a:lnTo>
                      <a:lnTo>
                        <a:pt x="198" y="978"/>
                      </a:lnTo>
                      <a:lnTo>
                        <a:pt x="216" y="984"/>
                      </a:lnTo>
                      <a:lnTo>
                        <a:pt x="228" y="984"/>
                      </a:lnTo>
                      <a:lnTo>
                        <a:pt x="252" y="972"/>
                      </a:lnTo>
                      <a:lnTo>
                        <a:pt x="264" y="948"/>
                      </a:lnTo>
                      <a:lnTo>
                        <a:pt x="288" y="936"/>
                      </a:lnTo>
                      <a:lnTo>
                        <a:pt x="312" y="936"/>
                      </a:lnTo>
                      <a:lnTo>
                        <a:pt x="336" y="924"/>
                      </a:lnTo>
                      <a:lnTo>
                        <a:pt x="342" y="912"/>
                      </a:lnTo>
                      <a:lnTo>
                        <a:pt x="342" y="894"/>
                      </a:lnTo>
                      <a:lnTo>
                        <a:pt x="348" y="882"/>
                      </a:lnTo>
                      <a:lnTo>
                        <a:pt x="372" y="870"/>
                      </a:lnTo>
                      <a:lnTo>
                        <a:pt x="396" y="870"/>
                      </a:lnTo>
                      <a:lnTo>
                        <a:pt x="408" y="858"/>
                      </a:lnTo>
                      <a:lnTo>
                        <a:pt x="408" y="846"/>
                      </a:lnTo>
                      <a:lnTo>
                        <a:pt x="402" y="840"/>
                      </a:lnTo>
                      <a:lnTo>
                        <a:pt x="420" y="840"/>
                      </a:lnTo>
                      <a:lnTo>
                        <a:pt x="480" y="792"/>
                      </a:lnTo>
                      <a:lnTo>
                        <a:pt x="462" y="774"/>
                      </a:lnTo>
                      <a:lnTo>
                        <a:pt x="504" y="792"/>
                      </a:lnTo>
                      <a:lnTo>
                        <a:pt x="504" y="774"/>
                      </a:lnTo>
                      <a:lnTo>
                        <a:pt x="510" y="768"/>
                      </a:lnTo>
                      <a:lnTo>
                        <a:pt x="540" y="768"/>
                      </a:lnTo>
                      <a:lnTo>
                        <a:pt x="546" y="774"/>
                      </a:lnTo>
                      <a:lnTo>
                        <a:pt x="558" y="780"/>
                      </a:lnTo>
                      <a:lnTo>
                        <a:pt x="570" y="780"/>
                      </a:lnTo>
                      <a:lnTo>
                        <a:pt x="576" y="774"/>
                      </a:lnTo>
                      <a:lnTo>
                        <a:pt x="576" y="768"/>
                      </a:lnTo>
                      <a:lnTo>
                        <a:pt x="582" y="762"/>
                      </a:lnTo>
                      <a:lnTo>
                        <a:pt x="582" y="756"/>
                      </a:lnTo>
                      <a:lnTo>
                        <a:pt x="570" y="744"/>
                      </a:lnTo>
                      <a:lnTo>
                        <a:pt x="612" y="702"/>
                      </a:lnTo>
                      <a:lnTo>
                        <a:pt x="618" y="702"/>
                      </a:lnTo>
                      <a:lnTo>
                        <a:pt x="624" y="696"/>
                      </a:lnTo>
                      <a:lnTo>
                        <a:pt x="660" y="678"/>
                      </a:lnTo>
                      <a:lnTo>
                        <a:pt x="666" y="666"/>
                      </a:lnTo>
                      <a:lnTo>
                        <a:pt x="672" y="660"/>
                      </a:lnTo>
                      <a:lnTo>
                        <a:pt x="672" y="654"/>
                      </a:lnTo>
                      <a:lnTo>
                        <a:pt x="696" y="654"/>
                      </a:lnTo>
                      <a:lnTo>
                        <a:pt x="708" y="648"/>
                      </a:lnTo>
                      <a:lnTo>
                        <a:pt x="738" y="618"/>
                      </a:lnTo>
                      <a:lnTo>
                        <a:pt x="738" y="612"/>
                      </a:lnTo>
                      <a:lnTo>
                        <a:pt x="744" y="612"/>
                      </a:lnTo>
                      <a:lnTo>
                        <a:pt x="750" y="606"/>
                      </a:lnTo>
                      <a:lnTo>
                        <a:pt x="768" y="594"/>
                      </a:lnTo>
                      <a:lnTo>
                        <a:pt x="780" y="582"/>
                      </a:lnTo>
                      <a:lnTo>
                        <a:pt x="786" y="570"/>
                      </a:lnTo>
                      <a:lnTo>
                        <a:pt x="786" y="546"/>
                      </a:lnTo>
                      <a:lnTo>
                        <a:pt x="780" y="540"/>
                      </a:lnTo>
                      <a:lnTo>
                        <a:pt x="780" y="534"/>
                      </a:lnTo>
                      <a:lnTo>
                        <a:pt x="750" y="564"/>
                      </a:lnTo>
                      <a:close/>
                      <a:moveTo>
                        <a:pt x="1224" y="324"/>
                      </a:moveTo>
                      <a:lnTo>
                        <a:pt x="1236" y="318"/>
                      </a:lnTo>
                      <a:lnTo>
                        <a:pt x="1242" y="318"/>
                      </a:lnTo>
                      <a:lnTo>
                        <a:pt x="1266" y="306"/>
                      </a:lnTo>
                      <a:lnTo>
                        <a:pt x="1272" y="300"/>
                      </a:lnTo>
                      <a:lnTo>
                        <a:pt x="1272" y="282"/>
                      </a:lnTo>
                      <a:lnTo>
                        <a:pt x="1266" y="270"/>
                      </a:lnTo>
                      <a:lnTo>
                        <a:pt x="1260" y="264"/>
                      </a:lnTo>
                      <a:lnTo>
                        <a:pt x="1248" y="264"/>
                      </a:lnTo>
                      <a:lnTo>
                        <a:pt x="1236" y="276"/>
                      </a:lnTo>
                      <a:lnTo>
                        <a:pt x="1236" y="282"/>
                      </a:lnTo>
                      <a:lnTo>
                        <a:pt x="1224" y="282"/>
                      </a:lnTo>
                      <a:lnTo>
                        <a:pt x="1212" y="276"/>
                      </a:lnTo>
                      <a:lnTo>
                        <a:pt x="1200" y="276"/>
                      </a:lnTo>
                      <a:lnTo>
                        <a:pt x="1194" y="282"/>
                      </a:lnTo>
                      <a:lnTo>
                        <a:pt x="1176" y="288"/>
                      </a:lnTo>
                      <a:lnTo>
                        <a:pt x="1158" y="288"/>
                      </a:lnTo>
                      <a:lnTo>
                        <a:pt x="1146" y="276"/>
                      </a:lnTo>
                      <a:lnTo>
                        <a:pt x="1146" y="222"/>
                      </a:lnTo>
                      <a:lnTo>
                        <a:pt x="1170" y="180"/>
                      </a:lnTo>
                      <a:lnTo>
                        <a:pt x="1170" y="174"/>
                      </a:lnTo>
                      <a:lnTo>
                        <a:pt x="1164" y="162"/>
                      </a:lnTo>
                      <a:lnTo>
                        <a:pt x="1158" y="156"/>
                      </a:lnTo>
                      <a:lnTo>
                        <a:pt x="1146" y="156"/>
                      </a:lnTo>
                      <a:lnTo>
                        <a:pt x="1140" y="168"/>
                      </a:lnTo>
                      <a:lnTo>
                        <a:pt x="1134" y="174"/>
                      </a:lnTo>
                      <a:lnTo>
                        <a:pt x="1134" y="204"/>
                      </a:lnTo>
                      <a:lnTo>
                        <a:pt x="1128" y="216"/>
                      </a:lnTo>
                      <a:lnTo>
                        <a:pt x="1116" y="222"/>
                      </a:lnTo>
                      <a:lnTo>
                        <a:pt x="1116" y="192"/>
                      </a:lnTo>
                      <a:lnTo>
                        <a:pt x="1092" y="174"/>
                      </a:lnTo>
                      <a:lnTo>
                        <a:pt x="1104" y="150"/>
                      </a:lnTo>
                      <a:lnTo>
                        <a:pt x="1116" y="138"/>
                      </a:lnTo>
                      <a:lnTo>
                        <a:pt x="1122" y="126"/>
                      </a:lnTo>
                      <a:lnTo>
                        <a:pt x="1128" y="108"/>
                      </a:lnTo>
                      <a:lnTo>
                        <a:pt x="1128" y="84"/>
                      </a:lnTo>
                      <a:lnTo>
                        <a:pt x="1116" y="78"/>
                      </a:lnTo>
                      <a:lnTo>
                        <a:pt x="1110" y="72"/>
                      </a:lnTo>
                      <a:lnTo>
                        <a:pt x="1098" y="66"/>
                      </a:lnTo>
                      <a:lnTo>
                        <a:pt x="1092" y="60"/>
                      </a:lnTo>
                      <a:lnTo>
                        <a:pt x="1080" y="60"/>
                      </a:lnTo>
                      <a:lnTo>
                        <a:pt x="1086" y="42"/>
                      </a:lnTo>
                      <a:lnTo>
                        <a:pt x="1062" y="42"/>
                      </a:lnTo>
                      <a:lnTo>
                        <a:pt x="1044" y="18"/>
                      </a:lnTo>
                      <a:lnTo>
                        <a:pt x="1050" y="0"/>
                      </a:lnTo>
                      <a:lnTo>
                        <a:pt x="1020" y="18"/>
                      </a:lnTo>
                      <a:lnTo>
                        <a:pt x="1044" y="54"/>
                      </a:lnTo>
                      <a:lnTo>
                        <a:pt x="1032" y="90"/>
                      </a:lnTo>
                      <a:lnTo>
                        <a:pt x="1056" y="102"/>
                      </a:lnTo>
                      <a:lnTo>
                        <a:pt x="1044" y="108"/>
                      </a:lnTo>
                      <a:lnTo>
                        <a:pt x="1044" y="126"/>
                      </a:lnTo>
                      <a:lnTo>
                        <a:pt x="1068" y="132"/>
                      </a:lnTo>
                      <a:lnTo>
                        <a:pt x="1044" y="150"/>
                      </a:lnTo>
                      <a:lnTo>
                        <a:pt x="1062" y="156"/>
                      </a:lnTo>
                      <a:lnTo>
                        <a:pt x="1062" y="168"/>
                      </a:lnTo>
                      <a:lnTo>
                        <a:pt x="1056" y="174"/>
                      </a:lnTo>
                      <a:lnTo>
                        <a:pt x="1056" y="192"/>
                      </a:lnTo>
                      <a:lnTo>
                        <a:pt x="1068" y="198"/>
                      </a:lnTo>
                      <a:lnTo>
                        <a:pt x="1074" y="204"/>
                      </a:lnTo>
                      <a:lnTo>
                        <a:pt x="1056" y="210"/>
                      </a:lnTo>
                      <a:lnTo>
                        <a:pt x="1044" y="222"/>
                      </a:lnTo>
                      <a:lnTo>
                        <a:pt x="1062" y="234"/>
                      </a:lnTo>
                      <a:lnTo>
                        <a:pt x="1038" y="258"/>
                      </a:lnTo>
                      <a:lnTo>
                        <a:pt x="1032" y="270"/>
                      </a:lnTo>
                      <a:lnTo>
                        <a:pt x="1026" y="276"/>
                      </a:lnTo>
                      <a:lnTo>
                        <a:pt x="1026" y="288"/>
                      </a:lnTo>
                      <a:lnTo>
                        <a:pt x="1038" y="300"/>
                      </a:lnTo>
                      <a:lnTo>
                        <a:pt x="1026" y="300"/>
                      </a:lnTo>
                      <a:lnTo>
                        <a:pt x="1014" y="306"/>
                      </a:lnTo>
                      <a:lnTo>
                        <a:pt x="1002" y="306"/>
                      </a:lnTo>
                      <a:lnTo>
                        <a:pt x="978" y="318"/>
                      </a:lnTo>
                      <a:lnTo>
                        <a:pt x="948" y="348"/>
                      </a:lnTo>
                      <a:lnTo>
                        <a:pt x="930" y="360"/>
                      </a:lnTo>
                      <a:lnTo>
                        <a:pt x="894" y="372"/>
                      </a:lnTo>
                      <a:lnTo>
                        <a:pt x="870" y="384"/>
                      </a:lnTo>
                      <a:lnTo>
                        <a:pt x="858" y="396"/>
                      </a:lnTo>
                      <a:lnTo>
                        <a:pt x="858" y="432"/>
                      </a:lnTo>
                      <a:lnTo>
                        <a:pt x="864" y="444"/>
                      </a:lnTo>
                      <a:lnTo>
                        <a:pt x="870" y="450"/>
                      </a:lnTo>
                      <a:lnTo>
                        <a:pt x="870" y="456"/>
                      </a:lnTo>
                      <a:lnTo>
                        <a:pt x="924" y="456"/>
                      </a:lnTo>
                      <a:lnTo>
                        <a:pt x="924" y="474"/>
                      </a:lnTo>
                      <a:lnTo>
                        <a:pt x="918" y="486"/>
                      </a:lnTo>
                      <a:lnTo>
                        <a:pt x="918" y="522"/>
                      </a:lnTo>
                      <a:lnTo>
                        <a:pt x="894" y="534"/>
                      </a:lnTo>
                      <a:lnTo>
                        <a:pt x="882" y="534"/>
                      </a:lnTo>
                      <a:lnTo>
                        <a:pt x="864" y="540"/>
                      </a:lnTo>
                      <a:lnTo>
                        <a:pt x="852" y="546"/>
                      </a:lnTo>
                      <a:lnTo>
                        <a:pt x="852" y="558"/>
                      </a:lnTo>
                      <a:lnTo>
                        <a:pt x="840" y="570"/>
                      </a:lnTo>
                      <a:lnTo>
                        <a:pt x="852" y="576"/>
                      </a:lnTo>
                      <a:lnTo>
                        <a:pt x="858" y="582"/>
                      </a:lnTo>
                      <a:lnTo>
                        <a:pt x="876" y="588"/>
                      </a:lnTo>
                      <a:lnTo>
                        <a:pt x="888" y="588"/>
                      </a:lnTo>
                      <a:lnTo>
                        <a:pt x="912" y="576"/>
                      </a:lnTo>
                      <a:lnTo>
                        <a:pt x="924" y="558"/>
                      </a:lnTo>
                      <a:lnTo>
                        <a:pt x="972" y="510"/>
                      </a:lnTo>
                      <a:lnTo>
                        <a:pt x="996" y="498"/>
                      </a:lnTo>
                      <a:lnTo>
                        <a:pt x="1014" y="492"/>
                      </a:lnTo>
                      <a:lnTo>
                        <a:pt x="1026" y="486"/>
                      </a:lnTo>
                      <a:lnTo>
                        <a:pt x="1032" y="480"/>
                      </a:lnTo>
                      <a:lnTo>
                        <a:pt x="1038" y="480"/>
                      </a:lnTo>
                      <a:lnTo>
                        <a:pt x="1044" y="474"/>
                      </a:lnTo>
                      <a:lnTo>
                        <a:pt x="1050" y="462"/>
                      </a:lnTo>
                      <a:lnTo>
                        <a:pt x="1056" y="462"/>
                      </a:lnTo>
                      <a:lnTo>
                        <a:pt x="1062" y="456"/>
                      </a:lnTo>
                      <a:lnTo>
                        <a:pt x="1074" y="450"/>
                      </a:lnTo>
                      <a:lnTo>
                        <a:pt x="1080" y="444"/>
                      </a:lnTo>
                      <a:lnTo>
                        <a:pt x="1080" y="420"/>
                      </a:lnTo>
                      <a:lnTo>
                        <a:pt x="1074" y="414"/>
                      </a:lnTo>
                      <a:lnTo>
                        <a:pt x="1080" y="414"/>
                      </a:lnTo>
                      <a:lnTo>
                        <a:pt x="1086" y="408"/>
                      </a:lnTo>
                      <a:lnTo>
                        <a:pt x="1110" y="396"/>
                      </a:lnTo>
                      <a:lnTo>
                        <a:pt x="1140" y="396"/>
                      </a:lnTo>
                      <a:lnTo>
                        <a:pt x="1152" y="402"/>
                      </a:lnTo>
                      <a:lnTo>
                        <a:pt x="1164" y="402"/>
                      </a:lnTo>
                      <a:lnTo>
                        <a:pt x="1176" y="390"/>
                      </a:lnTo>
                      <a:lnTo>
                        <a:pt x="1176" y="360"/>
                      </a:lnTo>
                      <a:lnTo>
                        <a:pt x="1200" y="360"/>
                      </a:lnTo>
                      <a:lnTo>
                        <a:pt x="1212" y="354"/>
                      </a:lnTo>
                      <a:lnTo>
                        <a:pt x="1218" y="354"/>
                      </a:lnTo>
                      <a:lnTo>
                        <a:pt x="1224" y="348"/>
                      </a:lnTo>
                      <a:lnTo>
                        <a:pt x="1224" y="3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4" name="Australia">
                  <a:extLst>
                    <a:ext uri="{FF2B5EF4-FFF2-40B4-BE49-F238E27FC236}">
                      <a16:creationId xmlns:a16="http://schemas.microsoft.com/office/drawing/2014/main" id="{AE1F84A7-9D42-43BD-87AF-7F7ECA40203D}"/>
                    </a:ext>
                  </a:extLst>
                </p:cNvPr>
                <p:cNvSpPr>
                  <a:spLocks noEditPoints="1"/>
                </p:cNvSpPr>
                <p:nvPr/>
              </p:nvSpPr>
              <p:spPr bwMode="gray">
                <a:xfrm>
                  <a:off x="7159194" y="3705247"/>
                  <a:ext cx="1071020" cy="1004007"/>
                </a:xfrm>
                <a:custGeom>
                  <a:avLst/>
                  <a:gdLst>
                    <a:gd name="T0" fmla="*/ 2147483647 w 2838"/>
                    <a:gd name="T1" fmla="*/ 2147483647 h 2664"/>
                    <a:gd name="T2" fmla="*/ 2147483647 w 2838"/>
                    <a:gd name="T3" fmla="*/ 2147483647 h 2664"/>
                    <a:gd name="T4" fmla="*/ 2147483647 w 2838"/>
                    <a:gd name="T5" fmla="*/ 2147483647 h 2664"/>
                    <a:gd name="T6" fmla="*/ 2147483647 w 2838"/>
                    <a:gd name="T7" fmla="*/ 2147483647 h 2664"/>
                    <a:gd name="T8" fmla="*/ 2147483647 w 2838"/>
                    <a:gd name="T9" fmla="*/ 2147483647 h 2664"/>
                    <a:gd name="T10" fmla="*/ 2147483647 w 2838"/>
                    <a:gd name="T11" fmla="*/ 2147483647 h 2664"/>
                    <a:gd name="T12" fmla="*/ 2147483647 w 2838"/>
                    <a:gd name="T13" fmla="*/ 2147483647 h 2664"/>
                    <a:gd name="T14" fmla="*/ 2147483647 w 2838"/>
                    <a:gd name="T15" fmla="*/ 2147483647 h 2664"/>
                    <a:gd name="T16" fmla="*/ 2147483647 w 2838"/>
                    <a:gd name="T17" fmla="*/ 2147483647 h 2664"/>
                    <a:gd name="T18" fmla="*/ 2147483647 w 2838"/>
                    <a:gd name="T19" fmla="*/ 2147483647 h 2664"/>
                    <a:gd name="T20" fmla="*/ 2147483647 w 2838"/>
                    <a:gd name="T21" fmla="*/ 2147483647 h 2664"/>
                    <a:gd name="T22" fmla="*/ 2147483647 w 2838"/>
                    <a:gd name="T23" fmla="*/ 2147483647 h 2664"/>
                    <a:gd name="T24" fmla="*/ 2147483647 w 2838"/>
                    <a:gd name="T25" fmla="*/ 2147483647 h 2664"/>
                    <a:gd name="T26" fmla="*/ 2147483647 w 2838"/>
                    <a:gd name="T27" fmla="*/ 2147483647 h 2664"/>
                    <a:gd name="T28" fmla="*/ 2147483647 w 2838"/>
                    <a:gd name="T29" fmla="*/ 2147483647 h 2664"/>
                    <a:gd name="T30" fmla="*/ 2147483647 w 2838"/>
                    <a:gd name="T31" fmla="*/ 2147483647 h 2664"/>
                    <a:gd name="T32" fmla="*/ 2147483647 w 2838"/>
                    <a:gd name="T33" fmla="*/ 2147483647 h 2664"/>
                    <a:gd name="T34" fmla="*/ 2147483647 w 2838"/>
                    <a:gd name="T35" fmla="*/ 2147483647 h 2664"/>
                    <a:gd name="T36" fmla="*/ 2147483647 w 2838"/>
                    <a:gd name="T37" fmla="*/ 2147483647 h 2664"/>
                    <a:gd name="T38" fmla="*/ 2147483647 w 2838"/>
                    <a:gd name="T39" fmla="*/ 2147483647 h 2664"/>
                    <a:gd name="T40" fmla="*/ 2147483647 w 2838"/>
                    <a:gd name="T41" fmla="*/ 2147483647 h 2664"/>
                    <a:gd name="T42" fmla="*/ 2147483647 w 2838"/>
                    <a:gd name="T43" fmla="*/ 2147483647 h 2664"/>
                    <a:gd name="T44" fmla="*/ 2147483647 w 2838"/>
                    <a:gd name="T45" fmla="*/ 2147483647 h 2664"/>
                    <a:gd name="T46" fmla="*/ 2147483647 w 2838"/>
                    <a:gd name="T47" fmla="*/ 2147483647 h 2664"/>
                    <a:gd name="T48" fmla="*/ 2147483647 w 2838"/>
                    <a:gd name="T49" fmla="*/ 2147483647 h 2664"/>
                    <a:gd name="T50" fmla="*/ 2147483647 w 2838"/>
                    <a:gd name="T51" fmla="*/ 2147483647 h 2664"/>
                    <a:gd name="T52" fmla="*/ 2147483647 w 2838"/>
                    <a:gd name="T53" fmla="*/ 2147483647 h 2664"/>
                    <a:gd name="T54" fmla="*/ 2147483647 w 2838"/>
                    <a:gd name="T55" fmla="*/ 2147483647 h 2664"/>
                    <a:gd name="T56" fmla="*/ 2147483647 w 2838"/>
                    <a:gd name="T57" fmla="*/ 2147483647 h 2664"/>
                    <a:gd name="T58" fmla="*/ 2147483647 w 2838"/>
                    <a:gd name="T59" fmla="*/ 2147483647 h 2664"/>
                    <a:gd name="T60" fmla="*/ 2147483647 w 2838"/>
                    <a:gd name="T61" fmla="*/ 2147483647 h 2664"/>
                    <a:gd name="T62" fmla="*/ 2147483647 w 2838"/>
                    <a:gd name="T63" fmla="*/ 2147483647 h 2664"/>
                    <a:gd name="T64" fmla="*/ 2147483647 w 2838"/>
                    <a:gd name="T65" fmla="*/ 2147483647 h 2664"/>
                    <a:gd name="T66" fmla="*/ 2147483647 w 2838"/>
                    <a:gd name="T67" fmla="*/ 2147483647 h 2664"/>
                    <a:gd name="T68" fmla="*/ 2147483647 w 2838"/>
                    <a:gd name="T69" fmla="*/ 2147483647 h 2664"/>
                    <a:gd name="T70" fmla="*/ 2147483647 w 2838"/>
                    <a:gd name="T71" fmla="*/ 2147483647 h 2664"/>
                    <a:gd name="T72" fmla="*/ 2147483647 w 2838"/>
                    <a:gd name="T73" fmla="*/ 2147483647 h 2664"/>
                    <a:gd name="T74" fmla="*/ 2147483647 w 2838"/>
                    <a:gd name="T75" fmla="*/ 2147483647 h 2664"/>
                    <a:gd name="T76" fmla="*/ 2147483647 w 2838"/>
                    <a:gd name="T77" fmla="*/ 2147483647 h 2664"/>
                    <a:gd name="T78" fmla="*/ 2147483647 w 2838"/>
                    <a:gd name="T79" fmla="*/ 2147483647 h 2664"/>
                    <a:gd name="T80" fmla="*/ 2147483647 w 2838"/>
                    <a:gd name="T81" fmla="*/ 2147483647 h 2664"/>
                    <a:gd name="T82" fmla="*/ 2147483647 w 2838"/>
                    <a:gd name="T83" fmla="*/ 2147483647 h 2664"/>
                    <a:gd name="T84" fmla="*/ 2147483647 w 2838"/>
                    <a:gd name="T85" fmla="*/ 2147483647 h 2664"/>
                    <a:gd name="T86" fmla="*/ 2147483647 w 2838"/>
                    <a:gd name="T87" fmla="*/ 2147483647 h 2664"/>
                    <a:gd name="T88" fmla="*/ 2147483647 w 2838"/>
                    <a:gd name="T89" fmla="*/ 2147483647 h 2664"/>
                    <a:gd name="T90" fmla="*/ 2147483647 w 2838"/>
                    <a:gd name="T91" fmla="*/ 2147483647 h 2664"/>
                    <a:gd name="T92" fmla="*/ 2147483647 w 2838"/>
                    <a:gd name="T93" fmla="*/ 2147483647 h 2664"/>
                    <a:gd name="T94" fmla="*/ 2147483647 w 2838"/>
                    <a:gd name="T95" fmla="*/ 2147483647 h 2664"/>
                    <a:gd name="T96" fmla="*/ 2147483647 w 2838"/>
                    <a:gd name="T97" fmla="*/ 2147483647 h 2664"/>
                    <a:gd name="T98" fmla="*/ 2147483647 w 2838"/>
                    <a:gd name="T99" fmla="*/ 2147483647 h 2664"/>
                    <a:gd name="T100" fmla="*/ 2147483647 w 2838"/>
                    <a:gd name="T101" fmla="*/ 2147483647 h 2664"/>
                    <a:gd name="T102" fmla="*/ 2147483647 w 2838"/>
                    <a:gd name="T103" fmla="*/ 2147483647 h 2664"/>
                    <a:gd name="T104" fmla="*/ 2147483647 w 2838"/>
                    <a:gd name="T105" fmla="*/ 2147483647 h 2664"/>
                    <a:gd name="T106" fmla="*/ 2147483647 w 2838"/>
                    <a:gd name="T107" fmla="*/ 2147483647 h 2664"/>
                    <a:gd name="T108" fmla="*/ 2147483647 w 2838"/>
                    <a:gd name="T109" fmla="*/ 2147483647 h 2664"/>
                    <a:gd name="T110" fmla="*/ 2147483647 w 2838"/>
                    <a:gd name="T111" fmla="*/ 2147483647 h 2664"/>
                    <a:gd name="T112" fmla="*/ 2147483647 w 2838"/>
                    <a:gd name="T113" fmla="*/ 2147483647 h 2664"/>
                    <a:gd name="T114" fmla="*/ 2147483647 w 2838"/>
                    <a:gd name="T115" fmla="*/ 2147483647 h 2664"/>
                    <a:gd name="T116" fmla="*/ 2147483647 w 2838"/>
                    <a:gd name="T117" fmla="*/ 2147483647 h 2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8"/>
                    <a:gd name="T178" fmla="*/ 0 h 2664"/>
                    <a:gd name="T179" fmla="*/ 2838 w 2838"/>
                    <a:gd name="T180" fmla="*/ 2664 h 2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8" h="2664">
                      <a:moveTo>
                        <a:pt x="1530" y="66"/>
                      </a:moveTo>
                      <a:lnTo>
                        <a:pt x="1524" y="60"/>
                      </a:lnTo>
                      <a:lnTo>
                        <a:pt x="1518" y="60"/>
                      </a:lnTo>
                      <a:lnTo>
                        <a:pt x="1506" y="66"/>
                      </a:lnTo>
                      <a:lnTo>
                        <a:pt x="1500" y="72"/>
                      </a:lnTo>
                      <a:lnTo>
                        <a:pt x="1494" y="84"/>
                      </a:lnTo>
                      <a:lnTo>
                        <a:pt x="1494" y="102"/>
                      </a:lnTo>
                      <a:lnTo>
                        <a:pt x="1506" y="102"/>
                      </a:lnTo>
                      <a:lnTo>
                        <a:pt x="1512" y="90"/>
                      </a:lnTo>
                      <a:lnTo>
                        <a:pt x="1524" y="78"/>
                      </a:lnTo>
                      <a:lnTo>
                        <a:pt x="1530" y="66"/>
                      </a:lnTo>
                      <a:close/>
                      <a:moveTo>
                        <a:pt x="1476" y="2016"/>
                      </a:moveTo>
                      <a:lnTo>
                        <a:pt x="1464" y="2016"/>
                      </a:lnTo>
                      <a:lnTo>
                        <a:pt x="1440" y="2028"/>
                      </a:lnTo>
                      <a:lnTo>
                        <a:pt x="1440" y="2034"/>
                      </a:lnTo>
                      <a:lnTo>
                        <a:pt x="1452" y="2046"/>
                      </a:lnTo>
                      <a:lnTo>
                        <a:pt x="1452" y="2052"/>
                      </a:lnTo>
                      <a:lnTo>
                        <a:pt x="1470" y="2052"/>
                      </a:lnTo>
                      <a:lnTo>
                        <a:pt x="1482" y="2046"/>
                      </a:lnTo>
                      <a:lnTo>
                        <a:pt x="1488" y="2040"/>
                      </a:lnTo>
                      <a:lnTo>
                        <a:pt x="1506" y="2040"/>
                      </a:lnTo>
                      <a:lnTo>
                        <a:pt x="1512" y="2034"/>
                      </a:lnTo>
                      <a:lnTo>
                        <a:pt x="1530" y="2034"/>
                      </a:lnTo>
                      <a:lnTo>
                        <a:pt x="1536" y="2028"/>
                      </a:lnTo>
                      <a:lnTo>
                        <a:pt x="1512" y="2028"/>
                      </a:lnTo>
                      <a:lnTo>
                        <a:pt x="1500" y="2016"/>
                      </a:lnTo>
                      <a:lnTo>
                        <a:pt x="1476" y="2016"/>
                      </a:lnTo>
                      <a:close/>
                      <a:moveTo>
                        <a:pt x="2802" y="1164"/>
                      </a:moveTo>
                      <a:lnTo>
                        <a:pt x="2802" y="1134"/>
                      </a:lnTo>
                      <a:lnTo>
                        <a:pt x="2796" y="1116"/>
                      </a:lnTo>
                      <a:lnTo>
                        <a:pt x="2796" y="1092"/>
                      </a:lnTo>
                      <a:lnTo>
                        <a:pt x="2790" y="1086"/>
                      </a:lnTo>
                      <a:lnTo>
                        <a:pt x="2778" y="1086"/>
                      </a:lnTo>
                      <a:lnTo>
                        <a:pt x="2772" y="1080"/>
                      </a:lnTo>
                      <a:lnTo>
                        <a:pt x="2760" y="1080"/>
                      </a:lnTo>
                      <a:lnTo>
                        <a:pt x="2760" y="1062"/>
                      </a:lnTo>
                      <a:lnTo>
                        <a:pt x="2742" y="1050"/>
                      </a:lnTo>
                      <a:lnTo>
                        <a:pt x="2742" y="1014"/>
                      </a:lnTo>
                      <a:lnTo>
                        <a:pt x="2736" y="1008"/>
                      </a:lnTo>
                      <a:lnTo>
                        <a:pt x="2724" y="1002"/>
                      </a:lnTo>
                      <a:lnTo>
                        <a:pt x="2718" y="996"/>
                      </a:lnTo>
                      <a:lnTo>
                        <a:pt x="2706" y="996"/>
                      </a:lnTo>
                      <a:lnTo>
                        <a:pt x="2712" y="996"/>
                      </a:lnTo>
                      <a:lnTo>
                        <a:pt x="2718" y="990"/>
                      </a:lnTo>
                      <a:lnTo>
                        <a:pt x="2730" y="990"/>
                      </a:lnTo>
                      <a:lnTo>
                        <a:pt x="2742" y="984"/>
                      </a:lnTo>
                      <a:lnTo>
                        <a:pt x="2760" y="966"/>
                      </a:lnTo>
                      <a:lnTo>
                        <a:pt x="2754" y="954"/>
                      </a:lnTo>
                      <a:lnTo>
                        <a:pt x="2736" y="936"/>
                      </a:lnTo>
                      <a:lnTo>
                        <a:pt x="2730" y="936"/>
                      </a:lnTo>
                      <a:lnTo>
                        <a:pt x="2730" y="930"/>
                      </a:lnTo>
                      <a:lnTo>
                        <a:pt x="2712" y="912"/>
                      </a:lnTo>
                      <a:lnTo>
                        <a:pt x="2700" y="906"/>
                      </a:lnTo>
                      <a:lnTo>
                        <a:pt x="2694" y="912"/>
                      </a:lnTo>
                      <a:lnTo>
                        <a:pt x="2694" y="936"/>
                      </a:lnTo>
                      <a:lnTo>
                        <a:pt x="2670" y="930"/>
                      </a:lnTo>
                      <a:lnTo>
                        <a:pt x="2670" y="924"/>
                      </a:lnTo>
                      <a:lnTo>
                        <a:pt x="2676" y="918"/>
                      </a:lnTo>
                      <a:lnTo>
                        <a:pt x="2676" y="906"/>
                      </a:lnTo>
                      <a:lnTo>
                        <a:pt x="2682" y="894"/>
                      </a:lnTo>
                      <a:lnTo>
                        <a:pt x="2688" y="876"/>
                      </a:lnTo>
                      <a:lnTo>
                        <a:pt x="2688" y="858"/>
                      </a:lnTo>
                      <a:lnTo>
                        <a:pt x="2682" y="852"/>
                      </a:lnTo>
                      <a:lnTo>
                        <a:pt x="2676" y="840"/>
                      </a:lnTo>
                      <a:lnTo>
                        <a:pt x="2670" y="840"/>
                      </a:lnTo>
                      <a:lnTo>
                        <a:pt x="2652" y="822"/>
                      </a:lnTo>
                      <a:lnTo>
                        <a:pt x="2652" y="816"/>
                      </a:lnTo>
                      <a:lnTo>
                        <a:pt x="2658" y="804"/>
                      </a:lnTo>
                      <a:lnTo>
                        <a:pt x="2658" y="792"/>
                      </a:lnTo>
                      <a:lnTo>
                        <a:pt x="2664" y="774"/>
                      </a:lnTo>
                      <a:lnTo>
                        <a:pt x="2664" y="762"/>
                      </a:lnTo>
                      <a:lnTo>
                        <a:pt x="2652" y="750"/>
                      </a:lnTo>
                      <a:lnTo>
                        <a:pt x="2628" y="732"/>
                      </a:lnTo>
                      <a:lnTo>
                        <a:pt x="2598" y="720"/>
                      </a:lnTo>
                      <a:lnTo>
                        <a:pt x="2580" y="708"/>
                      </a:lnTo>
                      <a:lnTo>
                        <a:pt x="2568" y="702"/>
                      </a:lnTo>
                      <a:lnTo>
                        <a:pt x="2556" y="708"/>
                      </a:lnTo>
                      <a:lnTo>
                        <a:pt x="2550" y="696"/>
                      </a:lnTo>
                      <a:lnTo>
                        <a:pt x="2538" y="684"/>
                      </a:lnTo>
                      <a:lnTo>
                        <a:pt x="2532" y="672"/>
                      </a:lnTo>
                      <a:lnTo>
                        <a:pt x="2520" y="660"/>
                      </a:lnTo>
                      <a:lnTo>
                        <a:pt x="2514" y="642"/>
                      </a:lnTo>
                      <a:lnTo>
                        <a:pt x="2514" y="594"/>
                      </a:lnTo>
                      <a:lnTo>
                        <a:pt x="2520" y="576"/>
                      </a:lnTo>
                      <a:lnTo>
                        <a:pt x="2526" y="564"/>
                      </a:lnTo>
                      <a:lnTo>
                        <a:pt x="2526" y="546"/>
                      </a:lnTo>
                      <a:lnTo>
                        <a:pt x="2520" y="504"/>
                      </a:lnTo>
                      <a:lnTo>
                        <a:pt x="2502" y="462"/>
                      </a:lnTo>
                      <a:lnTo>
                        <a:pt x="2490" y="426"/>
                      </a:lnTo>
                      <a:lnTo>
                        <a:pt x="2490" y="402"/>
                      </a:lnTo>
                      <a:lnTo>
                        <a:pt x="2496" y="390"/>
                      </a:lnTo>
                      <a:lnTo>
                        <a:pt x="2502" y="384"/>
                      </a:lnTo>
                      <a:lnTo>
                        <a:pt x="2502" y="324"/>
                      </a:lnTo>
                      <a:lnTo>
                        <a:pt x="2496" y="312"/>
                      </a:lnTo>
                      <a:lnTo>
                        <a:pt x="2496" y="300"/>
                      </a:lnTo>
                      <a:lnTo>
                        <a:pt x="2472" y="294"/>
                      </a:lnTo>
                      <a:lnTo>
                        <a:pt x="2460" y="288"/>
                      </a:lnTo>
                      <a:lnTo>
                        <a:pt x="2454" y="276"/>
                      </a:lnTo>
                      <a:lnTo>
                        <a:pt x="2442" y="270"/>
                      </a:lnTo>
                      <a:lnTo>
                        <a:pt x="2424" y="270"/>
                      </a:lnTo>
                      <a:lnTo>
                        <a:pt x="2418" y="282"/>
                      </a:lnTo>
                      <a:lnTo>
                        <a:pt x="2412" y="288"/>
                      </a:lnTo>
                      <a:lnTo>
                        <a:pt x="2412" y="282"/>
                      </a:lnTo>
                      <a:lnTo>
                        <a:pt x="2406" y="276"/>
                      </a:lnTo>
                      <a:lnTo>
                        <a:pt x="2400" y="264"/>
                      </a:lnTo>
                      <a:lnTo>
                        <a:pt x="2400" y="228"/>
                      </a:lnTo>
                      <a:lnTo>
                        <a:pt x="2406" y="216"/>
                      </a:lnTo>
                      <a:lnTo>
                        <a:pt x="2406" y="204"/>
                      </a:lnTo>
                      <a:lnTo>
                        <a:pt x="2388" y="180"/>
                      </a:lnTo>
                      <a:lnTo>
                        <a:pt x="2394" y="96"/>
                      </a:lnTo>
                      <a:lnTo>
                        <a:pt x="2382" y="90"/>
                      </a:lnTo>
                      <a:lnTo>
                        <a:pt x="2364" y="72"/>
                      </a:lnTo>
                      <a:lnTo>
                        <a:pt x="2364" y="66"/>
                      </a:lnTo>
                      <a:lnTo>
                        <a:pt x="2370" y="48"/>
                      </a:lnTo>
                      <a:lnTo>
                        <a:pt x="2370" y="24"/>
                      </a:lnTo>
                      <a:lnTo>
                        <a:pt x="2364" y="18"/>
                      </a:lnTo>
                      <a:lnTo>
                        <a:pt x="2346" y="18"/>
                      </a:lnTo>
                      <a:lnTo>
                        <a:pt x="2346" y="0"/>
                      </a:lnTo>
                      <a:lnTo>
                        <a:pt x="2316" y="12"/>
                      </a:lnTo>
                      <a:lnTo>
                        <a:pt x="2310" y="30"/>
                      </a:lnTo>
                      <a:lnTo>
                        <a:pt x="2298" y="36"/>
                      </a:lnTo>
                      <a:lnTo>
                        <a:pt x="2292" y="42"/>
                      </a:lnTo>
                      <a:lnTo>
                        <a:pt x="2280" y="48"/>
                      </a:lnTo>
                      <a:lnTo>
                        <a:pt x="2280" y="66"/>
                      </a:lnTo>
                      <a:lnTo>
                        <a:pt x="2286" y="78"/>
                      </a:lnTo>
                      <a:lnTo>
                        <a:pt x="2286" y="90"/>
                      </a:lnTo>
                      <a:lnTo>
                        <a:pt x="2292" y="102"/>
                      </a:lnTo>
                      <a:lnTo>
                        <a:pt x="2292" y="114"/>
                      </a:lnTo>
                      <a:lnTo>
                        <a:pt x="2286" y="126"/>
                      </a:lnTo>
                      <a:lnTo>
                        <a:pt x="2274" y="138"/>
                      </a:lnTo>
                      <a:lnTo>
                        <a:pt x="2268" y="150"/>
                      </a:lnTo>
                      <a:lnTo>
                        <a:pt x="2238" y="180"/>
                      </a:lnTo>
                      <a:lnTo>
                        <a:pt x="2256" y="192"/>
                      </a:lnTo>
                      <a:lnTo>
                        <a:pt x="2256" y="198"/>
                      </a:lnTo>
                      <a:lnTo>
                        <a:pt x="2250" y="204"/>
                      </a:lnTo>
                      <a:lnTo>
                        <a:pt x="2238" y="228"/>
                      </a:lnTo>
                      <a:lnTo>
                        <a:pt x="2232" y="234"/>
                      </a:lnTo>
                      <a:lnTo>
                        <a:pt x="2232" y="264"/>
                      </a:lnTo>
                      <a:lnTo>
                        <a:pt x="2238" y="276"/>
                      </a:lnTo>
                      <a:lnTo>
                        <a:pt x="2238" y="288"/>
                      </a:lnTo>
                      <a:lnTo>
                        <a:pt x="2232" y="300"/>
                      </a:lnTo>
                      <a:lnTo>
                        <a:pt x="2214" y="408"/>
                      </a:lnTo>
                      <a:lnTo>
                        <a:pt x="2208" y="432"/>
                      </a:lnTo>
                      <a:lnTo>
                        <a:pt x="2202" y="438"/>
                      </a:lnTo>
                      <a:lnTo>
                        <a:pt x="2190" y="462"/>
                      </a:lnTo>
                      <a:lnTo>
                        <a:pt x="2178" y="474"/>
                      </a:lnTo>
                      <a:lnTo>
                        <a:pt x="2172" y="486"/>
                      </a:lnTo>
                      <a:lnTo>
                        <a:pt x="2166" y="492"/>
                      </a:lnTo>
                      <a:lnTo>
                        <a:pt x="2166" y="516"/>
                      </a:lnTo>
                      <a:lnTo>
                        <a:pt x="2160" y="534"/>
                      </a:lnTo>
                      <a:lnTo>
                        <a:pt x="2154" y="546"/>
                      </a:lnTo>
                      <a:lnTo>
                        <a:pt x="2142" y="552"/>
                      </a:lnTo>
                      <a:lnTo>
                        <a:pt x="2088" y="570"/>
                      </a:lnTo>
                      <a:lnTo>
                        <a:pt x="2076" y="570"/>
                      </a:lnTo>
                      <a:lnTo>
                        <a:pt x="2064" y="576"/>
                      </a:lnTo>
                      <a:lnTo>
                        <a:pt x="2058" y="576"/>
                      </a:lnTo>
                      <a:lnTo>
                        <a:pt x="2058" y="570"/>
                      </a:lnTo>
                      <a:lnTo>
                        <a:pt x="2052" y="564"/>
                      </a:lnTo>
                      <a:lnTo>
                        <a:pt x="2028" y="516"/>
                      </a:lnTo>
                      <a:lnTo>
                        <a:pt x="2022" y="510"/>
                      </a:lnTo>
                      <a:lnTo>
                        <a:pt x="1998" y="492"/>
                      </a:lnTo>
                      <a:lnTo>
                        <a:pt x="1956" y="474"/>
                      </a:lnTo>
                      <a:lnTo>
                        <a:pt x="1920" y="462"/>
                      </a:lnTo>
                      <a:lnTo>
                        <a:pt x="1908" y="456"/>
                      </a:lnTo>
                      <a:lnTo>
                        <a:pt x="1896" y="438"/>
                      </a:lnTo>
                      <a:lnTo>
                        <a:pt x="1884" y="426"/>
                      </a:lnTo>
                      <a:lnTo>
                        <a:pt x="1872" y="402"/>
                      </a:lnTo>
                      <a:lnTo>
                        <a:pt x="1866" y="396"/>
                      </a:lnTo>
                      <a:lnTo>
                        <a:pt x="1830" y="396"/>
                      </a:lnTo>
                      <a:lnTo>
                        <a:pt x="1806" y="348"/>
                      </a:lnTo>
                      <a:lnTo>
                        <a:pt x="1824" y="330"/>
                      </a:lnTo>
                      <a:lnTo>
                        <a:pt x="1824" y="306"/>
                      </a:lnTo>
                      <a:lnTo>
                        <a:pt x="1830" y="294"/>
                      </a:lnTo>
                      <a:lnTo>
                        <a:pt x="1836" y="288"/>
                      </a:lnTo>
                      <a:lnTo>
                        <a:pt x="1848" y="282"/>
                      </a:lnTo>
                      <a:lnTo>
                        <a:pt x="1854" y="276"/>
                      </a:lnTo>
                      <a:lnTo>
                        <a:pt x="1848" y="228"/>
                      </a:lnTo>
                      <a:lnTo>
                        <a:pt x="1866" y="210"/>
                      </a:lnTo>
                      <a:lnTo>
                        <a:pt x="1872" y="216"/>
                      </a:lnTo>
                      <a:lnTo>
                        <a:pt x="1884" y="216"/>
                      </a:lnTo>
                      <a:lnTo>
                        <a:pt x="1890" y="222"/>
                      </a:lnTo>
                      <a:lnTo>
                        <a:pt x="1896" y="222"/>
                      </a:lnTo>
                      <a:lnTo>
                        <a:pt x="1902" y="216"/>
                      </a:lnTo>
                      <a:lnTo>
                        <a:pt x="1908" y="204"/>
                      </a:lnTo>
                      <a:lnTo>
                        <a:pt x="1908" y="180"/>
                      </a:lnTo>
                      <a:lnTo>
                        <a:pt x="1944" y="144"/>
                      </a:lnTo>
                      <a:lnTo>
                        <a:pt x="1938" y="132"/>
                      </a:lnTo>
                      <a:lnTo>
                        <a:pt x="1914" y="108"/>
                      </a:lnTo>
                      <a:lnTo>
                        <a:pt x="1890" y="108"/>
                      </a:lnTo>
                      <a:lnTo>
                        <a:pt x="1872" y="114"/>
                      </a:lnTo>
                      <a:lnTo>
                        <a:pt x="1848" y="126"/>
                      </a:lnTo>
                      <a:lnTo>
                        <a:pt x="1842" y="138"/>
                      </a:lnTo>
                      <a:lnTo>
                        <a:pt x="1842" y="120"/>
                      </a:lnTo>
                      <a:lnTo>
                        <a:pt x="1812" y="126"/>
                      </a:lnTo>
                      <a:lnTo>
                        <a:pt x="1794" y="138"/>
                      </a:lnTo>
                      <a:lnTo>
                        <a:pt x="1788" y="120"/>
                      </a:lnTo>
                      <a:lnTo>
                        <a:pt x="1752" y="114"/>
                      </a:lnTo>
                      <a:lnTo>
                        <a:pt x="1746" y="108"/>
                      </a:lnTo>
                      <a:lnTo>
                        <a:pt x="1734" y="102"/>
                      </a:lnTo>
                      <a:lnTo>
                        <a:pt x="1728" y="96"/>
                      </a:lnTo>
                      <a:lnTo>
                        <a:pt x="1716" y="90"/>
                      </a:lnTo>
                      <a:lnTo>
                        <a:pt x="1674" y="90"/>
                      </a:lnTo>
                      <a:lnTo>
                        <a:pt x="1662" y="84"/>
                      </a:lnTo>
                      <a:lnTo>
                        <a:pt x="1650" y="84"/>
                      </a:lnTo>
                      <a:lnTo>
                        <a:pt x="1650" y="78"/>
                      </a:lnTo>
                      <a:lnTo>
                        <a:pt x="1644" y="72"/>
                      </a:lnTo>
                      <a:lnTo>
                        <a:pt x="1632" y="48"/>
                      </a:lnTo>
                      <a:lnTo>
                        <a:pt x="1626" y="42"/>
                      </a:lnTo>
                      <a:lnTo>
                        <a:pt x="1620" y="42"/>
                      </a:lnTo>
                      <a:lnTo>
                        <a:pt x="1620" y="54"/>
                      </a:lnTo>
                      <a:lnTo>
                        <a:pt x="1614" y="60"/>
                      </a:lnTo>
                      <a:lnTo>
                        <a:pt x="1602" y="54"/>
                      </a:lnTo>
                      <a:lnTo>
                        <a:pt x="1596" y="54"/>
                      </a:lnTo>
                      <a:lnTo>
                        <a:pt x="1584" y="48"/>
                      </a:lnTo>
                      <a:lnTo>
                        <a:pt x="1566" y="48"/>
                      </a:lnTo>
                      <a:lnTo>
                        <a:pt x="1566" y="60"/>
                      </a:lnTo>
                      <a:lnTo>
                        <a:pt x="1572" y="66"/>
                      </a:lnTo>
                      <a:lnTo>
                        <a:pt x="1554" y="66"/>
                      </a:lnTo>
                      <a:lnTo>
                        <a:pt x="1548" y="72"/>
                      </a:lnTo>
                      <a:lnTo>
                        <a:pt x="1548" y="78"/>
                      </a:lnTo>
                      <a:lnTo>
                        <a:pt x="1554" y="84"/>
                      </a:lnTo>
                      <a:lnTo>
                        <a:pt x="1566" y="84"/>
                      </a:lnTo>
                      <a:lnTo>
                        <a:pt x="1590" y="96"/>
                      </a:lnTo>
                      <a:lnTo>
                        <a:pt x="1596" y="96"/>
                      </a:lnTo>
                      <a:lnTo>
                        <a:pt x="1608" y="90"/>
                      </a:lnTo>
                      <a:lnTo>
                        <a:pt x="1614" y="84"/>
                      </a:lnTo>
                      <a:lnTo>
                        <a:pt x="1644" y="102"/>
                      </a:lnTo>
                      <a:lnTo>
                        <a:pt x="1638" y="102"/>
                      </a:lnTo>
                      <a:lnTo>
                        <a:pt x="1632" y="108"/>
                      </a:lnTo>
                      <a:lnTo>
                        <a:pt x="1596" y="126"/>
                      </a:lnTo>
                      <a:lnTo>
                        <a:pt x="1572" y="126"/>
                      </a:lnTo>
                      <a:lnTo>
                        <a:pt x="1554" y="132"/>
                      </a:lnTo>
                      <a:lnTo>
                        <a:pt x="1512" y="132"/>
                      </a:lnTo>
                      <a:lnTo>
                        <a:pt x="1500" y="138"/>
                      </a:lnTo>
                      <a:lnTo>
                        <a:pt x="1482" y="144"/>
                      </a:lnTo>
                      <a:lnTo>
                        <a:pt x="1470" y="156"/>
                      </a:lnTo>
                      <a:lnTo>
                        <a:pt x="1452" y="162"/>
                      </a:lnTo>
                      <a:lnTo>
                        <a:pt x="1440" y="168"/>
                      </a:lnTo>
                      <a:lnTo>
                        <a:pt x="1434" y="174"/>
                      </a:lnTo>
                      <a:lnTo>
                        <a:pt x="1428" y="174"/>
                      </a:lnTo>
                      <a:lnTo>
                        <a:pt x="1428" y="186"/>
                      </a:lnTo>
                      <a:lnTo>
                        <a:pt x="1422" y="204"/>
                      </a:lnTo>
                      <a:lnTo>
                        <a:pt x="1422" y="228"/>
                      </a:lnTo>
                      <a:lnTo>
                        <a:pt x="1428" y="234"/>
                      </a:lnTo>
                      <a:lnTo>
                        <a:pt x="1440" y="240"/>
                      </a:lnTo>
                      <a:lnTo>
                        <a:pt x="1446" y="246"/>
                      </a:lnTo>
                      <a:lnTo>
                        <a:pt x="1452" y="246"/>
                      </a:lnTo>
                      <a:lnTo>
                        <a:pt x="1398" y="246"/>
                      </a:lnTo>
                      <a:lnTo>
                        <a:pt x="1368" y="282"/>
                      </a:lnTo>
                      <a:lnTo>
                        <a:pt x="1368" y="312"/>
                      </a:lnTo>
                      <a:lnTo>
                        <a:pt x="1362" y="324"/>
                      </a:lnTo>
                      <a:lnTo>
                        <a:pt x="1362" y="330"/>
                      </a:lnTo>
                      <a:lnTo>
                        <a:pt x="1368" y="336"/>
                      </a:lnTo>
                      <a:lnTo>
                        <a:pt x="1380" y="336"/>
                      </a:lnTo>
                      <a:lnTo>
                        <a:pt x="1404" y="348"/>
                      </a:lnTo>
                      <a:lnTo>
                        <a:pt x="1410" y="354"/>
                      </a:lnTo>
                      <a:lnTo>
                        <a:pt x="1410" y="390"/>
                      </a:lnTo>
                      <a:lnTo>
                        <a:pt x="1386" y="366"/>
                      </a:lnTo>
                      <a:lnTo>
                        <a:pt x="1356" y="366"/>
                      </a:lnTo>
                      <a:lnTo>
                        <a:pt x="1344" y="390"/>
                      </a:lnTo>
                      <a:lnTo>
                        <a:pt x="1308" y="354"/>
                      </a:lnTo>
                      <a:lnTo>
                        <a:pt x="1302" y="384"/>
                      </a:lnTo>
                      <a:lnTo>
                        <a:pt x="1278" y="396"/>
                      </a:lnTo>
                      <a:lnTo>
                        <a:pt x="1284" y="420"/>
                      </a:lnTo>
                      <a:lnTo>
                        <a:pt x="1254" y="414"/>
                      </a:lnTo>
                      <a:lnTo>
                        <a:pt x="1284" y="354"/>
                      </a:lnTo>
                      <a:lnTo>
                        <a:pt x="1278" y="348"/>
                      </a:lnTo>
                      <a:lnTo>
                        <a:pt x="1272" y="336"/>
                      </a:lnTo>
                      <a:lnTo>
                        <a:pt x="1272" y="324"/>
                      </a:lnTo>
                      <a:lnTo>
                        <a:pt x="1266" y="318"/>
                      </a:lnTo>
                      <a:lnTo>
                        <a:pt x="1254" y="312"/>
                      </a:lnTo>
                      <a:lnTo>
                        <a:pt x="1236" y="312"/>
                      </a:lnTo>
                      <a:lnTo>
                        <a:pt x="1224" y="282"/>
                      </a:lnTo>
                      <a:lnTo>
                        <a:pt x="1224" y="276"/>
                      </a:lnTo>
                      <a:lnTo>
                        <a:pt x="1230" y="270"/>
                      </a:lnTo>
                      <a:lnTo>
                        <a:pt x="1230" y="258"/>
                      </a:lnTo>
                      <a:lnTo>
                        <a:pt x="1224" y="246"/>
                      </a:lnTo>
                      <a:lnTo>
                        <a:pt x="1218" y="240"/>
                      </a:lnTo>
                      <a:lnTo>
                        <a:pt x="1206" y="234"/>
                      </a:lnTo>
                      <a:lnTo>
                        <a:pt x="1194" y="240"/>
                      </a:lnTo>
                      <a:lnTo>
                        <a:pt x="1188" y="246"/>
                      </a:lnTo>
                      <a:lnTo>
                        <a:pt x="1176" y="252"/>
                      </a:lnTo>
                      <a:lnTo>
                        <a:pt x="1176" y="264"/>
                      </a:lnTo>
                      <a:lnTo>
                        <a:pt x="1182" y="270"/>
                      </a:lnTo>
                      <a:lnTo>
                        <a:pt x="1182" y="282"/>
                      </a:lnTo>
                      <a:lnTo>
                        <a:pt x="1146" y="276"/>
                      </a:lnTo>
                      <a:lnTo>
                        <a:pt x="1152" y="306"/>
                      </a:lnTo>
                      <a:lnTo>
                        <a:pt x="1134" y="300"/>
                      </a:lnTo>
                      <a:lnTo>
                        <a:pt x="1116" y="306"/>
                      </a:lnTo>
                      <a:lnTo>
                        <a:pt x="1122" y="312"/>
                      </a:lnTo>
                      <a:lnTo>
                        <a:pt x="1122" y="330"/>
                      </a:lnTo>
                      <a:lnTo>
                        <a:pt x="1116" y="342"/>
                      </a:lnTo>
                      <a:lnTo>
                        <a:pt x="1110" y="348"/>
                      </a:lnTo>
                      <a:lnTo>
                        <a:pt x="1098" y="354"/>
                      </a:lnTo>
                      <a:lnTo>
                        <a:pt x="1092" y="360"/>
                      </a:lnTo>
                      <a:lnTo>
                        <a:pt x="1104" y="324"/>
                      </a:lnTo>
                      <a:lnTo>
                        <a:pt x="1080" y="348"/>
                      </a:lnTo>
                      <a:lnTo>
                        <a:pt x="1062" y="348"/>
                      </a:lnTo>
                      <a:lnTo>
                        <a:pt x="1056" y="360"/>
                      </a:lnTo>
                      <a:lnTo>
                        <a:pt x="1050" y="366"/>
                      </a:lnTo>
                      <a:lnTo>
                        <a:pt x="1050" y="378"/>
                      </a:lnTo>
                      <a:lnTo>
                        <a:pt x="1056" y="390"/>
                      </a:lnTo>
                      <a:lnTo>
                        <a:pt x="1056" y="396"/>
                      </a:lnTo>
                      <a:lnTo>
                        <a:pt x="1062" y="408"/>
                      </a:lnTo>
                      <a:lnTo>
                        <a:pt x="1014" y="384"/>
                      </a:lnTo>
                      <a:lnTo>
                        <a:pt x="1008" y="420"/>
                      </a:lnTo>
                      <a:lnTo>
                        <a:pt x="996" y="426"/>
                      </a:lnTo>
                      <a:lnTo>
                        <a:pt x="1008" y="450"/>
                      </a:lnTo>
                      <a:lnTo>
                        <a:pt x="1032" y="450"/>
                      </a:lnTo>
                      <a:lnTo>
                        <a:pt x="1026" y="468"/>
                      </a:lnTo>
                      <a:lnTo>
                        <a:pt x="954" y="474"/>
                      </a:lnTo>
                      <a:lnTo>
                        <a:pt x="948" y="468"/>
                      </a:lnTo>
                      <a:lnTo>
                        <a:pt x="936" y="462"/>
                      </a:lnTo>
                      <a:lnTo>
                        <a:pt x="930" y="462"/>
                      </a:lnTo>
                      <a:lnTo>
                        <a:pt x="918" y="468"/>
                      </a:lnTo>
                      <a:lnTo>
                        <a:pt x="912" y="474"/>
                      </a:lnTo>
                      <a:lnTo>
                        <a:pt x="918" y="486"/>
                      </a:lnTo>
                      <a:lnTo>
                        <a:pt x="918" y="492"/>
                      </a:lnTo>
                      <a:lnTo>
                        <a:pt x="924" y="504"/>
                      </a:lnTo>
                      <a:lnTo>
                        <a:pt x="930" y="510"/>
                      </a:lnTo>
                      <a:lnTo>
                        <a:pt x="930" y="540"/>
                      </a:lnTo>
                      <a:lnTo>
                        <a:pt x="924" y="564"/>
                      </a:lnTo>
                      <a:lnTo>
                        <a:pt x="930" y="600"/>
                      </a:lnTo>
                      <a:lnTo>
                        <a:pt x="912" y="600"/>
                      </a:lnTo>
                      <a:lnTo>
                        <a:pt x="906" y="522"/>
                      </a:lnTo>
                      <a:lnTo>
                        <a:pt x="888" y="510"/>
                      </a:lnTo>
                      <a:lnTo>
                        <a:pt x="888" y="480"/>
                      </a:lnTo>
                      <a:lnTo>
                        <a:pt x="870" y="480"/>
                      </a:lnTo>
                      <a:lnTo>
                        <a:pt x="852" y="504"/>
                      </a:lnTo>
                      <a:lnTo>
                        <a:pt x="822" y="534"/>
                      </a:lnTo>
                      <a:lnTo>
                        <a:pt x="804" y="546"/>
                      </a:lnTo>
                      <a:lnTo>
                        <a:pt x="792" y="558"/>
                      </a:lnTo>
                      <a:lnTo>
                        <a:pt x="786" y="570"/>
                      </a:lnTo>
                      <a:lnTo>
                        <a:pt x="786" y="600"/>
                      </a:lnTo>
                      <a:lnTo>
                        <a:pt x="792" y="606"/>
                      </a:lnTo>
                      <a:lnTo>
                        <a:pt x="792" y="618"/>
                      </a:lnTo>
                      <a:lnTo>
                        <a:pt x="798" y="618"/>
                      </a:lnTo>
                      <a:lnTo>
                        <a:pt x="816" y="636"/>
                      </a:lnTo>
                      <a:lnTo>
                        <a:pt x="810" y="648"/>
                      </a:lnTo>
                      <a:lnTo>
                        <a:pt x="792" y="654"/>
                      </a:lnTo>
                      <a:lnTo>
                        <a:pt x="774" y="666"/>
                      </a:lnTo>
                      <a:lnTo>
                        <a:pt x="750" y="678"/>
                      </a:lnTo>
                      <a:lnTo>
                        <a:pt x="750" y="696"/>
                      </a:lnTo>
                      <a:lnTo>
                        <a:pt x="720" y="726"/>
                      </a:lnTo>
                      <a:lnTo>
                        <a:pt x="702" y="732"/>
                      </a:lnTo>
                      <a:lnTo>
                        <a:pt x="690" y="744"/>
                      </a:lnTo>
                      <a:lnTo>
                        <a:pt x="666" y="756"/>
                      </a:lnTo>
                      <a:lnTo>
                        <a:pt x="630" y="762"/>
                      </a:lnTo>
                      <a:lnTo>
                        <a:pt x="600" y="768"/>
                      </a:lnTo>
                      <a:lnTo>
                        <a:pt x="588" y="768"/>
                      </a:lnTo>
                      <a:lnTo>
                        <a:pt x="534" y="762"/>
                      </a:lnTo>
                      <a:lnTo>
                        <a:pt x="492" y="780"/>
                      </a:lnTo>
                      <a:lnTo>
                        <a:pt x="438" y="786"/>
                      </a:lnTo>
                      <a:lnTo>
                        <a:pt x="432" y="798"/>
                      </a:lnTo>
                      <a:lnTo>
                        <a:pt x="414" y="798"/>
                      </a:lnTo>
                      <a:lnTo>
                        <a:pt x="402" y="804"/>
                      </a:lnTo>
                      <a:lnTo>
                        <a:pt x="396" y="810"/>
                      </a:lnTo>
                      <a:lnTo>
                        <a:pt x="384" y="816"/>
                      </a:lnTo>
                      <a:lnTo>
                        <a:pt x="372" y="828"/>
                      </a:lnTo>
                      <a:lnTo>
                        <a:pt x="342" y="828"/>
                      </a:lnTo>
                      <a:lnTo>
                        <a:pt x="324" y="834"/>
                      </a:lnTo>
                      <a:lnTo>
                        <a:pt x="312" y="840"/>
                      </a:lnTo>
                      <a:lnTo>
                        <a:pt x="306" y="852"/>
                      </a:lnTo>
                      <a:lnTo>
                        <a:pt x="294" y="858"/>
                      </a:lnTo>
                      <a:lnTo>
                        <a:pt x="288" y="870"/>
                      </a:lnTo>
                      <a:lnTo>
                        <a:pt x="282" y="876"/>
                      </a:lnTo>
                      <a:lnTo>
                        <a:pt x="282" y="882"/>
                      </a:lnTo>
                      <a:lnTo>
                        <a:pt x="276" y="882"/>
                      </a:lnTo>
                      <a:lnTo>
                        <a:pt x="270" y="888"/>
                      </a:lnTo>
                      <a:lnTo>
                        <a:pt x="252" y="888"/>
                      </a:lnTo>
                      <a:lnTo>
                        <a:pt x="240" y="894"/>
                      </a:lnTo>
                      <a:lnTo>
                        <a:pt x="228" y="894"/>
                      </a:lnTo>
                      <a:lnTo>
                        <a:pt x="216" y="900"/>
                      </a:lnTo>
                      <a:lnTo>
                        <a:pt x="210" y="906"/>
                      </a:lnTo>
                      <a:lnTo>
                        <a:pt x="198" y="912"/>
                      </a:lnTo>
                      <a:lnTo>
                        <a:pt x="192" y="930"/>
                      </a:lnTo>
                      <a:lnTo>
                        <a:pt x="150" y="972"/>
                      </a:lnTo>
                      <a:lnTo>
                        <a:pt x="150" y="978"/>
                      </a:lnTo>
                      <a:lnTo>
                        <a:pt x="162" y="912"/>
                      </a:lnTo>
                      <a:lnTo>
                        <a:pt x="144" y="918"/>
                      </a:lnTo>
                      <a:lnTo>
                        <a:pt x="120" y="978"/>
                      </a:lnTo>
                      <a:lnTo>
                        <a:pt x="90" y="1038"/>
                      </a:lnTo>
                      <a:lnTo>
                        <a:pt x="90" y="1056"/>
                      </a:lnTo>
                      <a:lnTo>
                        <a:pt x="96" y="1062"/>
                      </a:lnTo>
                      <a:lnTo>
                        <a:pt x="108" y="1068"/>
                      </a:lnTo>
                      <a:lnTo>
                        <a:pt x="114" y="1068"/>
                      </a:lnTo>
                      <a:lnTo>
                        <a:pt x="108" y="1080"/>
                      </a:lnTo>
                      <a:lnTo>
                        <a:pt x="96" y="1086"/>
                      </a:lnTo>
                      <a:lnTo>
                        <a:pt x="90" y="1098"/>
                      </a:lnTo>
                      <a:lnTo>
                        <a:pt x="66" y="1122"/>
                      </a:lnTo>
                      <a:lnTo>
                        <a:pt x="66" y="1134"/>
                      </a:lnTo>
                      <a:lnTo>
                        <a:pt x="72" y="1152"/>
                      </a:lnTo>
                      <a:lnTo>
                        <a:pt x="72" y="1164"/>
                      </a:lnTo>
                      <a:lnTo>
                        <a:pt x="84" y="1188"/>
                      </a:lnTo>
                      <a:lnTo>
                        <a:pt x="84" y="1200"/>
                      </a:lnTo>
                      <a:lnTo>
                        <a:pt x="102" y="1236"/>
                      </a:lnTo>
                      <a:lnTo>
                        <a:pt x="108" y="1254"/>
                      </a:lnTo>
                      <a:lnTo>
                        <a:pt x="114" y="1266"/>
                      </a:lnTo>
                      <a:lnTo>
                        <a:pt x="114" y="1278"/>
                      </a:lnTo>
                      <a:lnTo>
                        <a:pt x="108" y="1278"/>
                      </a:lnTo>
                      <a:lnTo>
                        <a:pt x="96" y="1266"/>
                      </a:lnTo>
                      <a:lnTo>
                        <a:pt x="90" y="1254"/>
                      </a:lnTo>
                      <a:lnTo>
                        <a:pt x="72" y="1236"/>
                      </a:lnTo>
                      <a:lnTo>
                        <a:pt x="66" y="1224"/>
                      </a:lnTo>
                      <a:lnTo>
                        <a:pt x="48" y="1218"/>
                      </a:lnTo>
                      <a:lnTo>
                        <a:pt x="66" y="1266"/>
                      </a:lnTo>
                      <a:lnTo>
                        <a:pt x="30" y="1236"/>
                      </a:lnTo>
                      <a:lnTo>
                        <a:pt x="30" y="1290"/>
                      </a:lnTo>
                      <a:lnTo>
                        <a:pt x="60" y="1350"/>
                      </a:lnTo>
                      <a:lnTo>
                        <a:pt x="66" y="1356"/>
                      </a:lnTo>
                      <a:lnTo>
                        <a:pt x="66" y="1368"/>
                      </a:lnTo>
                      <a:lnTo>
                        <a:pt x="60" y="1374"/>
                      </a:lnTo>
                      <a:lnTo>
                        <a:pt x="54" y="1386"/>
                      </a:lnTo>
                      <a:lnTo>
                        <a:pt x="54" y="1398"/>
                      </a:lnTo>
                      <a:lnTo>
                        <a:pt x="48" y="1410"/>
                      </a:lnTo>
                      <a:lnTo>
                        <a:pt x="54" y="1416"/>
                      </a:lnTo>
                      <a:lnTo>
                        <a:pt x="60" y="1428"/>
                      </a:lnTo>
                      <a:lnTo>
                        <a:pt x="78" y="1446"/>
                      </a:lnTo>
                      <a:lnTo>
                        <a:pt x="84" y="1458"/>
                      </a:lnTo>
                      <a:lnTo>
                        <a:pt x="90" y="1464"/>
                      </a:lnTo>
                      <a:lnTo>
                        <a:pt x="96" y="1476"/>
                      </a:lnTo>
                      <a:lnTo>
                        <a:pt x="96" y="1506"/>
                      </a:lnTo>
                      <a:lnTo>
                        <a:pt x="90" y="1518"/>
                      </a:lnTo>
                      <a:lnTo>
                        <a:pt x="84" y="1524"/>
                      </a:lnTo>
                      <a:lnTo>
                        <a:pt x="90" y="1542"/>
                      </a:lnTo>
                      <a:lnTo>
                        <a:pt x="90" y="1554"/>
                      </a:lnTo>
                      <a:lnTo>
                        <a:pt x="96" y="1572"/>
                      </a:lnTo>
                      <a:lnTo>
                        <a:pt x="96" y="1590"/>
                      </a:lnTo>
                      <a:lnTo>
                        <a:pt x="102" y="1596"/>
                      </a:lnTo>
                      <a:lnTo>
                        <a:pt x="102" y="1602"/>
                      </a:lnTo>
                      <a:lnTo>
                        <a:pt x="96" y="1602"/>
                      </a:lnTo>
                      <a:lnTo>
                        <a:pt x="78" y="1620"/>
                      </a:lnTo>
                      <a:lnTo>
                        <a:pt x="84" y="1626"/>
                      </a:lnTo>
                      <a:lnTo>
                        <a:pt x="84" y="1638"/>
                      </a:lnTo>
                      <a:lnTo>
                        <a:pt x="90" y="1650"/>
                      </a:lnTo>
                      <a:lnTo>
                        <a:pt x="90" y="1662"/>
                      </a:lnTo>
                      <a:lnTo>
                        <a:pt x="96" y="1668"/>
                      </a:lnTo>
                      <a:lnTo>
                        <a:pt x="96" y="1674"/>
                      </a:lnTo>
                      <a:lnTo>
                        <a:pt x="102" y="1674"/>
                      </a:lnTo>
                      <a:lnTo>
                        <a:pt x="108" y="1680"/>
                      </a:lnTo>
                      <a:lnTo>
                        <a:pt x="126" y="1716"/>
                      </a:lnTo>
                      <a:lnTo>
                        <a:pt x="126" y="1728"/>
                      </a:lnTo>
                      <a:lnTo>
                        <a:pt x="108" y="1764"/>
                      </a:lnTo>
                      <a:lnTo>
                        <a:pt x="90" y="1782"/>
                      </a:lnTo>
                      <a:lnTo>
                        <a:pt x="90" y="1824"/>
                      </a:lnTo>
                      <a:lnTo>
                        <a:pt x="84" y="1842"/>
                      </a:lnTo>
                      <a:lnTo>
                        <a:pt x="60" y="1866"/>
                      </a:lnTo>
                      <a:lnTo>
                        <a:pt x="42" y="1866"/>
                      </a:lnTo>
                      <a:lnTo>
                        <a:pt x="30" y="1872"/>
                      </a:lnTo>
                      <a:lnTo>
                        <a:pt x="18" y="1866"/>
                      </a:lnTo>
                      <a:lnTo>
                        <a:pt x="6" y="1866"/>
                      </a:lnTo>
                      <a:lnTo>
                        <a:pt x="0" y="1920"/>
                      </a:lnTo>
                      <a:lnTo>
                        <a:pt x="12" y="1920"/>
                      </a:lnTo>
                      <a:lnTo>
                        <a:pt x="24" y="1926"/>
                      </a:lnTo>
                      <a:lnTo>
                        <a:pt x="42" y="1926"/>
                      </a:lnTo>
                      <a:lnTo>
                        <a:pt x="54" y="1932"/>
                      </a:lnTo>
                      <a:lnTo>
                        <a:pt x="72" y="1950"/>
                      </a:lnTo>
                      <a:lnTo>
                        <a:pt x="78" y="1962"/>
                      </a:lnTo>
                      <a:lnTo>
                        <a:pt x="108" y="1956"/>
                      </a:lnTo>
                      <a:lnTo>
                        <a:pt x="114" y="1968"/>
                      </a:lnTo>
                      <a:lnTo>
                        <a:pt x="138" y="1980"/>
                      </a:lnTo>
                      <a:lnTo>
                        <a:pt x="174" y="1980"/>
                      </a:lnTo>
                      <a:lnTo>
                        <a:pt x="210" y="1968"/>
                      </a:lnTo>
                      <a:lnTo>
                        <a:pt x="234" y="1968"/>
                      </a:lnTo>
                      <a:lnTo>
                        <a:pt x="234" y="1950"/>
                      </a:lnTo>
                      <a:lnTo>
                        <a:pt x="228" y="1944"/>
                      </a:lnTo>
                      <a:lnTo>
                        <a:pt x="264" y="1950"/>
                      </a:lnTo>
                      <a:lnTo>
                        <a:pt x="276" y="1932"/>
                      </a:lnTo>
                      <a:lnTo>
                        <a:pt x="318" y="1926"/>
                      </a:lnTo>
                      <a:lnTo>
                        <a:pt x="354" y="1890"/>
                      </a:lnTo>
                      <a:lnTo>
                        <a:pt x="366" y="1884"/>
                      </a:lnTo>
                      <a:lnTo>
                        <a:pt x="372" y="1884"/>
                      </a:lnTo>
                      <a:lnTo>
                        <a:pt x="420" y="1908"/>
                      </a:lnTo>
                      <a:lnTo>
                        <a:pt x="426" y="1902"/>
                      </a:lnTo>
                      <a:lnTo>
                        <a:pt x="474" y="1878"/>
                      </a:lnTo>
                      <a:lnTo>
                        <a:pt x="480" y="1872"/>
                      </a:lnTo>
                      <a:lnTo>
                        <a:pt x="486" y="1872"/>
                      </a:lnTo>
                      <a:lnTo>
                        <a:pt x="498" y="1878"/>
                      </a:lnTo>
                      <a:lnTo>
                        <a:pt x="504" y="1884"/>
                      </a:lnTo>
                      <a:lnTo>
                        <a:pt x="516" y="1884"/>
                      </a:lnTo>
                      <a:lnTo>
                        <a:pt x="528" y="1890"/>
                      </a:lnTo>
                      <a:lnTo>
                        <a:pt x="534" y="1890"/>
                      </a:lnTo>
                      <a:lnTo>
                        <a:pt x="552" y="1884"/>
                      </a:lnTo>
                      <a:lnTo>
                        <a:pt x="576" y="1872"/>
                      </a:lnTo>
                      <a:lnTo>
                        <a:pt x="582" y="1872"/>
                      </a:lnTo>
                      <a:lnTo>
                        <a:pt x="594" y="1878"/>
                      </a:lnTo>
                      <a:lnTo>
                        <a:pt x="606" y="1878"/>
                      </a:lnTo>
                      <a:lnTo>
                        <a:pt x="624" y="1884"/>
                      </a:lnTo>
                      <a:lnTo>
                        <a:pt x="636" y="1884"/>
                      </a:lnTo>
                      <a:lnTo>
                        <a:pt x="648" y="1878"/>
                      </a:lnTo>
                      <a:lnTo>
                        <a:pt x="654" y="1872"/>
                      </a:lnTo>
                      <a:lnTo>
                        <a:pt x="654" y="1848"/>
                      </a:lnTo>
                      <a:lnTo>
                        <a:pt x="666" y="1848"/>
                      </a:lnTo>
                      <a:lnTo>
                        <a:pt x="672" y="1842"/>
                      </a:lnTo>
                      <a:lnTo>
                        <a:pt x="678" y="1842"/>
                      </a:lnTo>
                      <a:lnTo>
                        <a:pt x="684" y="1836"/>
                      </a:lnTo>
                      <a:lnTo>
                        <a:pt x="690" y="1824"/>
                      </a:lnTo>
                      <a:lnTo>
                        <a:pt x="702" y="1788"/>
                      </a:lnTo>
                      <a:lnTo>
                        <a:pt x="714" y="1776"/>
                      </a:lnTo>
                      <a:lnTo>
                        <a:pt x="726" y="1770"/>
                      </a:lnTo>
                      <a:lnTo>
                        <a:pt x="744" y="1764"/>
                      </a:lnTo>
                      <a:lnTo>
                        <a:pt x="756" y="1764"/>
                      </a:lnTo>
                      <a:lnTo>
                        <a:pt x="774" y="1770"/>
                      </a:lnTo>
                      <a:lnTo>
                        <a:pt x="798" y="1770"/>
                      </a:lnTo>
                      <a:lnTo>
                        <a:pt x="822" y="1758"/>
                      </a:lnTo>
                      <a:lnTo>
                        <a:pt x="840" y="1752"/>
                      </a:lnTo>
                      <a:lnTo>
                        <a:pt x="858" y="1740"/>
                      </a:lnTo>
                      <a:lnTo>
                        <a:pt x="876" y="1734"/>
                      </a:lnTo>
                      <a:lnTo>
                        <a:pt x="912" y="1734"/>
                      </a:lnTo>
                      <a:lnTo>
                        <a:pt x="918" y="1740"/>
                      </a:lnTo>
                      <a:lnTo>
                        <a:pt x="930" y="1740"/>
                      </a:lnTo>
                      <a:lnTo>
                        <a:pt x="942" y="1746"/>
                      </a:lnTo>
                      <a:lnTo>
                        <a:pt x="972" y="1740"/>
                      </a:lnTo>
                      <a:lnTo>
                        <a:pt x="1044" y="1704"/>
                      </a:lnTo>
                      <a:lnTo>
                        <a:pt x="1074" y="1692"/>
                      </a:lnTo>
                      <a:lnTo>
                        <a:pt x="1098" y="1686"/>
                      </a:lnTo>
                      <a:lnTo>
                        <a:pt x="1140" y="1680"/>
                      </a:lnTo>
                      <a:lnTo>
                        <a:pt x="1176" y="1674"/>
                      </a:lnTo>
                      <a:lnTo>
                        <a:pt x="1224" y="1674"/>
                      </a:lnTo>
                      <a:lnTo>
                        <a:pt x="1236" y="1662"/>
                      </a:lnTo>
                      <a:lnTo>
                        <a:pt x="1254" y="1680"/>
                      </a:lnTo>
                      <a:lnTo>
                        <a:pt x="1266" y="1686"/>
                      </a:lnTo>
                      <a:lnTo>
                        <a:pt x="1278" y="1698"/>
                      </a:lnTo>
                      <a:lnTo>
                        <a:pt x="1302" y="1710"/>
                      </a:lnTo>
                      <a:lnTo>
                        <a:pt x="1320" y="1716"/>
                      </a:lnTo>
                      <a:lnTo>
                        <a:pt x="1332" y="1716"/>
                      </a:lnTo>
                      <a:lnTo>
                        <a:pt x="1338" y="1710"/>
                      </a:lnTo>
                      <a:lnTo>
                        <a:pt x="1338" y="1716"/>
                      </a:lnTo>
                      <a:lnTo>
                        <a:pt x="1344" y="1722"/>
                      </a:lnTo>
                      <a:lnTo>
                        <a:pt x="1350" y="1734"/>
                      </a:lnTo>
                      <a:lnTo>
                        <a:pt x="1356" y="1740"/>
                      </a:lnTo>
                      <a:lnTo>
                        <a:pt x="1374" y="1740"/>
                      </a:lnTo>
                      <a:lnTo>
                        <a:pt x="1380" y="1734"/>
                      </a:lnTo>
                      <a:lnTo>
                        <a:pt x="1380" y="1752"/>
                      </a:lnTo>
                      <a:lnTo>
                        <a:pt x="1392" y="1752"/>
                      </a:lnTo>
                      <a:lnTo>
                        <a:pt x="1398" y="1758"/>
                      </a:lnTo>
                      <a:lnTo>
                        <a:pt x="1398" y="1770"/>
                      </a:lnTo>
                      <a:lnTo>
                        <a:pt x="1386" y="1794"/>
                      </a:lnTo>
                      <a:lnTo>
                        <a:pt x="1380" y="1800"/>
                      </a:lnTo>
                      <a:lnTo>
                        <a:pt x="1374" y="1812"/>
                      </a:lnTo>
                      <a:lnTo>
                        <a:pt x="1392" y="1842"/>
                      </a:lnTo>
                      <a:lnTo>
                        <a:pt x="1410" y="1830"/>
                      </a:lnTo>
                      <a:lnTo>
                        <a:pt x="1428" y="1866"/>
                      </a:lnTo>
                      <a:lnTo>
                        <a:pt x="1428" y="1872"/>
                      </a:lnTo>
                      <a:lnTo>
                        <a:pt x="1434" y="1878"/>
                      </a:lnTo>
                      <a:lnTo>
                        <a:pt x="1434" y="1902"/>
                      </a:lnTo>
                      <a:lnTo>
                        <a:pt x="1440" y="1914"/>
                      </a:lnTo>
                      <a:lnTo>
                        <a:pt x="1440" y="1926"/>
                      </a:lnTo>
                      <a:lnTo>
                        <a:pt x="1422" y="1926"/>
                      </a:lnTo>
                      <a:lnTo>
                        <a:pt x="1410" y="1920"/>
                      </a:lnTo>
                      <a:lnTo>
                        <a:pt x="1404" y="1920"/>
                      </a:lnTo>
                      <a:lnTo>
                        <a:pt x="1410" y="1956"/>
                      </a:lnTo>
                      <a:lnTo>
                        <a:pt x="1446" y="1956"/>
                      </a:lnTo>
                      <a:lnTo>
                        <a:pt x="1452" y="1962"/>
                      </a:lnTo>
                      <a:lnTo>
                        <a:pt x="1452" y="1968"/>
                      </a:lnTo>
                      <a:lnTo>
                        <a:pt x="1470" y="1968"/>
                      </a:lnTo>
                      <a:lnTo>
                        <a:pt x="1470" y="1956"/>
                      </a:lnTo>
                      <a:lnTo>
                        <a:pt x="1464" y="1938"/>
                      </a:lnTo>
                      <a:lnTo>
                        <a:pt x="1464" y="1926"/>
                      </a:lnTo>
                      <a:lnTo>
                        <a:pt x="1470" y="1914"/>
                      </a:lnTo>
                      <a:lnTo>
                        <a:pt x="1476" y="1908"/>
                      </a:lnTo>
                      <a:lnTo>
                        <a:pt x="1500" y="1896"/>
                      </a:lnTo>
                      <a:lnTo>
                        <a:pt x="1512" y="1896"/>
                      </a:lnTo>
                      <a:lnTo>
                        <a:pt x="1518" y="1890"/>
                      </a:lnTo>
                      <a:lnTo>
                        <a:pt x="1530" y="1884"/>
                      </a:lnTo>
                      <a:lnTo>
                        <a:pt x="1542" y="1872"/>
                      </a:lnTo>
                      <a:lnTo>
                        <a:pt x="1548" y="1860"/>
                      </a:lnTo>
                      <a:lnTo>
                        <a:pt x="1566" y="1842"/>
                      </a:lnTo>
                      <a:lnTo>
                        <a:pt x="1566" y="1836"/>
                      </a:lnTo>
                      <a:lnTo>
                        <a:pt x="1590" y="1842"/>
                      </a:lnTo>
                      <a:lnTo>
                        <a:pt x="1608" y="1788"/>
                      </a:lnTo>
                      <a:lnTo>
                        <a:pt x="1638" y="1788"/>
                      </a:lnTo>
                      <a:lnTo>
                        <a:pt x="1650" y="1782"/>
                      </a:lnTo>
                      <a:lnTo>
                        <a:pt x="1662" y="1770"/>
                      </a:lnTo>
                      <a:lnTo>
                        <a:pt x="1668" y="1752"/>
                      </a:lnTo>
                      <a:lnTo>
                        <a:pt x="1668" y="1740"/>
                      </a:lnTo>
                      <a:lnTo>
                        <a:pt x="1668" y="1746"/>
                      </a:lnTo>
                      <a:lnTo>
                        <a:pt x="1674" y="1752"/>
                      </a:lnTo>
                      <a:lnTo>
                        <a:pt x="1674" y="1764"/>
                      </a:lnTo>
                      <a:lnTo>
                        <a:pt x="1680" y="1776"/>
                      </a:lnTo>
                      <a:lnTo>
                        <a:pt x="1680" y="1782"/>
                      </a:lnTo>
                      <a:lnTo>
                        <a:pt x="1668" y="1794"/>
                      </a:lnTo>
                      <a:lnTo>
                        <a:pt x="1662" y="1806"/>
                      </a:lnTo>
                      <a:lnTo>
                        <a:pt x="1650" y="1812"/>
                      </a:lnTo>
                      <a:lnTo>
                        <a:pt x="1644" y="1818"/>
                      </a:lnTo>
                      <a:lnTo>
                        <a:pt x="1620" y="1818"/>
                      </a:lnTo>
                      <a:lnTo>
                        <a:pt x="1614" y="1830"/>
                      </a:lnTo>
                      <a:lnTo>
                        <a:pt x="1632" y="1866"/>
                      </a:lnTo>
                      <a:lnTo>
                        <a:pt x="1620" y="1866"/>
                      </a:lnTo>
                      <a:lnTo>
                        <a:pt x="1614" y="1872"/>
                      </a:lnTo>
                      <a:lnTo>
                        <a:pt x="1602" y="1878"/>
                      </a:lnTo>
                      <a:lnTo>
                        <a:pt x="1566" y="1914"/>
                      </a:lnTo>
                      <a:lnTo>
                        <a:pt x="1566" y="1926"/>
                      </a:lnTo>
                      <a:lnTo>
                        <a:pt x="1560" y="1932"/>
                      </a:lnTo>
                      <a:lnTo>
                        <a:pt x="1554" y="1944"/>
                      </a:lnTo>
                      <a:lnTo>
                        <a:pt x="1542" y="1956"/>
                      </a:lnTo>
                      <a:lnTo>
                        <a:pt x="1518" y="1968"/>
                      </a:lnTo>
                      <a:lnTo>
                        <a:pt x="1512" y="1974"/>
                      </a:lnTo>
                      <a:lnTo>
                        <a:pt x="1512" y="1980"/>
                      </a:lnTo>
                      <a:lnTo>
                        <a:pt x="1518" y="1986"/>
                      </a:lnTo>
                      <a:lnTo>
                        <a:pt x="1548" y="1986"/>
                      </a:lnTo>
                      <a:lnTo>
                        <a:pt x="1560" y="1980"/>
                      </a:lnTo>
                      <a:lnTo>
                        <a:pt x="1572" y="1980"/>
                      </a:lnTo>
                      <a:lnTo>
                        <a:pt x="1584" y="1968"/>
                      </a:lnTo>
                      <a:lnTo>
                        <a:pt x="1602" y="1932"/>
                      </a:lnTo>
                      <a:lnTo>
                        <a:pt x="1608" y="1926"/>
                      </a:lnTo>
                      <a:lnTo>
                        <a:pt x="1614" y="1914"/>
                      </a:lnTo>
                      <a:lnTo>
                        <a:pt x="1626" y="1908"/>
                      </a:lnTo>
                      <a:lnTo>
                        <a:pt x="1632" y="1902"/>
                      </a:lnTo>
                      <a:lnTo>
                        <a:pt x="1632" y="1920"/>
                      </a:lnTo>
                      <a:lnTo>
                        <a:pt x="1638" y="1932"/>
                      </a:lnTo>
                      <a:lnTo>
                        <a:pt x="1638" y="1956"/>
                      </a:lnTo>
                      <a:lnTo>
                        <a:pt x="1626" y="1968"/>
                      </a:lnTo>
                      <a:lnTo>
                        <a:pt x="1614" y="1974"/>
                      </a:lnTo>
                      <a:lnTo>
                        <a:pt x="1602" y="1986"/>
                      </a:lnTo>
                      <a:lnTo>
                        <a:pt x="1602" y="2004"/>
                      </a:lnTo>
                      <a:lnTo>
                        <a:pt x="1608" y="2010"/>
                      </a:lnTo>
                      <a:lnTo>
                        <a:pt x="1614" y="2010"/>
                      </a:lnTo>
                      <a:lnTo>
                        <a:pt x="1632" y="2016"/>
                      </a:lnTo>
                      <a:lnTo>
                        <a:pt x="1662" y="2016"/>
                      </a:lnTo>
                      <a:lnTo>
                        <a:pt x="1668" y="2028"/>
                      </a:lnTo>
                      <a:lnTo>
                        <a:pt x="1644" y="2052"/>
                      </a:lnTo>
                      <a:lnTo>
                        <a:pt x="1644" y="2058"/>
                      </a:lnTo>
                      <a:lnTo>
                        <a:pt x="1650" y="2064"/>
                      </a:lnTo>
                      <a:lnTo>
                        <a:pt x="1668" y="2100"/>
                      </a:lnTo>
                      <a:lnTo>
                        <a:pt x="1674" y="2106"/>
                      </a:lnTo>
                      <a:lnTo>
                        <a:pt x="1674" y="2118"/>
                      </a:lnTo>
                      <a:lnTo>
                        <a:pt x="1626" y="2166"/>
                      </a:lnTo>
                      <a:lnTo>
                        <a:pt x="1626" y="2178"/>
                      </a:lnTo>
                      <a:lnTo>
                        <a:pt x="1638" y="2190"/>
                      </a:lnTo>
                      <a:lnTo>
                        <a:pt x="1644" y="2202"/>
                      </a:lnTo>
                      <a:lnTo>
                        <a:pt x="1668" y="2214"/>
                      </a:lnTo>
                      <a:lnTo>
                        <a:pt x="1680" y="2226"/>
                      </a:lnTo>
                      <a:lnTo>
                        <a:pt x="1692" y="2232"/>
                      </a:lnTo>
                      <a:lnTo>
                        <a:pt x="1716" y="2256"/>
                      </a:lnTo>
                      <a:lnTo>
                        <a:pt x="1728" y="2262"/>
                      </a:lnTo>
                      <a:lnTo>
                        <a:pt x="1800" y="2262"/>
                      </a:lnTo>
                      <a:lnTo>
                        <a:pt x="1824" y="2286"/>
                      </a:lnTo>
                      <a:lnTo>
                        <a:pt x="1842" y="2292"/>
                      </a:lnTo>
                      <a:lnTo>
                        <a:pt x="1872" y="2286"/>
                      </a:lnTo>
                      <a:lnTo>
                        <a:pt x="1902" y="2274"/>
                      </a:lnTo>
                      <a:lnTo>
                        <a:pt x="1932" y="2256"/>
                      </a:lnTo>
                      <a:lnTo>
                        <a:pt x="1944" y="2250"/>
                      </a:lnTo>
                      <a:lnTo>
                        <a:pt x="1944" y="2226"/>
                      </a:lnTo>
                      <a:lnTo>
                        <a:pt x="1956" y="2214"/>
                      </a:lnTo>
                      <a:lnTo>
                        <a:pt x="1962" y="2214"/>
                      </a:lnTo>
                      <a:lnTo>
                        <a:pt x="1974" y="2226"/>
                      </a:lnTo>
                      <a:lnTo>
                        <a:pt x="1974" y="2256"/>
                      </a:lnTo>
                      <a:lnTo>
                        <a:pt x="1992" y="2256"/>
                      </a:lnTo>
                      <a:lnTo>
                        <a:pt x="1980" y="2280"/>
                      </a:lnTo>
                      <a:lnTo>
                        <a:pt x="1998" y="2280"/>
                      </a:lnTo>
                      <a:lnTo>
                        <a:pt x="1998" y="2292"/>
                      </a:lnTo>
                      <a:lnTo>
                        <a:pt x="2004" y="2298"/>
                      </a:lnTo>
                      <a:lnTo>
                        <a:pt x="2010" y="2310"/>
                      </a:lnTo>
                      <a:lnTo>
                        <a:pt x="2016" y="2316"/>
                      </a:lnTo>
                      <a:lnTo>
                        <a:pt x="2028" y="2316"/>
                      </a:lnTo>
                      <a:lnTo>
                        <a:pt x="2040" y="2304"/>
                      </a:lnTo>
                      <a:lnTo>
                        <a:pt x="2046" y="2304"/>
                      </a:lnTo>
                      <a:lnTo>
                        <a:pt x="2052" y="2298"/>
                      </a:lnTo>
                      <a:lnTo>
                        <a:pt x="2070" y="2292"/>
                      </a:lnTo>
                      <a:lnTo>
                        <a:pt x="2082" y="2286"/>
                      </a:lnTo>
                      <a:lnTo>
                        <a:pt x="2088" y="2280"/>
                      </a:lnTo>
                      <a:lnTo>
                        <a:pt x="2100" y="2274"/>
                      </a:lnTo>
                      <a:lnTo>
                        <a:pt x="2124" y="2250"/>
                      </a:lnTo>
                      <a:lnTo>
                        <a:pt x="2136" y="2244"/>
                      </a:lnTo>
                      <a:lnTo>
                        <a:pt x="2148" y="2232"/>
                      </a:lnTo>
                      <a:lnTo>
                        <a:pt x="2160" y="2226"/>
                      </a:lnTo>
                      <a:lnTo>
                        <a:pt x="2154" y="2214"/>
                      </a:lnTo>
                      <a:lnTo>
                        <a:pt x="2190" y="2202"/>
                      </a:lnTo>
                      <a:lnTo>
                        <a:pt x="2202" y="2214"/>
                      </a:lnTo>
                      <a:lnTo>
                        <a:pt x="2220" y="2214"/>
                      </a:lnTo>
                      <a:lnTo>
                        <a:pt x="2256" y="2208"/>
                      </a:lnTo>
                      <a:lnTo>
                        <a:pt x="2298" y="2196"/>
                      </a:lnTo>
                      <a:lnTo>
                        <a:pt x="2316" y="2178"/>
                      </a:lnTo>
                      <a:lnTo>
                        <a:pt x="2328" y="2148"/>
                      </a:lnTo>
                      <a:lnTo>
                        <a:pt x="2334" y="2118"/>
                      </a:lnTo>
                      <a:lnTo>
                        <a:pt x="2340" y="2100"/>
                      </a:lnTo>
                      <a:lnTo>
                        <a:pt x="2346" y="2088"/>
                      </a:lnTo>
                      <a:lnTo>
                        <a:pt x="2376" y="2058"/>
                      </a:lnTo>
                      <a:lnTo>
                        <a:pt x="2382" y="2058"/>
                      </a:lnTo>
                      <a:lnTo>
                        <a:pt x="2382" y="2034"/>
                      </a:lnTo>
                      <a:lnTo>
                        <a:pt x="2388" y="2034"/>
                      </a:lnTo>
                      <a:lnTo>
                        <a:pt x="2394" y="2028"/>
                      </a:lnTo>
                      <a:lnTo>
                        <a:pt x="2406" y="2022"/>
                      </a:lnTo>
                      <a:lnTo>
                        <a:pt x="2418" y="2010"/>
                      </a:lnTo>
                      <a:lnTo>
                        <a:pt x="2424" y="1998"/>
                      </a:lnTo>
                      <a:lnTo>
                        <a:pt x="2442" y="1980"/>
                      </a:lnTo>
                      <a:lnTo>
                        <a:pt x="2442" y="1956"/>
                      </a:lnTo>
                      <a:lnTo>
                        <a:pt x="2448" y="1944"/>
                      </a:lnTo>
                      <a:lnTo>
                        <a:pt x="2454" y="1926"/>
                      </a:lnTo>
                      <a:lnTo>
                        <a:pt x="2460" y="1914"/>
                      </a:lnTo>
                      <a:lnTo>
                        <a:pt x="2490" y="1884"/>
                      </a:lnTo>
                      <a:lnTo>
                        <a:pt x="2502" y="1866"/>
                      </a:lnTo>
                      <a:lnTo>
                        <a:pt x="2526" y="1842"/>
                      </a:lnTo>
                      <a:lnTo>
                        <a:pt x="2538" y="1836"/>
                      </a:lnTo>
                      <a:lnTo>
                        <a:pt x="2550" y="1824"/>
                      </a:lnTo>
                      <a:lnTo>
                        <a:pt x="2556" y="1812"/>
                      </a:lnTo>
                      <a:lnTo>
                        <a:pt x="2556" y="1800"/>
                      </a:lnTo>
                      <a:lnTo>
                        <a:pt x="2562" y="1788"/>
                      </a:lnTo>
                      <a:lnTo>
                        <a:pt x="2562" y="1782"/>
                      </a:lnTo>
                      <a:lnTo>
                        <a:pt x="2586" y="1782"/>
                      </a:lnTo>
                      <a:lnTo>
                        <a:pt x="2610" y="1770"/>
                      </a:lnTo>
                      <a:lnTo>
                        <a:pt x="2622" y="1752"/>
                      </a:lnTo>
                      <a:lnTo>
                        <a:pt x="2646" y="1728"/>
                      </a:lnTo>
                      <a:lnTo>
                        <a:pt x="2670" y="1698"/>
                      </a:lnTo>
                      <a:lnTo>
                        <a:pt x="2688" y="1674"/>
                      </a:lnTo>
                      <a:lnTo>
                        <a:pt x="2700" y="1662"/>
                      </a:lnTo>
                      <a:lnTo>
                        <a:pt x="2700" y="1656"/>
                      </a:lnTo>
                      <a:lnTo>
                        <a:pt x="2706" y="1638"/>
                      </a:lnTo>
                      <a:lnTo>
                        <a:pt x="2706" y="1614"/>
                      </a:lnTo>
                      <a:lnTo>
                        <a:pt x="2712" y="1596"/>
                      </a:lnTo>
                      <a:lnTo>
                        <a:pt x="2718" y="1590"/>
                      </a:lnTo>
                      <a:lnTo>
                        <a:pt x="2730" y="1572"/>
                      </a:lnTo>
                      <a:lnTo>
                        <a:pt x="2754" y="1542"/>
                      </a:lnTo>
                      <a:lnTo>
                        <a:pt x="2772" y="1494"/>
                      </a:lnTo>
                      <a:lnTo>
                        <a:pt x="2796" y="1458"/>
                      </a:lnTo>
                      <a:lnTo>
                        <a:pt x="2808" y="1428"/>
                      </a:lnTo>
                      <a:lnTo>
                        <a:pt x="2814" y="1416"/>
                      </a:lnTo>
                      <a:lnTo>
                        <a:pt x="2814" y="1386"/>
                      </a:lnTo>
                      <a:lnTo>
                        <a:pt x="2802" y="1362"/>
                      </a:lnTo>
                      <a:lnTo>
                        <a:pt x="2820" y="1308"/>
                      </a:lnTo>
                      <a:lnTo>
                        <a:pt x="2832" y="1290"/>
                      </a:lnTo>
                      <a:lnTo>
                        <a:pt x="2838" y="1266"/>
                      </a:lnTo>
                      <a:lnTo>
                        <a:pt x="2838" y="1224"/>
                      </a:lnTo>
                      <a:lnTo>
                        <a:pt x="2832" y="1194"/>
                      </a:lnTo>
                      <a:lnTo>
                        <a:pt x="2832" y="1176"/>
                      </a:lnTo>
                      <a:lnTo>
                        <a:pt x="2802" y="1164"/>
                      </a:lnTo>
                      <a:close/>
                      <a:moveTo>
                        <a:pt x="2016" y="2436"/>
                      </a:moveTo>
                      <a:lnTo>
                        <a:pt x="2022" y="2442"/>
                      </a:lnTo>
                      <a:lnTo>
                        <a:pt x="2028" y="2442"/>
                      </a:lnTo>
                      <a:lnTo>
                        <a:pt x="2040" y="2436"/>
                      </a:lnTo>
                      <a:lnTo>
                        <a:pt x="2046" y="2430"/>
                      </a:lnTo>
                      <a:lnTo>
                        <a:pt x="2034" y="2418"/>
                      </a:lnTo>
                      <a:lnTo>
                        <a:pt x="2016" y="2436"/>
                      </a:lnTo>
                      <a:close/>
                      <a:moveTo>
                        <a:pt x="1992" y="2454"/>
                      </a:moveTo>
                      <a:lnTo>
                        <a:pt x="1974" y="2454"/>
                      </a:lnTo>
                      <a:lnTo>
                        <a:pt x="1962" y="2466"/>
                      </a:lnTo>
                      <a:lnTo>
                        <a:pt x="1962" y="2472"/>
                      </a:lnTo>
                      <a:lnTo>
                        <a:pt x="1962" y="2460"/>
                      </a:lnTo>
                      <a:lnTo>
                        <a:pt x="1938" y="2460"/>
                      </a:lnTo>
                      <a:lnTo>
                        <a:pt x="1926" y="2466"/>
                      </a:lnTo>
                      <a:lnTo>
                        <a:pt x="1914" y="2466"/>
                      </a:lnTo>
                      <a:lnTo>
                        <a:pt x="1908" y="2478"/>
                      </a:lnTo>
                      <a:lnTo>
                        <a:pt x="1890" y="2460"/>
                      </a:lnTo>
                      <a:lnTo>
                        <a:pt x="1854" y="2460"/>
                      </a:lnTo>
                      <a:lnTo>
                        <a:pt x="1830" y="2430"/>
                      </a:lnTo>
                      <a:lnTo>
                        <a:pt x="1824" y="2436"/>
                      </a:lnTo>
                      <a:lnTo>
                        <a:pt x="1818" y="2436"/>
                      </a:lnTo>
                      <a:lnTo>
                        <a:pt x="1812" y="2442"/>
                      </a:lnTo>
                      <a:lnTo>
                        <a:pt x="1806" y="2442"/>
                      </a:lnTo>
                      <a:lnTo>
                        <a:pt x="1776" y="2412"/>
                      </a:lnTo>
                      <a:lnTo>
                        <a:pt x="1776" y="2424"/>
                      </a:lnTo>
                      <a:lnTo>
                        <a:pt x="1782" y="2448"/>
                      </a:lnTo>
                      <a:lnTo>
                        <a:pt x="1782" y="2472"/>
                      </a:lnTo>
                      <a:lnTo>
                        <a:pt x="1776" y="2478"/>
                      </a:lnTo>
                      <a:lnTo>
                        <a:pt x="1776" y="2484"/>
                      </a:lnTo>
                      <a:lnTo>
                        <a:pt x="1770" y="2490"/>
                      </a:lnTo>
                      <a:lnTo>
                        <a:pt x="1770" y="2502"/>
                      </a:lnTo>
                      <a:lnTo>
                        <a:pt x="1776" y="2514"/>
                      </a:lnTo>
                      <a:lnTo>
                        <a:pt x="1776" y="2532"/>
                      </a:lnTo>
                      <a:lnTo>
                        <a:pt x="1764" y="2538"/>
                      </a:lnTo>
                      <a:lnTo>
                        <a:pt x="1758" y="2544"/>
                      </a:lnTo>
                      <a:lnTo>
                        <a:pt x="1752" y="2544"/>
                      </a:lnTo>
                      <a:lnTo>
                        <a:pt x="1740" y="2532"/>
                      </a:lnTo>
                      <a:lnTo>
                        <a:pt x="1740" y="2538"/>
                      </a:lnTo>
                      <a:lnTo>
                        <a:pt x="1734" y="2544"/>
                      </a:lnTo>
                      <a:lnTo>
                        <a:pt x="1734" y="2556"/>
                      </a:lnTo>
                      <a:lnTo>
                        <a:pt x="1728" y="2574"/>
                      </a:lnTo>
                      <a:lnTo>
                        <a:pt x="1728" y="2586"/>
                      </a:lnTo>
                      <a:lnTo>
                        <a:pt x="1740" y="2610"/>
                      </a:lnTo>
                      <a:lnTo>
                        <a:pt x="1740" y="2616"/>
                      </a:lnTo>
                      <a:lnTo>
                        <a:pt x="1746" y="2628"/>
                      </a:lnTo>
                      <a:lnTo>
                        <a:pt x="1770" y="2628"/>
                      </a:lnTo>
                      <a:lnTo>
                        <a:pt x="1752" y="2640"/>
                      </a:lnTo>
                      <a:lnTo>
                        <a:pt x="1758" y="2664"/>
                      </a:lnTo>
                      <a:lnTo>
                        <a:pt x="1770" y="2658"/>
                      </a:lnTo>
                      <a:lnTo>
                        <a:pt x="1776" y="2658"/>
                      </a:lnTo>
                      <a:lnTo>
                        <a:pt x="1782" y="2652"/>
                      </a:lnTo>
                      <a:lnTo>
                        <a:pt x="1794" y="2652"/>
                      </a:lnTo>
                      <a:lnTo>
                        <a:pt x="1800" y="2658"/>
                      </a:lnTo>
                      <a:lnTo>
                        <a:pt x="1818" y="2658"/>
                      </a:lnTo>
                      <a:lnTo>
                        <a:pt x="1830" y="2652"/>
                      </a:lnTo>
                      <a:lnTo>
                        <a:pt x="1836" y="2646"/>
                      </a:lnTo>
                      <a:lnTo>
                        <a:pt x="1842" y="2634"/>
                      </a:lnTo>
                      <a:lnTo>
                        <a:pt x="1854" y="2634"/>
                      </a:lnTo>
                      <a:lnTo>
                        <a:pt x="1860" y="2640"/>
                      </a:lnTo>
                      <a:lnTo>
                        <a:pt x="1860" y="2646"/>
                      </a:lnTo>
                      <a:lnTo>
                        <a:pt x="1848" y="2658"/>
                      </a:lnTo>
                      <a:lnTo>
                        <a:pt x="1866" y="2664"/>
                      </a:lnTo>
                      <a:lnTo>
                        <a:pt x="1884" y="2646"/>
                      </a:lnTo>
                      <a:lnTo>
                        <a:pt x="1890" y="2634"/>
                      </a:lnTo>
                      <a:lnTo>
                        <a:pt x="1902" y="2628"/>
                      </a:lnTo>
                      <a:lnTo>
                        <a:pt x="1908" y="2616"/>
                      </a:lnTo>
                      <a:lnTo>
                        <a:pt x="1920" y="2604"/>
                      </a:lnTo>
                      <a:lnTo>
                        <a:pt x="1914" y="2604"/>
                      </a:lnTo>
                      <a:lnTo>
                        <a:pt x="1902" y="2592"/>
                      </a:lnTo>
                      <a:lnTo>
                        <a:pt x="1920" y="2562"/>
                      </a:lnTo>
                      <a:lnTo>
                        <a:pt x="1950" y="2562"/>
                      </a:lnTo>
                      <a:lnTo>
                        <a:pt x="1962" y="2538"/>
                      </a:lnTo>
                      <a:lnTo>
                        <a:pt x="1962" y="2514"/>
                      </a:lnTo>
                      <a:lnTo>
                        <a:pt x="1968" y="2502"/>
                      </a:lnTo>
                      <a:lnTo>
                        <a:pt x="1980" y="2496"/>
                      </a:lnTo>
                      <a:lnTo>
                        <a:pt x="1986" y="2484"/>
                      </a:lnTo>
                      <a:lnTo>
                        <a:pt x="1992" y="2478"/>
                      </a:lnTo>
                      <a:lnTo>
                        <a:pt x="1998" y="2466"/>
                      </a:lnTo>
                      <a:lnTo>
                        <a:pt x="1998" y="2460"/>
                      </a:lnTo>
                      <a:lnTo>
                        <a:pt x="1992" y="2454"/>
                      </a:lnTo>
                      <a:close/>
                      <a:moveTo>
                        <a:pt x="1902" y="246"/>
                      </a:moveTo>
                      <a:lnTo>
                        <a:pt x="1890" y="258"/>
                      </a:lnTo>
                      <a:lnTo>
                        <a:pt x="1890" y="270"/>
                      </a:lnTo>
                      <a:lnTo>
                        <a:pt x="1884" y="282"/>
                      </a:lnTo>
                      <a:lnTo>
                        <a:pt x="1884" y="294"/>
                      </a:lnTo>
                      <a:lnTo>
                        <a:pt x="1896" y="300"/>
                      </a:lnTo>
                      <a:lnTo>
                        <a:pt x="1920" y="300"/>
                      </a:lnTo>
                      <a:lnTo>
                        <a:pt x="1926" y="294"/>
                      </a:lnTo>
                      <a:lnTo>
                        <a:pt x="1932" y="294"/>
                      </a:lnTo>
                      <a:lnTo>
                        <a:pt x="1926" y="282"/>
                      </a:lnTo>
                      <a:lnTo>
                        <a:pt x="1932" y="252"/>
                      </a:lnTo>
                      <a:lnTo>
                        <a:pt x="1920" y="252"/>
                      </a:lnTo>
                      <a:lnTo>
                        <a:pt x="1908" y="246"/>
                      </a:lnTo>
                      <a:lnTo>
                        <a:pt x="1902" y="246"/>
                      </a:lnTo>
                      <a:close/>
                      <a:moveTo>
                        <a:pt x="1770" y="2334"/>
                      </a:moveTo>
                      <a:lnTo>
                        <a:pt x="1758" y="2376"/>
                      </a:lnTo>
                      <a:lnTo>
                        <a:pt x="1812" y="2328"/>
                      </a:lnTo>
                      <a:lnTo>
                        <a:pt x="1770" y="2334"/>
                      </a:lnTo>
                      <a:close/>
                      <a:moveTo>
                        <a:pt x="2034" y="2400"/>
                      </a:moveTo>
                      <a:lnTo>
                        <a:pt x="2016" y="2358"/>
                      </a:lnTo>
                      <a:lnTo>
                        <a:pt x="1998" y="2376"/>
                      </a:lnTo>
                      <a:lnTo>
                        <a:pt x="1998" y="2394"/>
                      </a:lnTo>
                      <a:lnTo>
                        <a:pt x="2010" y="2406"/>
                      </a:lnTo>
                      <a:lnTo>
                        <a:pt x="2028" y="2406"/>
                      </a:lnTo>
                      <a:lnTo>
                        <a:pt x="2034" y="240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5" name="Uruguay">
                  <a:extLst>
                    <a:ext uri="{FF2B5EF4-FFF2-40B4-BE49-F238E27FC236}">
                      <a16:creationId xmlns:a16="http://schemas.microsoft.com/office/drawing/2014/main" id="{C498C24E-6E47-4C8E-BD02-5F700281F8F8}"/>
                    </a:ext>
                  </a:extLst>
                </p:cNvPr>
                <p:cNvSpPr>
                  <a:spLocks/>
                </p:cNvSpPr>
                <p:nvPr/>
              </p:nvSpPr>
              <p:spPr bwMode="gray">
                <a:xfrm>
                  <a:off x="2757598" y="4298727"/>
                  <a:ext cx="138341" cy="144280"/>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6" name="Suriname">
                  <a:extLst>
                    <a:ext uri="{FF2B5EF4-FFF2-40B4-BE49-F238E27FC236}">
                      <a16:creationId xmlns:a16="http://schemas.microsoft.com/office/drawing/2014/main" id="{DAFE1CD9-1CC8-4C75-AB2A-B15920A2709C}"/>
                    </a:ext>
                  </a:extLst>
                </p:cNvPr>
                <p:cNvSpPr>
                  <a:spLocks/>
                </p:cNvSpPr>
                <p:nvPr/>
              </p:nvSpPr>
              <p:spPr bwMode="gray">
                <a:xfrm>
                  <a:off x="2681734" y="3201013"/>
                  <a:ext cx="110077" cy="126431"/>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7" name="Guyana">
                  <a:extLst>
                    <a:ext uri="{FF2B5EF4-FFF2-40B4-BE49-F238E27FC236}">
                      <a16:creationId xmlns:a16="http://schemas.microsoft.com/office/drawing/2014/main" id="{A0F656AD-7B80-4687-9601-18D0B9F86D59}"/>
                    </a:ext>
                  </a:extLst>
                </p:cNvPr>
                <p:cNvSpPr>
                  <a:spLocks/>
                </p:cNvSpPr>
                <p:nvPr/>
              </p:nvSpPr>
              <p:spPr bwMode="gray">
                <a:xfrm>
                  <a:off x="2592483" y="3125154"/>
                  <a:ext cx="121977" cy="220138"/>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8" name="Morocco">
                  <a:extLst>
                    <a:ext uri="{FF2B5EF4-FFF2-40B4-BE49-F238E27FC236}">
                      <a16:creationId xmlns:a16="http://schemas.microsoft.com/office/drawing/2014/main" id="{662CE3EC-CF3A-42FE-A77B-DB74D0E4E39B}"/>
                    </a:ext>
                  </a:extLst>
                </p:cNvPr>
                <p:cNvSpPr>
                  <a:spLocks/>
                </p:cNvSpPr>
                <p:nvPr/>
              </p:nvSpPr>
              <p:spPr bwMode="gray">
                <a:xfrm>
                  <a:off x="3904482" y="2292200"/>
                  <a:ext cx="321306" cy="249886"/>
                </a:xfrm>
                <a:custGeom>
                  <a:avLst/>
                  <a:gdLst>
                    <a:gd name="T0" fmla="*/ 2147483647 w 846"/>
                    <a:gd name="T1" fmla="*/ 2147483647 h 660"/>
                    <a:gd name="T2" fmla="*/ 2147483647 w 846"/>
                    <a:gd name="T3" fmla="*/ 2147483647 h 660"/>
                    <a:gd name="T4" fmla="*/ 2147483647 w 846"/>
                    <a:gd name="T5" fmla="*/ 2147483647 h 660"/>
                    <a:gd name="T6" fmla="*/ 2147483647 w 846"/>
                    <a:gd name="T7" fmla="*/ 2147483647 h 660"/>
                    <a:gd name="T8" fmla="*/ 2147483647 w 846"/>
                    <a:gd name="T9" fmla="*/ 2147483647 h 660"/>
                    <a:gd name="T10" fmla="*/ 2147483647 w 846"/>
                    <a:gd name="T11" fmla="*/ 2147483647 h 660"/>
                    <a:gd name="T12" fmla="*/ 2147483647 w 846"/>
                    <a:gd name="T13" fmla="*/ 2147483647 h 660"/>
                    <a:gd name="T14" fmla="*/ 2147483647 w 846"/>
                    <a:gd name="T15" fmla="*/ 2147483647 h 660"/>
                    <a:gd name="T16" fmla="*/ 2147483647 w 846"/>
                    <a:gd name="T17" fmla="*/ 2147483647 h 660"/>
                    <a:gd name="T18" fmla="*/ 2147483647 w 846"/>
                    <a:gd name="T19" fmla="*/ 0 h 660"/>
                    <a:gd name="T20" fmla="*/ 2147483647 w 846"/>
                    <a:gd name="T21" fmla="*/ 2147483647 h 660"/>
                    <a:gd name="T22" fmla="*/ 2147483647 w 846"/>
                    <a:gd name="T23" fmla="*/ 2147483647 h 660"/>
                    <a:gd name="T24" fmla="*/ 2147483647 w 846"/>
                    <a:gd name="T25" fmla="*/ 2147483647 h 660"/>
                    <a:gd name="T26" fmla="*/ 2147483647 w 846"/>
                    <a:gd name="T27" fmla="*/ 2147483647 h 660"/>
                    <a:gd name="T28" fmla="*/ 2147483647 w 846"/>
                    <a:gd name="T29" fmla="*/ 2147483647 h 660"/>
                    <a:gd name="T30" fmla="*/ 2147483647 w 846"/>
                    <a:gd name="T31" fmla="*/ 2147483647 h 660"/>
                    <a:gd name="T32" fmla="*/ 2147483647 w 846"/>
                    <a:gd name="T33" fmla="*/ 2147483647 h 660"/>
                    <a:gd name="T34" fmla="*/ 2147483647 w 846"/>
                    <a:gd name="T35" fmla="*/ 2147483647 h 660"/>
                    <a:gd name="T36" fmla="*/ 2147483647 w 846"/>
                    <a:gd name="T37" fmla="*/ 2147483647 h 660"/>
                    <a:gd name="T38" fmla="*/ 2147483647 w 846"/>
                    <a:gd name="T39" fmla="*/ 2147483647 h 660"/>
                    <a:gd name="T40" fmla="*/ 2147483647 w 846"/>
                    <a:gd name="T41" fmla="*/ 2147483647 h 660"/>
                    <a:gd name="T42" fmla="*/ 2147483647 w 846"/>
                    <a:gd name="T43" fmla="*/ 2147483647 h 660"/>
                    <a:gd name="T44" fmla="*/ 2147483647 w 846"/>
                    <a:gd name="T45" fmla="*/ 2147483647 h 660"/>
                    <a:gd name="T46" fmla="*/ 2147483647 w 846"/>
                    <a:gd name="T47" fmla="*/ 2147483647 h 660"/>
                    <a:gd name="T48" fmla="*/ 2147483647 w 846"/>
                    <a:gd name="T49" fmla="*/ 2147483647 h 660"/>
                    <a:gd name="T50" fmla="*/ 2147483647 w 846"/>
                    <a:gd name="T51" fmla="*/ 2147483647 h 660"/>
                    <a:gd name="T52" fmla="*/ 2147483647 w 846"/>
                    <a:gd name="T53" fmla="*/ 2147483647 h 660"/>
                    <a:gd name="T54" fmla="*/ 2147483647 w 846"/>
                    <a:gd name="T55" fmla="*/ 2147483647 h 660"/>
                    <a:gd name="T56" fmla="*/ 2147483647 w 846"/>
                    <a:gd name="T57" fmla="*/ 2147483647 h 660"/>
                    <a:gd name="T58" fmla="*/ 2147483647 w 846"/>
                    <a:gd name="T59" fmla="*/ 2147483647 h 660"/>
                    <a:gd name="T60" fmla="*/ 2147483647 w 846"/>
                    <a:gd name="T61" fmla="*/ 2147483647 h 660"/>
                    <a:gd name="T62" fmla="*/ 2147483647 w 846"/>
                    <a:gd name="T63" fmla="*/ 2147483647 h 660"/>
                    <a:gd name="T64" fmla="*/ 2147483647 w 846"/>
                    <a:gd name="T65" fmla="*/ 2147483647 h 660"/>
                    <a:gd name="T66" fmla="*/ 2147483647 w 846"/>
                    <a:gd name="T67" fmla="*/ 2147483647 h 660"/>
                    <a:gd name="T68" fmla="*/ 2147483647 w 846"/>
                    <a:gd name="T69" fmla="*/ 2147483647 h 660"/>
                    <a:gd name="T70" fmla="*/ 2147483647 w 846"/>
                    <a:gd name="T71" fmla="*/ 2147483647 h 660"/>
                    <a:gd name="T72" fmla="*/ 2147483647 w 846"/>
                    <a:gd name="T73" fmla="*/ 2147483647 h 660"/>
                    <a:gd name="T74" fmla="*/ 2147483647 w 846"/>
                    <a:gd name="T75" fmla="*/ 2147483647 h 660"/>
                    <a:gd name="T76" fmla="*/ 2147483647 w 846"/>
                    <a:gd name="T77" fmla="*/ 2147483647 h 660"/>
                    <a:gd name="T78" fmla="*/ 2147483647 w 846"/>
                    <a:gd name="T79" fmla="*/ 2147483647 h 660"/>
                    <a:gd name="T80" fmla="*/ 2147483647 w 846"/>
                    <a:gd name="T81" fmla="*/ 2147483647 h 660"/>
                    <a:gd name="T82" fmla="*/ 2147483647 w 846"/>
                    <a:gd name="T83" fmla="*/ 2147483647 h 660"/>
                    <a:gd name="T84" fmla="*/ 2147483647 w 846"/>
                    <a:gd name="T85" fmla="*/ 2147483647 h 660"/>
                    <a:gd name="T86" fmla="*/ 2147483647 w 846"/>
                    <a:gd name="T87" fmla="*/ 2147483647 h 660"/>
                    <a:gd name="T88" fmla="*/ 2147483647 w 846"/>
                    <a:gd name="T89" fmla="*/ 2147483647 h 6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6"/>
                    <a:gd name="T136" fmla="*/ 0 h 660"/>
                    <a:gd name="T137" fmla="*/ 846 w 846"/>
                    <a:gd name="T138" fmla="*/ 660 h 6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6" h="660">
                      <a:moveTo>
                        <a:pt x="822" y="246"/>
                      </a:moveTo>
                      <a:lnTo>
                        <a:pt x="822" y="216"/>
                      </a:lnTo>
                      <a:lnTo>
                        <a:pt x="804" y="216"/>
                      </a:lnTo>
                      <a:lnTo>
                        <a:pt x="816" y="186"/>
                      </a:lnTo>
                      <a:lnTo>
                        <a:pt x="804" y="168"/>
                      </a:lnTo>
                      <a:lnTo>
                        <a:pt x="810" y="102"/>
                      </a:lnTo>
                      <a:lnTo>
                        <a:pt x="798" y="102"/>
                      </a:lnTo>
                      <a:lnTo>
                        <a:pt x="798" y="90"/>
                      </a:lnTo>
                      <a:lnTo>
                        <a:pt x="804" y="84"/>
                      </a:lnTo>
                      <a:lnTo>
                        <a:pt x="792" y="78"/>
                      </a:lnTo>
                      <a:lnTo>
                        <a:pt x="786" y="66"/>
                      </a:lnTo>
                      <a:lnTo>
                        <a:pt x="780" y="60"/>
                      </a:lnTo>
                      <a:lnTo>
                        <a:pt x="744" y="42"/>
                      </a:lnTo>
                      <a:lnTo>
                        <a:pt x="720" y="42"/>
                      </a:lnTo>
                      <a:lnTo>
                        <a:pt x="708" y="48"/>
                      </a:lnTo>
                      <a:lnTo>
                        <a:pt x="702" y="54"/>
                      </a:lnTo>
                      <a:lnTo>
                        <a:pt x="696" y="54"/>
                      </a:lnTo>
                      <a:lnTo>
                        <a:pt x="690" y="48"/>
                      </a:lnTo>
                      <a:lnTo>
                        <a:pt x="678" y="48"/>
                      </a:lnTo>
                      <a:lnTo>
                        <a:pt x="666" y="42"/>
                      </a:lnTo>
                      <a:lnTo>
                        <a:pt x="654" y="42"/>
                      </a:lnTo>
                      <a:lnTo>
                        <a:pt x="642" y="48"/>
                      </a:lnTo>
                      <a:lnTo>
                        <a:pt x="636" y="54"/>
                      </a:lnTo>
                      <a:lnTo>
                        <a:pt x="624" y="54"/>
                      </a:lnTo>
                      <a:lnTo>
                        <a:pt x="588" y="36"/>
                      </a:lnTo>
                      <a:lnTo>
                        <a:pt x="570" y="18"/>
                      </a:lnTo>
                      <a:lnTo>
                        <a:pt x="564" y="6"/>
                      </a:lnTo>
                      <a:lnTo>
                        <a:pt x="558" y="6"/>
                      </a:lnTo>
                      <a:lnTo>
                        <a:pt x="552" y="0"/>
                      </a:lnTo>
                      <a:lnTo>
                        <a:pt x="528" y="0"/>
                      </a:lnTo>
                      <a:lnTo>
                        <a:pt x="528" y="6"/>
                      </a:lnTo>
                      <a:lnTo>
                        <a:pt x="522" y="12"/>
                      </a:lnTo>
                      <a:lnTo>
                        <a:pt x="522" y="30"/>
                      </a:lnTo>
                      <a:lnTo>
                        <a:pt x="516" y="48"/>
                      </a:lnTo>
                      <a:lnTo>
                        <a:pt x="498" y="84"/>
                      </a:lnTo>
                      <a:lnTo>
                        <a:pt x="492" y="102"/>
                      </a:lnTo>
                      <a:lnTo>
                        <a:pt x="468" y="138"/>
                      </a:lnTo>
                      <a:lnTo>
                        <a:pt x="462" y="150"/>
                      </a:lnTo>
                      <a:lnTo>
                        <a:pt x="450" y="162"/>
                      </a:lnTo>
                      <a:lnTo>
                        <a:pt x="438" y="168"/>
                      </a:lnTo>
                      <a:lnTo>
                        <a:pt x="420" y="168"/>
                      </a:lnTo>
                      <a:lnTo>
                        <a:pt x="408" y="174"/>
                      </a:lnTo>
                      <a:lnTo>
                        <a:pt x="402" y="174"/>
                      </a:lnTo>
                      <a:lnTo>
                        <a:pt x="396" y="180"/>
                      </a:lnTo>
                      <a:lnTo>
                        <a:pt x="384" y="186"/>
                      </a:lnTo>
                      <a:lnTo>
                        <a:pt x="378" y="198"/>
                      </a:lnTo>
                      <a:lnTo>
                        <a:pt x="360" y="192"/>
                      </a:lnTo>
                      <a:lnTo>
                        <a:pt x="330" y="204"/>
                      </a:lnTo>
                      <a:lnTo>
                        <a:pt x="330" y="210"/>
                      </a:lnTo>
                      <a:lnTo>
                        <a:pt x="324" y="216"/>
                      </a:lnTo>
                      <a:lnTo>
                        <a:pt x="324" y="228"/>
                      </a:lnTo>
                      <a:lnTo>
                        <a:pt x="318" y="240"/>
                      </a:lnTo>
                      <a:lnTo>
                        <a:pt x="312" y="240"/>
                      </a:lnTo>
                      <a:lnTo>
                        <a:pt x="288" y="264"/>
                      </a:lnTo>
                      <a:lnTo>
                        <a:pt x="288" y="288"/>
                      </a:lnTo>
                      <a:lnTo>
                        <a:pt x="276" y="312"/>
                      </a:lnTo>
                      <a:lnTo>
                        <a:pt x="264" y="324"/>
                      </a:lnTo>
                      <a:lnTo>
                        <a:pt x="258" y="336"/>
                      </a:lnTo>
                      <a:lnTo>
                        <a:pt x="246" y="354"/>
                      </a:lnTo>
                      <a:lnTo>
                        <a:pt x="246" y="402"/>
                      </a:lnTo>
                      <a:lnTo>
                        <a:pt x="240" y="408"/>
                      </a:lnTo>
                      <a:lnTo>
                        <a:pt x="234" y="408"/>
                      </a:lnTo>
                      <a:lnTo>
                        <a:pt x="234" y="414"/>
                      </a:lnTo>
                      <a:lnTo>
                        <a:pt x="240" y="420"/>
                      </a:lnTo>
                      <a:lnTo>
                        <a:pt x="252" y="420"/>
                      </a:lnTo>
                      <a:lnTo>
                        <a:pt x="252" y="474"/>
                      </a:lnTo>
                      <a:lnTo>
                        <a:pt x="240" y="474"/>
                      </a:lnTo>
                      <a:lnTo>
                        <a:pt x="228" y="480"/>
                      </a:lnTo>
                      <a:lnTo>
                        <a:pt x="192" y="540"/>
                      </a:lnTo>
                      <a:lnTo>
                        <a:pt x="180" y="552"/>
                      </a:lnTo>
                      <a:lnTo>
                        <a:pt x="168" y="552"/>
                      </a:lnTo>
                      <a:lnTo>
                        <a:pt x="162" y="558"/>
                      </a:lnTo>
                      <a:lnTo>
                        <a:pt x="150" y="564"/>
                      </a:lnTo>
                      <a:lnTo>
                        <a:pt x="144" y="576"/>
                      </a:lnTo>
                      <a:lnTo>
                        <a:pt x="132" y="588"/>
                      </a:lnTo>
                      <a:lnTo>
                        <a:pt x="126" y="600"/>
                      </a:lnTo>
                      <a:lnTo>
                        <a:pt x="120" y="606"/>
                      </a:lnTo>
                      <a:lnTo>
                        <a:pt x="84" y="624"/>
                      </a:lnTo>
                      <a:lnTo>
                        <a:pt x="66" y="624"/>
                      </a:lnTo>
                      <a:lnTo>
                        <a:pt x="54" y="630"/>
                      </a:lnTo>
                      <a:lnTo>
                        <a:pt x="48" y="630"/>
                      </a:lnTo>
                      <a:lnTo>
                        <a:pt x="42" y="636"/>
                      </a:lnTo>
                      <a:lnTo>
                        <a:pt x="12" y="636"/>
                      </a:lnTo>
                      <a:lnTo>
                        <a:pt x="6" y="642"/>
                      </a:lnTo>
                      <a:lnTo>
                        <a:pt x="6" y="654"/>
                      </a:lnTo>
                      <a:lnTo>
                        <a:pt x="0" y="660"/>
                      </a:lnTo>
                      <a:lnTo>
                        <a:pt x="312" y="660"/>
                      </a:lnTo>
                      <a:lnTo>
                        <a:pt x="312" y="600"/>
                      </a:lnTo>
                      <a:lnTo>
                        <a:pt x="318" y="570"/>
                      </a:lnTo>
                      <a:lnTo>
                        <a:pt x="330" y="564"/>
                      </a:lnTo>
                      <a:lnTo>
                        <a:pt x="336" y="558"/>
                      </a:lnTo>
                      <a:lnTo>
                        <a:pt x="348" y="552"/>
                      </a:lnTo>
                      <a:lnTo>
                        <a:pt x="378" y="522"/>
                      </a:lnTo>
                      <a:lnTo>
                        <a:pt x="378" y="516"/>
                      </a:lnTo>
                      <a:lnTo>
                        <a:pt x="396" y="516"/>
                      </a:lnTo>
                      <a:lnTo>
                        <a:pt x="426" y="498"/>
                      </a:lnTo>
                      <a:lnTo>
                        <a:pt x="438" y="504"/>
                      </a:lnTo>
                      <a:lnTo>
                        <a:pt x="444" y="510"/>
                      </a:lnTo>
                      <a:lnTo>
                        <a:pt x="456" y="510"/>
                      </a:lnTo>
                      <a:lnTo>
                        <a:pt x="462" y="498"/>
                      </a:lnTo>
                      <a:lnTo>
                        <a:pt x="462" y="492"/>
                      </a:lnTo>
                      <a:lnTo>
                        <a:pt x="486" y="486"/>
                      </a:lnTo>
                      <a:lnTo>
                        <a:pt x="492" y="474"/>
                      </a:lnTo>
                      <a:lnTo>
                        <a:pt x="504" y="474"/>
                      </a:lnTo>
                      <a:lnTo>
                        <a:pt x="516" y="480"/>
                      </a:lnTo>
                      <a:lnTo>
                        <a:pt x="540" y="480"/>
                      </a:lnTo>
                      <a:lnTo>
                        <a:pt x="552" y="468"/>
                      </a:lnTo>
                      <a:lnTo>
                        <a:pt x="564" y="444"/>
                      </a:lnTo>
                      <a:lnTo>
                        <a:pt x="570" y="438"/>
                      </a:lnTo>
                      <a:lnTo>
                        <a:pt x="576" y="426"/>
                      </a:lnTo>
                      <a:lnTo>
                        <a:pt x="618" y="426"/>
                      </a:lnTo>
                      <a:lnTo>
                        <a:pt x="624" y="420"/>
                      </a:lnTo>
                      <a:lnTo>
                        <a:pt x="636" y="414"/>
                      </a:lnTo>
                      <a:lnTo>
                        <a:pt x="648" y="402"/>
                      </a:lnTo>
                      <a:lnTo>
                        <a:pt x="648" y="396"/>
                      </a:lnTo>
                      <a:lnTo>
                        <a:pt x="672" y="384"/>
                      </a:lnTo>
                      <a:lnTo>
                        <a:pt x="660" y="366"/>
                      </a:lnTo>
                      <a:lnTo>
                        <a:pt x="654" y="354"/>
                      </a:lnTo>
                      <a:lnTo>
                        <a:pt x="648" y="348"/>
                      </a:lnTo>
                      <a:lnTo>
                        <a:pt x="648" y="336"/>
                      </a:lnTo>
                      <a:lnTo>
                        <a:pt x="654" y="330"/>
                      </a:lnTo>
                      <a:lnTo>
                        <a:pt x="678" y="330"/>
                      </a:lnTo>
                      <a:lnTo>
                        <a:pt x="690" y="324"/>
                      </a:lnTo>
                      <a:lnTo>
                        <a:pt x="714" y="324"/>
                      </a:lnTo>
                      <a:lnTo>
                        <a:pt x="714" y="312"/>
                      </a:lnTo>
                      <a:lnTo>
                        <a:pt x="720" y="306"/>
                      </a:lnTo>
                      <a:lnTo>
                        <a:pt x="720" y="300"/>
                      </a:lnTo>
                      <a:lnTo>
                        <a:pt x="732" y="300"/>
                      </a:lnTo>
                      <a:lnTo>
                        <a:pt x="738" y="306"/>
                      </a:lnTo>
                      <a:lnTo>
                        <a:pt x="744" y="300"/>
                      </a:lnTo>
                      <a:lnTo>
                        <a:pt x="744" y="294"/>
                      </a:lnTo>
                      <a:lnTo>
                        <a:pt x="762" y="294"/>
                      </a:lnTo>
                      <a:lnTo>
                        <a:pt x="774" y="300"/>
                      </a:lnTo>
                      <a:lnTo>
                        <a:pt x="828" y="294"/>
                      </a:lnTo>
                      <a:lnTo>
                        <a:pt x="828" y="282"/>
                      </a:lnTo>
                      <a:lnTo>
                        <a:pt x="846" y="264"/>
                      </a:lnTo>
                      <a:lnTo>
                        <a:pt x="822" y="24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9" name="Egypt">
                  <a:extLst>
                    <a:ext uri="{FF2B5EF4-FFF2-40B4-BE49-F238E27FC236}">
                      <a16:creationId xmlns:a16="http://schemas.microsoft.com/office/drawing/2014/main" id="{8AEC467D-9888-4FE4-A18B-7D2A25146261}"/>
                    </a:ext>
                  </a:extLst>
                </p:cNvPr>
                <p:cNvSpPr>
                  <a:spLocks/>
                </p:cNvSpPr>
                <p:nvPr/>
              </p:nvSpPr>
              <p:spPr bwMode="gray">
                <a:xfrm>
                  <a:off x="4886251" y="2420119"/>
                  <a:ext cx="297505" cy="303433"/>
                </a:xfrm>
                <a:custGeom>
                  <a:avLst/>
                  <a:gdLst>
                    <a:gd name="T0" fmla="*/ 2147483647 w 792"/>
                    <a:gd name="T1" fmla="*/ 2147483647 h 804"/>
                    <a:gd name="T2" fmla="*/ 2147483647 w 792"/>
                    <a:gd name="T3" fmla="*/ 2147483647 h 804"/>
                    <a:gd name="T4" fmla="*/ 2147483647 w 792"/>
                    <a:gd name="T5" fmla="*/ 2147483647 h 804"/>
                    <a:gd name="T6" fmla="*/ 2147483647 w 792"/>
                    <a:gd name="T7" fmla="*/ 2147483647 h 804"/>
                    <a:gd name="T8" fmla="*/ 2147483647 w 792"/>
                    <a:gd name="T9" fmla="*/ 2147483647 h 804"/>
                    <a:gd name="T10" fmla="*/ 2147483647 w 792"/>
                    <a:gd name="T11" fmla="*/ 2147483647 h 804"/>
                    <a:gd name="T12" fmla="*/ 2147483647 w 792"/>
                    <a:gd name="T13" fmla="*/ 2147483647 h 804"/>
                    <a:gd name="T14" fmla="*/ 2147483647 w 792"/>
                    <a:gd name="T15" fmla="*/ 2147483647 h 804"/>
                    <a:gd name="T16" fmla="*/ 2147483647 w 792"/>
                    <a:gd name="T17" fmla="*/ 2147483647 h 804"/>
                    <a:gd name="T18" fmla="*/ 2147483647 w 792"/>
                    <a:gd name="T19" fmla="*/ 2147483647 h 804"/>
                    <a:gd name="T20" fmla="*/ 2147483647 w 792"/>
                    <a:gd name="T21" fmla="*/ 2147483647 h 804"/>
                    <a:gd name="T22" fmla="*/ 2147483647 w 792"/>
                    <a:gd name="T23" fmla="*/ 2147483647 h 804"/>
                    <a:gd name="T24" fmla="*/ 2147483647 w 792"/>
                    <a:gd name="T25" fmla="*/ 2147483647 h 804"/>
                    <a:gd name="T26" fmla="*/ 2147483647 w 792"/>
                    <a:gd name="T27" fmla="*/ 2147483647 h 804"/>
                    <a:gd name="T28" fmla="*/ 2147483647 w 792"/>
                    <a:gd name="T29" fmla="*/ 2147483647 h 804"/>
                    <a:gd name="T30" fmla="*/ 2147483647 w 792"/>
                    <a:gd name="T31" fmla="*/ 2147483647 h 804"/>
                    <a:gd name="T32" fmla="*/ 2147483647 w 792"/>
                    <a:gd name="T33" fmla="*/ 2147483647 h 804"/>
                    <a:gd name="T34" fmla="*/ 2147483647 w 792"/>
                    <a:gd name="T35" fmla="*/ 2147483647 h 804"/>
                    <a:gd name="T36" fmla="*/ 2147483647 w 792"/>
                    <a:gd name="T37" fmla="*/ 2147483647 h 804"/>
                    <a:gd name="T38" fmla="*/ 2147483647 w 792"/>
                    <a:gd name="T39" fmla="*/ 2147483647 h 804"/>
                    <a:gd name="T40" fmla="*/ 2147483647 w 792"/>
                    <a:gd name="T41" fmla="*/ 2147483647 h 804"/>
                    <a:gd name="T42" fmla="*/ 2147483647 w 792"/>
                    <a:gd name="T43" fmla="*/ 2147483647 h 804"/>
                    <a:gd name="T44" fmla="*/ 2147483647 w 792"/>
                    <a:gd name="T45" fmla="*/ 2147483647 h 804"/>
                    <a:gd name="T46" fmla="*/ 2147483647 w 792"/>
                    <a:gd name="T47" fmla="*/ 2147483647 h 804"/>
                    <a:gd name="T48" fmla="*/ 2147483647 w 792"/>
                    <a:gd name="T49" fmla="*/ 2147483647 h 804"/>
                    <a:gd name="T50" fmla="*/ 2147483647 w 792"/>
                    <a:gd name="T51" fmla="*/ 2147483647 h 804"/>
                    <a:gd name="T52" fmla="*/ 2147483647 w 792"/>
                    <a:gd name="T53" fmla="*/ 2147483647 h 804"/>
                    <a:gd name="T54" fmla="*/ 2147483647 w 792"/>
                    <a:gd name="T55" fmla="*/ 2147483647 h 804"/>
                    <a:gd name="T56" fmla="*/ 2147483647 w 792"/>
                    <a:gd name="T57" fmla="*/ 2147483647 h 804"/>
                    <a:gd name="T58" fmla="*/ 2147483647 w 792"/>
                    <a:gd name="T59" fmla="*/ 2147483647 h 804"/>
                    <a:gd name="T60" fmla="*/ 2147483647 w 792"/>
                    <a:gd name="T61" fmla="*/ 2147483647 h 804"/>
                    <a:gd name="T62" fmla="*/ 2147483647 w 792"/>
                    <a:gd name="T63" fmla="*/ 2147483647 h 804"/>
                    <a:gd name="T64" fmla="*/ 2147483647 w 792"/>
                    <a:gd name="T65" fmla="*/ 2147483647 h 804"/>
                    <a:gd name="T66" fmla="*/ 2147483647 w 792"/>
                    <a:gd name="T67" fmla="*/ 2147483647 h 804"/>
                    <a:gd name="T68" fmla="*/ 2147483647 w 792"/>
                    <a:gd name="T69" fmla="*/ 2147483647 h 804"/>
                    <a:gd name="T70" fmla="*/ 2147483647 w 792"/>
                    <a:gd name="T71" fmla="*/ 2147483647 h 804"/>
                    <a:gd name="T72" fmla="*/ 2147483647 w 792"/>
                    <a:gd name="T73" fmla="*/ 2147483647 h 804"/>
                    <a:gd name="T74" fmla="*/ 2147483647 w 792"/>
                    <a:gd name="T75" fmla="*/ 2147483647 h 804"/>
                    <a:gd name="T76" fmla="*/ 2147483647 w 792"/>
                    <a:gd name="T77" fmla="*/ 2147483647 h 804"/>
                    <a:gd name="T78" fmla="*/ 2147483647 w 792"/>
                    <a:gd name="T79" fmla="*/ 2147483647 h 804"/>
                    <a:gd name="T80" fmla="*/ 2147483647 w 792"/>
                    <a:gd name="T81" fmla="*/ 2147483647 h 804"/>
                    <a:gd name="T82" fmla="*/ 2147483647 w 792"/>
                    <a:gd name="T83" fmla="*/ 2147483647 h 804"/>
                    <a:gd name="T84" fmla="*/ 2147483647 w 792"/>
                    <a:gd name="T85" fmla="*/ 2147483647 h 804"/>
                    <a:gd name="T86" fmla="*/ 2147483647 w 792"/>
                    <a:gd name="T87" fmla="*/ 2147483647 h 804"/>
                    <a:gd name="T88" fmla="*/ 2147483647 w 792"/>
                    <a:gd name="T89" fmla="*/ 2147483647 h 804"/>
                    <a:gd name="T90" fmla="*/ 2147483647 w 792"/>
                    <a:gd name="T91" fmla="*/ 0 h 804"/>
                    <a:gd name="T92" fmla="*/ 2147483647 w 792"/>
                    <a:gd name="T93" fmla="*/ 2147483647 h 804"/>
                    <a:gd name="T94" fmla="*/ 2147483647 w 792"/>
                    <a:gd name="T95" fmla="*/ 0 h 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2"/>
                    <a:gd name="T145" fmla="*/ 0 h 804"/>
                    <a:gd name="T146" fmla="*/ 792 w 792"/>
                    <a:gd name="T147" fmla="*/ 804 h 8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2" h="804">
                      <a:moveTo>
                        <a:pt x="12" y="18"/>
                      </a:moveTo>
                      <a:lnTo>
                        <a:pt x="6" y="24"/>
                      </a:lnTo>
                      <a:lnTo>
                        <a:pt x="6" y="54"/>
                      </a:lnTo>
                      <a:lnTo>
                        <a:pt x="18" y="60"/>
                      </a:lnTo>
                      <a:lnTo>
                        <a:pt x="24" y="72"/>
                      </a:lnTo>
                      <a:lnTo>
                        <a:pt x="24" y="78"/>
                      </a:lnTo>
                      <a:lnTo>
                        <a:pt x="18" y="84"/>
                      </a:lnTo>
                      <a:lnTo>
                        <a:pt x="12" y="96"/>
                      </a:lnTo>
                      <a:lnTo>
                        <a:pt x="6" y="102"/>
                      </a:lnTo>
                      <a:lnTo>
                        <a:pt x="0" y="114"/>
                      </a:lnTo>
                      <a:lnTo>
                        <a:pt x="0" y="120"/>
                      </a:lnTo>
                      <a:lnTo>
                        <a:pt x="6" y="132"/>
                      </a:lnTo>
                      <a:lnTo>
                        <a:pt x="18" y="144"/>
                      </a:lnTo>
                      <a:lnTo>
                        <a:pt x="30" y="180"/>
                      </a:lnTo>
                      <a:lnTo>
                        <a:pt x="30" y="264"/>
                      </a:lnTo>
                      <a:lnTo>
                        <a:pt x="36" y="342"/>
                      </a:lnTo>
                      <a:lnTo>
                        <a:pt x="36" y="438"/>
                      </a:lnTo>
                      <a:lnTo>
                        <a:pt x="42" y="534"/>
                      </a:lnTo>
                      <a:lnTo>
                        <a:pt x="42" y="624"/>
                      </a:lnTo>
                      <a:lnTo>
                        <a:pt x="48" y="702"/>
                      </a:lnTo>
                      <a:lnTo>
                        <a:pt x="48" y="774"/>
                      </a:lnTo>
                      <a:lnTo>
                        <a:pt x="474" y="780"/>
                      </a:lnTo>
                      <a:lnTo>
                        <a:pt x="492" y="762"/>
                      </a:lnTo>
                      <a:lnTo>
                        <a:pt x="498" y="762"/>
                      </a:lnTo>
                      <a:lnTo>
                        <a:pt x="498" y="774"/>
                      </a:lnTo>
                      <a:lnTo>
                        <a:pt x="618" y="780"/>
                      </a:lnTo>
                      <a:lnTo>
                        <a:pt x="624" y="786"/>
                      </a:lnTo>
                      <a:lnTo>
                        <a:pt x="630" y="798"/>
                      </a:lnTo>
                      <a:lnTo>
                        <a:pt x="636" y="804"/>
                      </a:lnTo>
                      <a:lnTo>
                        <a:pt x="654" y="804"/>
                      </a:lnTo>
                      <a:lnTo>
                        <a:pt x="660" y="798"/>
                      </a:lnTo>
                      <a:lnTo>
                        <a:pt x="672" y="774"/>
                      </a:lnTo>
                      <a:lnTo>
                        <a:pt x="684" y="762"/>
                      </a:lnTo>
                      <a:lnTo>
                        <a:pt x="696" y="762"/>
                      </a:lnTo>
                      <a:lnTo>
                        <a:pt x="702" y="756"/>
                      </a:lnTo>
                      <a:lnTo>
                        <a:pt x="720" y="756"/>
                      </a:lnTo>
                      <a:lnTo>
                        <a:pt x="726" y="750"/>
                      </a:lnTo>
                      <a:lnTo>
                        <a:pt x="732" y="738"/>
                      </a:lnTo>
                      <a:lnTo>
                        <a:pt x="732" y="714"/>
                      </a:lnTo>
                      <a:lnTo>
                        <a:pt x="762" y="714"/>
                      </a:lnTo>
                      <a:lnTo>
                        <a:pt x="786" y="690"/>
                      </a:lnTo>
                      <a:lnTo>
                        <a:pt x="780" y="684"/>
                      </a:lnTo>
                      <a:lnTo>
                        <a:pt x="774" y="672"/>
                      </a:lnTo>
                      <a:lnTo>
                        <a:pt x="774" y="624"/>
                      </a:lnTo>
                      <a:lnTo>
                        <a:pt x="792" y="618"/>
                      </a:lnTo>
                      <a:lnTo>
                        <a:pt x="786" y="618"/>
                      </a:lnTo>
                      <a:lnTo>
                        <a:pt x="756" y="588"/>
                      </a:lnTo>
                      <a:lnTo>
                        <a:pt x="732" y="552"/>
                      </a:lnTo>
                      <a:lnTo>
                        <a:pt x="726" y="528"/>
                      </a:lnTo>
                      <a:lnTo>
                        <a:pt x="714" y="492"/>
                      </a:lnTo>
                      <a:lnTo>
                        <a:pt x="702" y="468"/>
                      </a:lnTo>
                      <a:lnTo>
                        <a:pt x="690" y="462"/>
                      </a:lnTo>
                      <a:lnTo>
                        <a:pt x="684" y="450"/>
                      </a:lnTo>
                      <a:lnTo>
                        <a:pt x="672" y="444"/>
                      </a:lnTo>
                      <a:lnTo>
                        <a:pt x="666" y="432"/>
                      </a:lnTo>
                      <a:lnTo>
                        <a:pt x="654" y="396"/>
                      </a:lnTo>
                      <a:lnTo>
                        <a:pt x="654" y="378"/>
                      </a:lnTo>
                      <a:lnTo>
                        <a:pt x="618" y="336"/>
                      </a:lnTo>
                      <a:lnTo>
                        <a:pt x="618" y="318"/>
                      </a:lnTo>
                      <a:lnTo>
                        <a:pt x="606" y="294"/>
                      </a:lnTo>
                      <a:lnTo>
                        <a:pt x="594" y="282"/>
                      </a:lnTo>
                      <a:lnTo>
                        <a:pt x="588" y="270"/>
                      </a:lnTo>
                      <a:lnTo>
                        <a:pt x="576" y="258"/>
                      </a:lnTo>
                      <a:lnTo>
                        <a:pt x="570" y="246"/>
                      </a:lnTo>
                      <a:lnTo>
                        <a:pt x="558" y="234"/>
                      </a:lnTo>
                      <a:lnTo>
                        <a:pt x="552" y="222"/>
                      </a:lnTo>
                      <a:lnTo>
                        <a:pt x="546" y="216"/>
                      </a:lnTo>
                      <a:lnTo>
                        <a:pt x="552" y="210"/>
                      </a:lnTo>
                      <a:lnTo>
                        <a:pt x="552" y="198"/>
                      </a:lnTo>
                      <a:lnTo>
                        <a:pt x="540" y="174"/>
                      </a:lnTo>
                      <a:lnTo>
                        <a:pt x="528" y="168"/>
                      </a:lnTo>
                      <a:lnTo>
                        <a:pt x="522" y="168"/>
                      </a:lnTo>
                      <a:lnTo>
                        <a:pt x="540" y="144"/>
                      </a:lnTo>
                      <a:lnTo>
                        <a:pt x="558" y="156"/>
                      </a:lnTo>
                      <a:lnTo>
                        <a:pt x="558" y="174"/>
                      </a:lnTo>
                      <a:lnTo>
                        <a:pt x="564" y="186"/>
                      </a:lnTo>
                      <a:lnTo>
                        <a:pt x="576" y="198"/>
                      </a:lnTo>
                      <a:lnTo>
                        <a:pt x="582" y="210"/>
                      </a:lnTo>
                      <a:lnTo>
                        <a:pt x="588" y="216"/>
                      </a:lnTo>
                      <a:lnTo>
                        <a:pt x="588" y="246"/>
                      </a:lnTo>
                      <a:lnTo>
                        <a:pt x="606" y="264"/>
                      </a:lnTo>
                      <a:lnTo>
                        <a:pt x="612" y="276"/>
                      </a:lnTo>
                      <a:lnTo>
                        <a:pt x="636" y="300"/>
                      </a:lnTo>
                      <a:lnTo>
                        <a:pt x="648" y="306"/>
                      </a:lnTo>
                      <a:lnTo>
                        <a:pt x="654" y="306"/>
                      </a:lnTo>
                      <a:lnTo>
                        <a:pt x="666" y="300"/>
                      </a:lnTo>
                      <a:lnTo>
                        <a:pt x="678" y="288"/>
                      </a:lnTo>
                      <a:lnTo>
                        <a:pt x="672" y="270"/>
                      </a:lnTo>
                      <a:lnTo>
                        <a:pt x="684" y="246"/>
                      </a:lnTo>
                      <a:lnTo>
                        <a:pt x="684" y="234"/>
                      </a:lnTo>
                      <a:lnTo>
                        <a:pt x="690" y="222"/>
                      </a:lnTo>
                      <a:lnTo>
                        <a:pt x="690" y="198"/>
                      </a:lnTo>
                      <a:lnTo>
                        <a:pt x="696" y="186"/>
                      </a:lnTo>
                      <a:lnTo>
                        <a:pt x="696" y="180"/>
                      </a:lnTo>
                      <a:lnTo>
                        <a:pt x="702" y="168"/>
                      </a:lnTo>
                      <a:lnTo>
                        <a:pt x="648" y="24"/>
                      </a:lnTo>
                      <a:lnTo>
                        <a:pt x="642" y="24"/>
                      </a:lnTo>
                      <a:lnTo>
                        <a:pt x="636" y="30"/>
                      </a:lnTo>
                      <a:lnTo>
                        <a:pt x="624" y="30"/>
                      </a:lnTo>
                      <a:lnTo>
                        <a:pt x="600" y="42"/>
                      </a:lnTo>
                      <a:lnTo>
                        <a:pt x="576" y="42"/>
                      </a:lnTo>
                      <a:lnTo>
                        <a:pt x="564" y="36"/>
                      </a:lnTo>
                      <a:lnTo>
                        <a:pt x="558" y="30"/>
                      </a:lnTo>
                      <a:lnTo>
                        <a:pt x="552" y="36"/>
                      </a:lnTo>
                      <a:lnTo>
                        <a:pt x="540" y="42"/>
                      </a:lnTo>
                      <a:lnTo>
                        <a:pt x="534" y="42"/>
                      </a:lnTo>
                      <a:lnTo>
                        <a:pt x="510" y="30"/>
                      </a:lnTo>
                      <a:lnTo>
                        <a:pt x="504" y="24"/>
                      </a:lnTo>
                      <a:lnTo>
                        <a:pt x="504" y="18"/>
                      </a:lnTo>
                      <a:lnTo>
                        <a:pt x="498" y="12"/>
                      </a:lnTo>
                      <a:lnTo>
                        <a:pt x="486" y="6"/>
                      </a:lnTo>
                      <a:lnTo>
                        <a:pt x="468" y="6"/>
                      </a:lnTo>
                      <a:lnTo>
                        <a:pt x="456" y="12"/>
                      </a:lnTo>
                      <a:lnTo>
                        <a:pt x="438" y="12"/>
                      </a:lnTo>
                      <a:lnTo>
                        <a:pt x="432" y="18"/>
                      </a:lnTo>
                      <a:lnTo>
                        <a:pt x="420" y="18"/>
                      </a:lnTo>
                      <a:lnTo>
                        <a:pt x="414" y="12"/>
                      </a:lnTo>
                      <a:lnTo>
                        <a:pt x="390" y="12"/>
                      </a:lnTo>
                      <a:lnTo>
                        <a:pt x="378" y="18"/>
                      </a:lnTo>
                      <a:lnTo>
                        <a:pt x="372" y="24"/>
                      </a:lnTo>
                      <a:lnTo>
                        <a:pt x="366" y="36"/>
                      </a:lnTo>
                      <a:lnTo>
                        <a:pt x="360" y="42"/>
                      </a:lnTo>
                      <a:lnTo>
                        <a:pt x="336" y="42"/>
                      </a:lnTo>
                      <a:lnTo>
                        <a:pt x="324" y="54"/>
                      </a:lnTo>
                      <a:lnTo>
                        <a:pt x="312" y="60"/>
                      </a:lnTo>
                      <a:lnTo>
                        <a:pt x="306" y="60"/>
                      </a:lnTo>
                      <a:lnTo>
                        <a:pt x="300" y="54"/>
                      </a:lnTo>
                      <a:lnTo>
                        <a:pt x="288" y="54"/>
                      </a:lnTo>
                      <a:lnTo>
                        <a:pt x="276" y="48"/>
                      </a:lnTo>
                      <a:lnTo>
                        <a:pt x="264" y="48"/>
                      </a:lnTo>
                      <a:lnTo>
                        <a:pt x="258" y="42"/>
                      </a:lnTo>
                      <a:lnTo>
                        <a:pt x="204" y="42"/>
                      </a:lnTo>
                      <a:lnTo>
                        <a:pt x="198" y="36"/>
                      </a:lnTo>
                      <a:lnTo>
                        <a:pt x="186" y="30"/>
                      </a:lnTo>
                      <a:lnTo>
                        <a:pt x="174" y="18"/>
                      </a:lnTo>
                      <a:lnTo>
                        <a:pt x="126" y="18"/>
                      </a:lnTo>
                      <a:lnTo>
                        <a:pt x="120" y="12"/>
                      </a:lnTo>
                      <a:lnTo>
                        <a:pt x="96" y="0"/>
                      </a:lnTo>
                      <a:lnTo>
                        <a:pt x="78" y="0"/>
                      </a:lnTo>
                      <a:lnTo>
                        <a:pt x="66" y="12"/>
                      </a:lnTo>
                      <a:lnTo>
                        <a:pt x="54" y="12"/>
                      </a:lnTo>
                      <a:lnTo>
                        <a:pt x="42" y="6"/>
                      </a:lnTo>
                      <a:lnTo>
                        <a:pt x="36" y="6"/>
                      </a:lnTo>
                      <a:lnTo>
                        <a:pt x="36" y="0"/>
                      </a:lnTo>
                      <a:lnTo>
                        <a:pt x="30" y="0"/>
                      </a:lnTo>
                      <a:lnTo>
                        <a:pt x="12"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80" name="Congo (Brazzaville)">
                  <a:extLst>
                    <a:ext uri="{FF2B5EF4-FFF2-40B4-BE49-F238E27FC236}">
                      <a16:creationId xmlns:a16="http://schemas.microsoft.com/office/drawing/2014/main" id="{2950A608-CC7E-450B-8F80-A34B7073139E}"/>
                    </a:ext>
                  </a:extLst>
                </p:cNvPr>
                <p:cNvSpPr>
                  <a:spLocks/>
                </p:cNvSpPr>
                <p:nvPr/>
              </p:nvSpPr>
              <p:spPr bwMode="gray">
                <a:xfrm>
                  <a:off x="4536681" y="3269435"/>
                  <a:ext cx="202304" cy="263274"/>
                </a:xfrm>
                <a:custGeom>
                  <a:avLst/>
                  <a:gdLst>
                    <a:gd name="T0" fmla="*/ 2147483647 w 534"/>
                    <a:gd name="T1" fmla="*/ 2147483647 h 702"/>
                    <a:gd name="T2" fmla="*/ 2147483647 w 534"/>
                    <a:gd name="T3" fmla="*/ 2147483647 h 702"/>
                    <a:gd name="T4" fmla="*/ 2147483647 w 534"/>
                    <a:gd name="T5" fmla="*/ 2147483647 h 702"/>
                    <a:gd name="T6" fmla="*/ 2147483647 w 534"/>
                    <a:gd name="T7" fmla="*/ 2147483647 h 702"/>
                    <a:gd name="T8" fmla="*/ 2147483647 w 534"/>
                    <a:gd name="T9" fmla="*/ 2147483647 h 702"/>
                    <a:gd name="T10" fmla="*/ 2147483647 w 534"/>
                    <a:gd name="T11" fmla="*/ 2147483647 h 702"/>
                    <a:gd name="T12" fmla="*/ 2147483647 w 534"/>
                    <a:gd name="T13" fmla="*/ 2147483647 h 702"/>
                    <a:gd name="T14" fmla="*/ 2147483647 w 534"/>
                    <a:gd name="T15" fmla="*/ 2147483647 h 702"/>
                    <a:gd name="T16" fmla="*/ 2147483647 w 534"/>
                    <a:gd name="T17" fmla="*/ 2147483647 h 702"/>
                    <a:gd name="T18" fmla="*/ 2147483647 w 534"/>
                    <a:gd name="T19" fmla="*/ 2147483647 h 702"/>
                    <a:gd name="T20" fmla="*/ 2147483647 w 534"/>
                    <a:gd name="T21" fmla="*/ 2147483647 h 702"/>
                    <a:gd name="T22" fmla="*/ 2147483647 w 534"/>
                    <a:gd name="T23" fmla="*/ 2147483647 h 702"/>
                    <a:gd name="T24" fmla="*/ 2147483647 w 534"/>
                    <a:gd name="T25" fmla="*/ 2147483647 h 702"/>
                    <a:gd name="T26" fmla="*/ 2147483647 w 534"/>
                    <a:gd name="T27" fmla="*/ 2147483647 h 702"/>
                    <a:gd name="T28" fmla="*/ 2147483647 w 534"/>
                    <a:gd name="T29" fmla="*/ 2147483647 h 702"/>
                    <a:gd name="T30" fmla="*/ 2147483647 w 534"/>
                    <a:gd name="T31" fmla="*/ 2147483647 h 702"/>
                    <a:gd name="T32" fmla="*/ 2147483647 w 534"/>
                    <a:gd name="T33" fmla="*/ 2147483647 h 702"/>
                    <a:gd name="T34" fmla="*/ 2147483647 w 534"/>
                    <a:gd name="T35" fmla="*/ 2147483647 h 702"/>
                    <a:gd name="T36" fmla="*/ 2147483647 w 534"/>
                    <a:gd name="T37" fmla="*/ 2147483647 h 702"/>
                    <a:gd name="T38" fmla="*/ 2147483647 w 534"/>
                    <a:gd name="T39" fmla="*/ 2147483647 h 702"/>
                    <a:gd name="T40" fmla="*/ 2147483647 w 534"/>
                    <a:gd name="T41" fmla="*/ 2147483647 h 702"/>
                    <a:gd name="T42" fmla="*/ 2147483647 w 534"/>
                    <a:gd name="T43" fmla="*/ 2147483647 h 702"/>
                    <a:gd name="T44" fmla="*/ 2147483647 w 534"/>
                    <a:gd name="T45" fmla="*/ 2147483647 h 702"/>
                    <a:gd name="T46" fmla="*/ 2147483647 w 534"/>
                    <a:gd name="T47" fmla="*/ 2147483647 h 702"/>
                    <a:gd name="T48" fmla="*/ 2147483647 w 534"/>
                    <a:gd name="T49" fmla="*/ 2147483647 h 702"/>
                    <a:gd name="T50" fmla="*/ 0 w 534"/>
                    <a:gd name="T51" fmla="*/ 2147483647 h 702"/>
                    <a:gd name="T52" fmla="*/ 2147483647 w 534"/>
                    <a:gd name="T53" fmla="*/ 2147483647 h 702"/>
                    <a:gd name="T54" fmla="*/ 2147483647 w 534"/>
                    <a:gd name="T55" fmla="*/ 2147483647 h 702"/>
                    <a:gd name="T56" fmla="*/ 2147483647 w 534"/>
                    <a:gd name="T57" fmla="*/ 2147483647 h 702"/>
                    <a:gd name="T58" fmla="*/ 2147483647 w 534"/>
                    <a:gd name="T59" fmla="*/ 2147483647 h 702"/>
                    <a:gd name="T60" fmla="*/ 2147483647 w 534"/>
                    <a:gd name="T61" fmla="*/ 2147483647 h 702"/>
                    <a:gd name="T62" fmla="*/ 2147483647 w 534"/>
                    <a:gd name="T63" fmla="*/ 2147483647 h 702"/>
                    <a:gd name="T64" fmla="*/ 2147483647 w 534"/>
                    <a:gd name="T65" fmla="*/ 2147483647 h 702"/>
                    <a:gd name="T66" fmla="*/ 2147483647 w 534"/>
                    <a:gd name="T67" fmla="*/ 2147483647 h 702"/>
                    <a:gd name="T68" fmla="*/ 2147483647 w 534"/>
                    <a:gd name="T69" fmla="*/ 2147483647 h 702"/>
                    <a:gd name="T70" fmla="*/ 2147483647 w 534"/>
                    <a:gd name="T71" fmla="*/ 2147483647 h 702"/>
                    <a:gd name="T72" fmla="*/ 2147483647 w 534"/>
                    <a:gd name="T73" fmla="*/ 2147483647 h 702"/>
                    <a:gd name="T74" fmla="*/ 2147483647 w 534"/>
                    <a:gd name="T75" fmla="*/ 2147483647 h 702"/>
                    <a:gd name="T76" fmla="*/ 2147483647 w 534"/>
                    <a:gd name="T77" fmla="*/ 2147483647 h 702"/>
                    <a:gd name="T78" fmla="*/ 2147483647 w 534"/>
                    <a:gd name="T79" fmla="*/ 2147483647 h 702"/>
                    <a:gd name="T80" fmla="*/ 2147483647 w 534"/>
                    <a:gd name="T81" fmla="*/ 2147483647 h 702"/>
                    <a:gd name="T82" fmla="*/ 2147483647 w 534"/>
                    <a:gd name="T83" fmla="*/ 2147483647 h 702"/>
                    <a:gd name="T84" fmla="*/ 2147483647 w 534"/>
                    <a:gd name="T85" fmla="*/ 2147483647 h 702"/>
                    <a:gd name="T86" fmla="*/ 2147483647 w 534"/>
                    <a:gd name="T87" fmla="*/ 2147483647 h 702"/>
                    <a:gd name="T88" fmla="*/ 2147483647 w 534"/>
                    <a:gd name="T89" fmla="*/ 2147483647 h 702"/>
                    <a:gd name="T90" fmla="*/ 2147483647 w 534"/>
                    <a:gd name="T91" fmla="*/ 2147483647 h 702"/>
                    <a:gd name="T92" fmla="*/ 2147483647 w 534"/>
                    <a:gd name="T93" fmla="*/ 2147483647 h 702"/>
                    <a:gd name="T94" fmla="*/ 2147483647 w 534"/>
                    <a:gd name="T95" fmla="*/ 2147483647 h 702"/>
                    <a:gd name="T96" fmla="*/ 2147483647 w 534"/>
                    <a:gd name="T97" fmla="*/ 2147483647 h 702"/>
                    <a:gd name="T98" fmla="*/ 2147483647 w 534"/>
                    <a:gd name="T99" fmla="*/ 2147483647 h 702"/>
                    <a:gd name="T100" fmla="*/ 2147483647 w 534"/>
                    <a:gd name="T101" fmla="*/ 2147483647 h 702"/>
                    <a:gd name="T102" fmla="*/ 2147483647 w 534"/>
                    <a:gd name="T103" fmla="*/ 2147483647 h 7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4"/>
                    <a:gd name="T157" fmla="*/ 0 h 702"/>
                    <a:gd name="T158" fmla="*/ 534 w 534"/>
                    <a:gd name="T159" fmla="*/ 702 h 7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4" h="702">
                      <a:moveTo>
                        <a:pt x="366" y="120"/>
                      </a:moveTo>
                      <a:lnTo>
                        <a:pt x="360" y="126"/>
                      </a:lnTo>
                      <a:lnTo>
                        <a:pt x="354" y="168"/>
                      </a:lnTo>
                      <a:lnTo>
                        <a:pt x="330" y="144"/>
                      </a:lnTo>
                      <a:lnTo>
                        <a:pt x="294" y="144"/>
                      </a:lnTo>
                      <a:lnTo>
                        <a:pt x="288" y="138"/>
                      </a:lnTo>
                      <a:lnTo>
                        <a:pt x="276" y="138"/>
                      </a:lnTo>
                      <a:lnTo>
                        <a:pt x="270" y="132"/>
                      </a:lnTo>
                      <a:lnTo>
                        <a:pt x="258" y="126"/>
                      </a:lnTo>
                      <a:lnTo>
                        <a:pt x="210" y="126"/>
                      </a:lnTo>
                      <a:lnTo>
                        <a:pt x="192" y="132"/>
                      </a:lnTo>
                      <a:lnTo>
                        <a:pt x="162" y="132"/>
                      </a:lnTo>
                      <a:lnTo>
                        <a:pt x="144" y="162"/>
                      </a:lnTo>
                      <a:lnTo>
                        <a:pt x="150" y="198"/>
                      </a:lnTo>
                      <a:lnTo>
                        <a:pt x="156" y="204"/>
                      </a:lnTo>
                      <a:lnTo>
                        <a:pt x="180" y="204"/>
                      </a:lnTo>
                      <a:lnTo>
                        <a:pt x="186" y="198"/>
                      </a:lnTo>
                      <a:lnTo>
                        <a:pt x="186" y="180"/>
                      </a:lnTo>
                      <a:lnTo>
                        <a:pt x="204" y="180"/>
                      </a:lnTo>
                      <a:lnTo>
                        <a:pt x="210" y="186"/>
                      </a:lnTo>
                      <a:lnTo>
                        <a:pt x="222" y="186"/>
                      </a:lnTo>
                      <a:lnTo>
                        <a:pt x="222" y="192"/>
                      </a:lnTo>
                      <a:lnTo>
                        <a:pt x="228" y="198"/>
                      </a:lnTo>
                      <a:lnTo>
                        <a:pt x="228" y="216"/>
                      </a:lnTo>
                      <a:lnTo>
                        <a:pt x="240" y="222"/>
                      </a:lnTo>
                      <a:lnTo>
                        <a:pt x="240" y="234"/>
                      </a:lnTo>
                      <a:lnTo>
                        <a:pt x="234" y="240"/>
                      </a:lnTo>
                      <a:lnTo>
                        <a:pt x="228" y="252"/>
                      </a:lnTo>
                      <a:lnTo>
                        <a:pt x="222" y="258"/>
                      </a:lnTo>
                      <a:lnTo>
                        <a:pt x="210" y="258"/>
                      </a:lnTo>
                      <a:lnTo>
                        <a:pt x="198" y="282"/>
                      </a:lnTo>
                      <a:lnTo>
                        <a:pt x="198" y="318"/>
                      </a:lnTo>
                      <a:lnTo>
                        <a:pt x="216" y="324"/>
                      </a:lnTo>
                      <a:lnTo>
                        <a:pt x="222" y="342"/>
                      </a:lnTo>
                      <a:lnTo>
                        <a:pt x="240" y="342"/>
                      </a:lnTo>
                      <a:lnTo>
                        <a:pt x="246" y="348"/>
                      </a:lnTo>
                      <a:lnTo>
                        <a:pt x="246" y="360"/>
                      </a:lnTo>
                      <a:lnTo>
                        <a:pt x="240" y="366"/>
                      </a:lnTo>
                      <a:lnTo>
                        <a:pt x="240" y="414"/>
                      </a:lnTo>
                      <a:lnTo>
                        <a:pt x="234" y="426"/>
                      </a:lnTo>
                      <a:lnTo>
                        <a:pt x="240" y="450"/>
                      </a:lnTo>
                      <a:lnTo>
                        <a:pt x="234" y="456"/>
                      </a:lnTo>
                      <a:lnTo>
                        <a:pt x="222" y="462"/>
                      </a:lnTo>
                      <a:lnTo>
                        <a:pt x="222" y="486"/>
                      </a:lnTo>
                      <a:lnTo>
                        <a:pt x="216" y="498"/>
                      </a:lnTo>
                      <a:lnTo>
                        <a:pt x="210" y="504"/>
                      </a:lnTo>
                      <a:lnTo>
                        <a:pt x="198" y="504"/>
                      </a:lnTo>
                      <a:lnTo>
                        <a:pt x="192" y="498"/>
                      </a:lnTo>
                      <a:lnTo>
                        <a:pt x="192" y="468"/>
                      </a:lnTo>
                      <a:lnTo>
                        <a:pt x="186" y="468"/>
                      </a:lnTo>
                      <a:lnTo>
                        <a:pt x="180" y="474"/>
                      </a:lnTo>
                      <a:lnTo>
                        <a:pt x="174" y="486"/>
                      </a:lnTo>
                      <a:lnTo>
                        <a:pt x="168" y="492"/>
                      </a:lnTo>
                      <a:lnTo>
                        <a:pt x="138" y="492"/>
                      </a:lnTo>
                      <a:lnTo>
                        <a:pt x="120" y="450"/>
                      </a:lnTo>
                      <a:lnTo>
                        <a:pt x="90" y="450"/>
                      </a:lnTo>
                      <a:lnTo>
                        <a:pt x="90" y="456"/>
                      </a:lnTo>
                      <a:lnTo>
                        <a:pt x="108" y="474"/>
                      </a:lnTo>
                      <a:lnTo>
                        <a:pt x="96" y="480"/>
                      </a:lnTo>
                      <a:lnTo>
                        <a:pt x="90" y="492"/>
                      </a:lnTo>
                      <a:lnTo>
                        <a:pt x="84" y="498"/>
                      </a:lnTo>
                      <a:lnTo>
                        <a:pt x="66" y="498"/>
                      </a:lnTo>
                      <a:lnTo>
                        <a:pt x="54" y="492"/>
                      </a:lnTo>
                      <a:lnTo>
                        <a:pt x="42" y="492"/>
                      </a:lnTo>
                      <a:lnTo>
                        <a:pt x="36" y="486"/>
                      </a:lnTo>
                      <a:lnTo>
                        <a:pt x="30" y="486"/>
                      </a:lnTo>
                      <a:lnTo>
                        <a:pt x="30" y="504"/>
                      </a:lnTo>
                      <a:lnTo>
                        <a:pt x="36" y="510"/>
                      </a:lnTo>
                      <a:lnTo>
                        <a:pt x="36" y="522"/>
                      </a:lnTo>
                      <a:lnTo>
                        <a:pt x="24" y="522"/>
                      </a:lnTo>
                      <a:lnTo>
                        <a:pt x="54" y="540"/>
                      </a:lnTo>
                      <a:lnTo>
                        <a:pt x="36" y="552"/>
                      </a:lnTo>
                      <a:lnTo>
                        <a:pt x="54" y="564"/>
                      </a:lnTo>
                      <a:lnTo>
                        <a:pt x="54" y="600"/>
                      </a:lnTo>
                      <a:lnTo>
                        <a:pt x="48" y="606"/>
                      </a:lnTo>
                      <a:lnTo>
                        <a:pt x="30" y="588"/>
                      </a:lnTo>
                      <a:lnTo>
                        <a:pt x="6" y="600"/>
                      </a:lnTo>
                      <a:lnTo>
                        <a:pt x="0" y="618"/>
                      </a:lnTo>
                      <a:lnTo>
                        <a:pt x="54" y="666"/>
                      </a:lnTo>
                      <a:lnTo>
                        <a:pt x="54" y="684"/>
                      </a:lnTo>
                      <a:lnTo>
                        <a:pt x="72" y="702"/>
                      </a:lnTo>
                      <a:lnTo>
                        <a:pt x="72" y="690"/>
                      </a:lnTo>
                      <a:lnTo>
                        <a:pt x="90" y="690"/>
                      </a:lnTo>
                      <a:lnTo>
                        <a:pt x="90" y="672"/>
                      </a:lnTo>
                      <a:lnTo>
                        <a:pt x="102" y="666"/>
                      </a:lnTo>
                      <a:lnTo>
                        <a:pt x="108" y="660"/>
                      </a:lnTo>
                      <a:lnTo>
                        <a:pt x="120" y="654"/>
                      </a:lnTo>
                      <a:lnTo>
                        <a:pt x="126" y="648"/>
                      </a:lnTo>
                      <a:lnTo>
                        <a:pt x="132" y="654"/>
                      </a:lnTo>
                      <a:lnTo>
                        <a:pt x="132" y="660"/>
                      </a:lnTo>
                      <a:lnTo>
                        <a:pt x="138" y="666"/>
                      </a:lnTo>
                      <a:lnTo>
                        <a:pt x="138" y="672"/>
                      </a:lnTo>
                      <a:lnTo>
                        <a:pt x="150" y="672"/>
                      </a:lnTo>
                      <a:lnTo>
                        <a:pt x="150" y="678"/>
                      </a:lnTo>
                      <a:lnTo>
                        <a:pt x="156" y="684"/>
                      </a:lnTo>
                      <a:lnTo>
                        <a:pt x="156" y="690"/>
                      </a:lnTo>
                      <a:lnTo>
                        <a:pt x="162" y="696"/>
                      </a:lnTo>
                      <a:lnTo>
                        <a:pt x="174" y="696"/>
                      </a:lnTo>
                      <a:lnTo>
                        <a:pt x="180" y="690"/>
                      </a:lnTo>
                      <a:lnTo>
                        <a:pt x="186" y="678"/>
                      </a:lnTo>
                      <a:lnTo>
                        <a:pt x="186" y="660"/>
                      </a:lnTo>
                      <a:lnTo>
                        <a:pt x="210" y="666"/>
                      </a:lnTo>
                      <a:lnTo>
                        <a:pt x="228" y="648"/>
                      </a:lnTo>
                      <a:lnTo>
                        <a:pt x="234" y="648"/>
                      </a:lnTo>
                      <a:lnTo>
                        <a:pt x="234" y="678"/>
                      </a:lnTo>
                      <a:lnTo>
                        <a:pt x="228" y="690"/>
                      </a:lnTo>
                      <a:lnTo>
                        <a:pt x="234" y="696"/>
                      </a:lnTo>
                      <a:lnTo>
                        <a:pt x="252" y="696"/>
                      </a:lnTo>
                      <a:lnTo>
                        <a:pt x="264" y="690"/>
                      </a:lnTo>
                      <a:lnTo>
                        <a:pt x="270" y="684"/>
                      </a:lnTo>
                      <a:lnTo>
                        <a:pt x="276" y="672"/>
                      </a:lnTo>
                      <a:lnTo>
                        <a:pt x="294" y="654"/>
                      </a:lnTo>
                      <a:lnTo>
                        <a:pt x="300" y="642"/>
                      </a:lnTo>
                      <a:lnTo>
                        <a:pt x="312" y="630"/>
                      </a:lnTo>
                      <a:lnTo>
                        <a:pt x="330" y="630"/>
                      </a:lnTo>
                      <a:lnTo>
                        <a:pt x="336" y="624"/>
                      </a:lnTo>
                      <a:lnTo>
                        <a:pt x="366" y="582"/>
                      </a:lnTo>
                      <a:lnTo>
                        <a:pt x="360" y="480"/>
                      </a:lnTo>
                      <a:lnTo>
                        <a:pt x="366" y="480"/>
                      </a:lnTo>
                      <a:lnTo>
                        <a:pt x="390" y="456"/>
                      </a:lnTo>
                      <a:lnTo>
                        <a:pt x="390" y="420"/>
                      </a:lnTo>
                      <a:lnTo>
                        <a:pt x="396" y="408"/>
                      </a:lnTo>
                      <a:lnTo>
                        <a:pt x="402" y="402"/>
                      </a:lnTo>
                      <a:lnTo>
                        <a:pt x="450" y="378"/>
                      </a:lnTo>
                      <a:lnTo>
                        <a:pt x="456" y="366"/>
                      </a:lnTo>
                      <a:lnTo>
                        <a:pt x="468" y="360"/>
                      </a:lnTo>
                      <a:lnTo>
                        <a:pt x="474" y="354"/>
                      </a:lnTo>
                      <a:lnTo>
                        <a:pt x="474" y="300"/>
                      </a:lnTo>
                      <a:lnTo>
                        <a:pt x="486" y="294"/>
                      </a:lnTo>
                      <a:lnTo>
                        <a:pt x="492" y="282"/>
                      </a:lnTo>
                      <a:lnTo>
                        <a:pt x="492" y="258"/>
                      </a:lnTo>
                      <a:lnTo>
                        <a:pt x="486" y="246"/>
                      </a:lnTo>
                      <a:lnTo>
                        <a:pt x="480" y="240"/>
                      </a:lnTo>
                      <a:lnTo>
                        <a:pt x="480" y="228"/>
                      </a:lnTo>
                      <a:lnTo>
                        <a:pt x="498" y="192"/>
                      </a:lnTo>
                      <a:lnTo>
                        <a:pt x="498" y="168"/>
                      </a:lnTo>
                      <a:lnTo>
                        <a:pt x="492" y="156"/>
                      </a:lnTo>
                      <a:lnTo>
                        <a:pt x="492" y="126"/>
                      </a:lnTo>
                      <a:lnTo>
                        <a:pt x="498" y="120"/>
                      </a:lnTo>
                      <a:lnTo>
                        <a:pt x="510" y="96"/>
                      </a:lnTo>
                      <a:lnTo>
                        <a:pt x="522" y="84"/>
                      </a:lnTo>
                      <a:lnTo>
                        <a:pt x="528" y="66"/>
                      </a:lnTo>
                      <a:lnTo>
                        <a:pt x="534" y="54"/>
                      </a:lnTo>
                      <a:lnTo>
                        <a:pt x="534" y="18"/>
                      </a:lnTo>
                      <a:lnTo>
                        <a:pt x="522" y="6"/>
                      </a:lnTo>
                      <a:lnTo>
                        <a:pt x="510" y="18"/>
                      </a:lnTo>
                      <a:lnTo>
                        <a:pt x="498" y="18"/>
                      </a:lnTo>
                      <a:lnTo>
                        <a:pt x="462" y="0"/>
                      </a:lnTo>
                      <a:lnTo>
                        <a:pt x="444" y="0"/>
                      </a:lnTo>
                      <a:lnTo>
                        <a:pt x="426" y="18"/>
                      </a:lnTo>
                      <a:lnTo>
                        <a:pt x="396" y="18"/>
                      </a:lnTo>
                      <a:lnTo>
                        <a:pt x="378" y="48"/>
                      </a:lnTo>
                      <a:lnTo>
                        <a:pt x="390" y="60"/>
                      </a:lnTo>
                      <a:lnTo>
                        <a:pt x="390" y="84"/>
                      </a:lnTo>
                      <a:lnTo>
                        <a:pt x="384" y="96"/>
                      </a:lnTo>
                      <a:lnTo>
                        <a:pt x="378" y="102"/>
                      </a:lnTo>
                      <a:lnTo>
                        <a:pt x="372" y="114"/>
                      </a:lnTo>
                      <a:lnTo>
                        <a:pt x="366" y="1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81" name="Algeria">
                  <a:extLst>
                    <a:ext uri="{FF2B5EF4-FFF2-40B4-BE49-F238E27FC236}">
                      <a16:creationId xmlns:a16="http://schemas.microsoft.com/office/drawing/2014/main" id="{4A59E6B5-EC6B-4498-9380-BF95EB9F21B0}"/>
                    </a:ext>
                  </a:extLst>
                </p:cNvPr>
                <p:cNvSpPr>
                  <a:spLocks/>
                </p:cNvSpPr>
                <p:nvPr/>
              </p:nvSpPr>
              <p:spPr bwMode="gray">
                <a:xfrm>
                  <a:off x="4002660" y="2253527"/>
                  <a:ext cx="557823" cy="550344"/>
                </a:xfrm>
                <a:custGeom>
                  <a:avLst/>
                  <a:gdLst>
                    <a:gd name="T0" fmla="*/ 2147483647 w 1476"/>
                    <a:gd name="T1" fmla="*/ 2147483647 h 1464"/>
                    <a:gd name="T2" fmla="*/ 2147483647 w 1476"/>
                    <a:gd name="T3" fmla="*/ 2147483647 h 1464"/>
                    <a:gd name="T4" fmla="*/ 2147483647 w 1476"/>
                    <a:gd name="T5" fmla="*/ 2147483647 h 1464"/>
                    <a:gd name="T6" fmla="*/ 2147483647 w 1476"/>
                    <a:gd name="T7" fmla="*/ 2147483647 h 1464"/>
                    <a:gd name="T8" fmla="*/ 2147483647 w 1476"/>
                    <a:gd name="T9" fmla="*/ 2147483647 h 1464"/>
                    <a:gd name="T10" fmla="*/ 2147483647 w 1476"/>
                    <a:gd name="T11" fmla="*/ 2147483647 h 1464"/>
                    <a:gd name="T12" fmla="*/ 2147483647 w 1476"/>
                    <a:gd name="T13" fmla="*/ 2147483647 h 1464"/>
                    <a:gd name="T14" fmla="*/ 2147483647 w 1476"/>
                    <a:gd name="T15" fmla="*/ 2147483647 h 1464"/>
                    <a:gd name="T16" fmla="*/ 2147483647 w 1476"/>
                    <a:gd name="T17" fmla="*/ 2147483647 h 1464"/>
                    <a:gd name="T18" fmla="*/ 2147483647 w 1476"/>
                    <a:gd name="T19" fmla="*/ 2147483647 h 1464"/>
                    <a:gd name="T20" fmla="*/ 2147483647 w 1476"/>
                    <a:gd name="T21" fmla="*/ 2147483647 h 1464"/>
                    <a:gd name="T22" fmla="*/ 2147483647 w 1476"/>
                    <a:gd name="T23" fmla="*/ 2147483647 h 1464"/>
                    <a:gd name="T24" fmla="*/ 2147483647 w 1476"/>
                    <a:gd name="T25" fmla="*/ 2147483647 h 1464"/>
                    <a:gd name="T26" fmla="*/ 2147483647 w 1476"/>
                    <a:gd name="T27" fmla="*/ 2147483647 h 1464"/>
                    <a:gd name="T28" fmla="*/ 2147483647 w 1476"/>
                    <a:gd name="T29" fmla="*/ 2147483647 h 1464"/>
                    <a:gd name="T30" fmla="*/ 2147483647 w 1476"/>
                    <a:gd name="T31" fmla="*/ 2147483647 h 1464"/>
                    <a:gd name="T32" fmla="*/ 2147483647 w 1476"/>
                    <a:gd name="T33" fmla="*/ 2147483647 h 1464"/>
                    <a:gd name="T34" fmla="*/ 2147483647 w 1476"/>
                    <a:gd name="T35" fmla="*/ 2147483647 h 1464"/>
                    <a:gd name="T36" fmla="*/ 2147483647 w 1476"/>
                    <a:gd name="T37" fmla="*/ 2147483647 h 1464"/>
                    <a:gd name="T38" fmla="*/ 2147483647 w 1476"/>
                    <a:gd name="T39" fmla="*/ 2147483647 h 1464"/>
                    <a:gd name="T40" fmla="*/ 2147483647 w 1476"/>
                    <a:gd name="T41" fmla="*/ 2147483647 h 1464"/>
                    <a:gd name="T42" fmla="*/ 2147483647 w 1476"/>
                    <a:gd name="T43" fmla="*/ 2147483647 h 1464"/>
                    <a:gd name="T44" fmla="*/ 2147483647 w 1476"/>
                    <a:gd name="T45" fmla="*/ 2147483647 h 1464"/>
                    <a:gd name="T46" fmla="*/ 2147483647 w 1476"/>
                    <a:gd name="T47" fmla="*/ 2147483647 h 1464"/>
                    <a:gd name="T48" fmla="*/ 2147483647 w 1476"/>
                    <a:gd name="T49" fmla="*/ 2147483647 h 1464"/>
                    <a:gd name="T50" fmla="*/ 2147483647 w 1476"/>
                    <a:gd name="T51" fmla="*/ 2147483647 h 1464"/>
                    <a:gd name="T52" fmla="*/ 2147483647 w 1476"/>
                    <a:gd name="T53" fmla="*/ 2147483647 h 1464"/>
                    <a:gd name="T54" fmla="*/ 2147483647 w 1476"/>
                    <a:gd name="T55" fmla="*/ 2147483647 h 1464"/>
                    <a:gd name="T56" fmla="*/ 2147483647 w 1476"/>
                    <a:gd name="T57" fmla="*/ 2147483647 h 1464"/>
                    <a:gd name="T58" fmla="*/ 2147483647 w 1476"/>
                    <a:gd name="T59" fmla="*/ 2147483647 h 1464"/>
                    <a:gd name="T60" fmla="*/ 2147483647 w 1476"/>
                    <a:gd name="T61" fmla="*/ 2147483647 h 1464"/>
                    <a:gd name="T62" fmla="*/ 2147483647 w 1476"/>
                    <a:gd name="T63" fmla="*/ 2147483647 h 1464"/>
                    <a:gd name="T64" fmla="*/ 2147483647 w 1476"/>
                    <a:gd name="T65" fmla="*/ 2147483647 h 1464"/>
                    <a:gd name="T66" fmla="*/ 2147483647 w 1476"/>
                    <a:gd name="T67" fmla="*/ 2147483647 h 1464"/>
                    <a:gd name="T68" fmla="*/ 2147483647 w 1476"/>
                    <a:gd name="T69" fmla="*/ 2147483647 h 1464"/>
                    <a:gd name="T70" fmla="*/ 2147483647 w 1476"/>
                    <a:gd name="T71" fmla="*/ 2147483647 h 1464"/>
                    <a:gd name="T72" fmla="*/ 2147483647 w 1476"/>
                    <a:gd name="T73" fmla="*/ 2147483647 h 1464"/>
                    <a:gd name="T74" fmla="*/ 2147483647 w 1476"/>
                    <a:gd name="T75" fmla="*/ 2147483647 h 1464"/>
                    <a:gd name="T76" fmla="*/ 2147483647 w 1476"/>
                    <a:gd name="T77" fmla="*/ 2147483647 h 1464"/>
                    <a:gd name="T78" fmla="*/ 2147483647 w 1476"/>
                    <a:gd name="T79" fmla="*/ 2147483647 h 1464"/>
                    <a:gd name="T80" fmla="*/ 2147483647 w 1476"/>
                    <a:gd name="T81" fmla="*/ 2147483647 h 1464"/>
                    <a:gd name="T82" fmla="*/ 2147483647 w 1476"/>
                    <a:gd name="T83" fmla="*/ 2147483647 h 1464"/>
                    <a:gd name="T84" fmla="*/ 2147483647 w 1476"/>
                    <a:gd name="T85" fmla="*/ 2147483647 h 1464"/>
                    <a:gd name="T86" fmla="*/ 2147483647 w 1476"/>
                    <a:gd name="T87" fmla="*/ 2147483647 h 1464"/>
                    <a:gd name="T88" fmla="*/ 2147483647 w 1476"/>
                    <a:gd name="T89" fmla="*/ 2147483647 h 1464"/>
                    <a:gd name="T90" fmla="*/ 2147483647 w 1476"/>
                    <a:gd name="T91" fmla="*/ 2147483647 h 1464"/>
                    <a:gd name="T92" fmla="*/ 2147483647 w 1476"/>
                    <a:gd name="T93" fmla="*/ 2147483647 h 1464"/>
                    <a:gd name="T94" fmla="*/ 2147483647 w 1476"/>
                    <a:gd name="T95" fmla="*/ 2147483647 h 1464"/>
                    <a:gd name="T96" fmla="*/ 2147483647 w 1476"/>
                    <a:gd name="T97" fmla="*/ 2147483647 h 1464"/>
                    <a:gd name="T98" fmla="*/ 2147483647 w 1476"/>
                    <a:gd name="T99" fmla="*/ 2147483647 h 1464"/>
                    <a:gd name="T100" fmla="*/ 2147483647 w 1476"/>
                    <a:gd name="T101" fmla="*/ 2147483647 h 1464"/>
                    <a:gd name="T102" fmla="*/ 2147483647 w 1476"/>
                    <a:gd name="T103" fmla="*/ 2147483647 h 1464"/>
                    <a:gd name="T104" fmla="*/ 2147483647 w 1476"/>
                    <a:gd name="T105" fmla="*/ 2147483647 h 1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6"/>
                    <a:gd name="T160" fmla="*/ 0 h 1464"/>
                    <a:gd name="T161" fmla="*/ 1476 w 1476"/>
                    <a:gd name="T162" fmla="*/ 1464 h 1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6" h="1464">
                      <a:moveTo>
                        <a:pt x="360" y="534"/>
                      </a:moveTo>
                      <a:lnTo>
                        <a:pt x="318" y="534"/>
                      </a:lnTo>
                      <a:lnTo>
                        <a:pt x="312" y="546"/>
                      </a:lnTo>
                      <a:lnTo>
                        <a:pt x="306" y="552"/>
                      </a:lnTo>
                      <a:lnTo>
                        <a:pt x="294" y="576"/>
                      </a:lnTo>
                      <a:lnTo>
                        <a:pt x="282" y="588"/>
                      </a:lnTo>
                      <a:lnTo>
                        <a:pt x="258" y="588"/>
                      </a:lnTo>
                      <a:lnTo>
                        <a:pt x="246" y="582"/>
                      </a:lnTo>
                      <a:lnTo>
                        <a:pt x="234" y="582"/>
                      </a:lnTo>
                      <a:lnTo>
                        <a:pt x="228" y="594"/>
                      </a:lnTo>
                      <a:lnTo>
                        <a:pt x="204" y="600"/>
                      </a:lnTo>
                      <a:lnTo>
                        <a:pt x="204" y="606"/>
                      </a:lnTo>
                      <a:lnTo>
                        <a:pt x="198" y="618"/>
                      </a:lnTo>
                      <a:lnTo>
                        <a:pt x="186" y="618"/>
                      </a:lnTo>
                      <a:lnTo>
                        <a:pt x="180" y="612"/>
                      </a:lnTo>
                      <a:lnTo>
                        <a:pt x="168" y="606"/>
                      </a:lnTo>
                      <a:lnTo>
                        <a:pt x="138" y="624"/>
                      </a:lnTo>
                      <a:lnTo>
                        <a:pt x="120" y="624"/>
                      </a:lnTo>
                      <a:lnTo>
                        <a:pt x="120" y="630"/>
                      </a:lnTo>
                      <a:lnTo>
                        <a:pt x="90" y="660"/>
                      </a:lnTo>
                      <a:lnTo>
                        <a:pt x="78" y="666"/>
                      </a:lnTo>
                      <a:lnTo>
                        <a:pt x="72" y="672"/>
                      </a:lnTo>
                      <a:lnTo>
                        <a:pt x="60" y="678"/>
                      </a:lnTo>
                      <a:lnTo>
                        <a:pt x="54" y="708"/>
                      </a:lnTo>
                      <a:lnTo>
                        <a:pt x="54" y="768"/>
                      </a:lnTo>
                      <a:lnTo>
                        <a:pt x="0" y="768"/>
                      </a:lnTo>
                      <a:lnTo>
                        <a:pt x="54" y="768"/>
                      </a:lnTo>
                      <a:lnTo>
                        <a:pt x="54" y="804"/>
                      </a:lnTo>
                      <a:lnTo>
                        <a:pt x="312" y="984"/>
                      </a:lnTo>
                      <a:lnTo>
                        <a:pt x="720" y="1296"/>
                      </a:lnTo>
                      <a:lnTo>
                        <a:pt x="720" y="1320"/>
                      </a:lnTo>
                      <a:lnTo>
                        <a:pt x="744" y="1320"/>
                      </a:lnTo>
                      <a:lnTo>
                        <a:pt x="750" y="1326"/>
                      </a:lnTo>
                      <a:lnTo>
                        <a:pt x="750" y="1344"/>
                      </a:lnTo>
                      <a:lnTo>
                        <a:pt x="762" y="1356"/>
                      </a:lnTo>
                      <a:lnTo>
                        <a:pt x="798" y="1356"/>
                      </a:lnTo>
                      <a:lnTo>
                        <a:pt x="804" y="1386"/>
                      </a:lnTo>
                      <a:lnTo>
                        <a:pt x="810" y="1386"/>
                      </a:lnTo>
                      <a:lnTo>
                        <a:pt x="816" y="1380"/>
                      </a:lnTo>
                      <a:lnTo>
                        <a:pt x="846" y="1380"/>
                      </a:lnTo>
                      <a:lnTo>
                        <a:pt x="858" y="1386"/>
                      </a:lnTo>
                      <a:lnTo>
                        <a:pt x="870" y="1410"/>
                      </a:lnTo>
                      <a:lnTo>
                        <a:pt x="870" y="1428"/>
                      </a:lnTo>
                      <a:lnTo>
                        <a:pt x="852" y="1446"/>
                      </a:lnTo>
                      <a:lnTo>
                        <a:pt x="852" y="1452"/>
                      </a:lnTo>
                      <a:lnTo>
                        <a:pt x="858" y="1458"/>
                      </a:lnTo>
                      <a:lnTo>
                        <a:pt x="870" y="1464"/>
                      </a:lnTo>
                      <a:lnTo>
                        <a:pt x="900" y="1464"/>
                      </a:lnTo>
                      <a:lnTo>
                        <a:pt x="906" y="1458"/>
                      </a:lnTo>
                      <a:lnTo>
                        <a:pt x="924" y="1458"/>
                      </a:lnTo>
                      <a:lnTo>
                        <a:pt x="954" y="1452"/>
                      </a:lnTo>
                      <a:lnTo>
                        <a:pt x="984" y="1440"/>
                      </a:lnTo>
                      <a:lnTo>
                        <a:pt x="1020" y="1434"/>
                      </a:lnTo>
                      <a:lnTo>
                        <a:pt x="1038" y="1434"/>
                      </a:lnTo>
                      <a:lnTo>
                        <a:pt x="1062" y="1416"/>
                      </a:lnTo>
                      <a:lnTo>
                        <a:pt x="1098" y="1386"/>
                      </a:lnTo>
                      <a:lnTo>
                        <a:pt x="1128" y="1350"/>
                      </a:lnTo>
                      <a:lnTo>
                        <a:pt x="1158" y="1326"/>
                      </a:lnTo>
                      <a:lnTo>
                        <a:pt x="1182" y="1314"/>
                      </a:lnTo>
                      <a:lnTo>
                        <a:pt x="1224" y="1284"/>
                      </a:lnTo>
                      <a:lnTo>
                        <a:pt x="1272" y="1248"/>
                      </a:lnTo>
                      <a:lnTo>
                        <a:pt x="1332" y="1206"/>
                      </a:lnTo>
                      <a:lnTo>
                        <a:pt x="1386" y="1170"/>
                      </a:lnTo>
                      <a:lnTo>
                        <a:pt x="1434" y="1134"/>
                      </a:lnTo>
                      <a:lnTo>
                        <a:pt x="1464" y="1110"/>
                      </a:lnTo>
                      <a:lnTo>
                        <a:pt x="1476" y="1104"/>
                      </a:lnTo>
                      <a:lnTo>
                        <a:pt x="1476" y="1098"/>
                      </a:lnTo>
                      <a:lnTo>
                        <a:pt x="1470" y="1092"/>
                      </a:lnTo>
                      <a:lnTo>
                        <a:pt x="1464" y="1080"/>
                      </a:lnTo>
                      <a:lnTo>
                        <a:pt x="1458" y="1062"/>
                      </a:lnTo>
                      <a:lnTo>
                        <a:pt x="1452" y="1050"/>
                      </a:lnTo>
                      <a:lnTo>
                        <a:pt x="1452" y="1044"/>
                      </a:lnTo>
                      <a:lnTo>
                        <a:pt x="1440" y="1032"/>
                      </a:lnTo>
                      <a:lnTo>
                        <a:pt x="1428" y="1032"/>
                      </a:lnTo>
                      <a:lnTo>
                        <a:pt x="1392" y="1014"/>
                      </a:lnTo>
                      <a:lnTo>
                        <a:pt x="1386" y="1014"/>
                      </a:lnTo>
                      <a:lnTo>
                        <a:pt x="1362" y="1026"/>
                      </a:lnTo>
                      <a:lnTo>
                        <a:pt x="1338" y="1002"/>
                      </a:lnTo>
                      <a:lnTo>
                        <a:pt x="1338" y="960"/>
                      </a:lnTo>
                      <a:lnTo>
                        <a:pt x="1332" y="954"/>
                      </a:lnTo>
                      <a:lnTo>
                        <a:pt x="1326" y="942"/>
                      </a:lnTo>
                      <a:lnTo>
                        <a:pt x="1314" y="930"/>
                      </a:lnTo>
                      <a:lnTo>
                        <a:pt x="1308" y="912"/>
                      </a:lnTo>
                      <a:lnTo>
                        <a:pt x="1296" y="900"/>
                      </a:lnTo>
                      <a:lnTo>
                        <a:pt x="1290" y="888"/>
                      </a:lnTo>
                      <a:lnTo>
                        <a:pt x="1290" y="882"/>
                      </a:lnTo>
                      <a:lnTo>
                        <a:pt x="1296" y="876"/>
                      </a:lnTo>
                      <a:lnTo>
                        <a:pt x="1308" y="876"/>
                      </a:lnTo>
                      <a:lnTo>
                        <a:pt x="1320" y="870"/>
                      </a:lnTo>
                      <a:lnTo>
                        <a:pt x="1326" y="864"/>
                      </a:lnTo>
                      <a:lnTo>
                        <a:pt x="1332" y="852"/>
                      </a:lnTo>
                      <a:lnTo>
                        <a:pt x="1332" y="840"/>
                      </a:lnTo>
                      <a:lnTo>
                        <a:pt x="1326" y="834"/>
                      </a:lnTo>
                      <a:lnTo>
                        <a:pt x="1326" y="828"/>
                      </a:lnTo>
                      <a:lnTo>
                        <a:pt x="1320" y="774"/>
                      </a:lnTo>
                      <a:lnTo>
                        <a:pt x="1332" y="750"/>
                      </a:lnTo>
                      <a:lnTo>
                        <a:pt x="1326" y="732"/>
                      </a:lnTo>
                      <a:lnTo>
                        <a:pt x="1326" y="726"/>
                      </a:lnTo>
                      <a:lnTo>
                        <a:pt x="1332" y="720"/>
                      </a:lnTo>
                      <a:lnTo>
                        <a:pt x="1332" y="690"/>
                      </a:lnTo>
                      <a:lnTo>
                        <a:pt x="1338" y="678"/>
                      </a:lnTo>
                      <a:lnTo>
                        <a:pt x="1338" y="672"/>
                      </a:lnTo>
                      <a:lnTo>
                        <a:pt x="1326" y="648"/>
                      </a:lnTo>
                      <a:lnTo>
                        <a:pt x="1302" y="588"/>
                      </a:lnTo>
                      <a:lnTo>
                        <a:pt x="1290" y="570"/>
                      </a:lnTo>
                      <a:lnTo>
                        <a:pt x="1296" y="564"/>
                      </a:lnTo>
                      <a:lnTo>
                        <a:pt x="1308" y="558"/>
                      </a:lnTo>
                      <a:lnTo>
                        <a:pt x="1296" y="528"/>
                      </a:lnTo>
                      <a:lnTo>
                        <a:pt x="1284" y="480"/>
                      </a:lnTo>
                      <a:lnTo>
                        <a:pt x="1278" y="438"/>
                      </a:lnTo>
                      <a:lnTo>
                        <a:pt x="1272" y="414"/>
                      </a:lnTo>
                      <a:lnTo>
                        <a:pt x="1266" y="408"/>
                      </a:lnTo>
                      <a:lnTo>
                        <a:pt x="1260" y="396"/>
                      </a:lnTo>
                      <a:lnTo>
                        <a:pt x="1236" y="384"/>
                      </a:lnTo>
                      <a:lnTo>
                        <a:pt x="1230" y="378"/>
                      </a:lnTo>
                      <a:lnTo>
                        <a:pt x="1224" y="378"/>
                      </a:lnTo>
                      <a:lnTo>
                        <a:pt x="1224" y="336"/>
                      </a:lnTo>
                      <a:lnTo>
                        <a:pt x="1212" y="324"/>
                      </a:lnTo>
                      <a:lnTo>
                        <a:pt x="1194" y="318"/>
                      </a:lnTo>
                      <a:lnTo>
                        <a:pt x="1182" y="318"/>
                      </a:lnTo>
                      <a:lnTo>
                        <a:pt x="1182" y="288"/>
                      </a:lnTo>
                      <a:lnTo>
                        <a:pt x="1170" y="288"/>
                      </a:lnTo>
                      <a:lnTo>
                        <a:pt x="1170" y="246"/>
                      </a:lnTo>
                      <a:lnTo>
                        <a:pt x="1194" y="222"/>
                      </a:lnTo>
                      <a:lnTo>
                        <a:pt x="1218" y="204"/>
                      </a:lnTo>
                      <a:lnTo>
                        <a:pt x="1218" y="198"/>
                      </a:lnTo>
                      <a:lnTo>
                        <a:pt x="1224" y="192"/>
                      </a:lnTo>
                      <a:lnTo>
                        <a:pt x="1224" y="180"/>
                      </a:lnTo>
                      <a:lnTo>
                        <a:pt x="1230" y="168"/>
                      </a:lnTo>
                      <a:lnTo>
                        <a:pt x="1230" y="126"/>
                      </a:lnTo>
                      <a:lnTo>
                        <a:pt x="1224" y="114"/>
                      </a:lnTo>
                      <a:lnTo>
                        <a:pt x="1224" y="78"/>
                      </a:lnTo>
                      <a:lnTo>
                        <a:pt x="1230" y="66"/>
                      </a:lnTo>
                      <a:lnTo>
                        <a:pt x="1230" y="54"/>
                      </a:lnTo>
                      <a:lnTo>
                        <a:pt x="1212" y="48"/>
                      </a:lnTo>
                      <a:lnTo>
                        <a:pt x="1254" y="30"/>
                      </a:lnTo>
                      <a:lnTo>
                        <a:pt x="1254" y="18"/>
                      </a:lnTo>
                      <a:lnTo>
                        <a:pt x="1242" y="18"/>
                      </a:lnTo>
                      <a:lnTo>
                        <a:pt x="1236" y="12"/>
                      </a:lnTo>
                      <a:lnTo>
                        <a:pt x="1224" y="12"/>
                      </a:lnTo>
                      <a:lnTo>
                        <a:pt x="1206" y="24"/>
                      </a:lnTo>
                      <a:lnTo>
                        <a:pt x="1170" y="6"/>
                      </a:lnTo>
                      <a:lnTo>
                        <a:pt x="1152" y="6"/>
                      </a:lnTo>
                      <a:lnTo>
                        <a:pt x="1152" y="18"/>
                      </a:lnTo>
                      <a:lnTo>
                        <a:pt x="1116" y="18"/>
                      </a:lnTo>
                      <a:lnTo>
                        <a:pt x="1092" y="0"/>
                      </a:lnTo>
                      <a:lnTo>
                        <a:pt x="1086" y="30"/>
                      </a:lnTo>
                      <a:lnTo>
                        <a:pt x="1056" y="18"/>
                      </a:lnTo>
                      <a:lnTo>
                        <a:pt x="1026" y="42"/>
                      </a:lnTo>
                      <a:lnTo>
                        <a:pt x="1002" y="30"/>
                      </a:lnTo>
                      <a:lnTo>
                        <a:pt x="984" y="30"/>
                      </a:lnTo>
                      <a:lnTo>
                        <a:pt x="966" y="24"/>
                      </a:lnTo>
                      <a:lnTo>
                        <a:pt x="948" y="24"/>
                      </a:lnTo>
                      <a:lnTo>
                        <a:pt x="924" y="30"/>
                      </a:lnTo>
                      <a:lnTo>
                        <a:pt x="906" y="30"/>
                      </a:lnTo>
                      <a:lnTo>
                        <a:pt x="900" y="36"/>
                      </a:lnTo>
                      <a:lnTo>
                        <a:pt x="888" y="36"/>
                      </a:lnTo>
                      <a:lnTo>
                        <a:pt x="876" y="42"/>
                      </a:lnTo>
                      <a:lnTo>
                        <a:pt x="816" y="42"/>
                      </a:lnTo>
                      <a:lnTo>
                        <a:pt x="810" y="48"/>
                      </a:lnTo>
                      <a:lnTo>
                        <a:pt x="750" y="48"/>
                      </a:lnTo>
                      <a:lnTo>
                        <a:pt x="744" y="54"/>
                      </a:lnTo>
                      <a:lnTo>
                        <a:pt x="726" y="54"/>
                      </a:lnTo>
                      <a:lnTo>
                        <a:pt x="714" y="60"/>
                      </a:lnTo>
                      <a:lnTo>
                        <a:pt x="696" y="66"/>
                      </a:lnTo>
                      <a:lnTo>
                        <a:pt x="684" y="78"/>
                      </a:lnTo>
                      <a:lnTo>
                        <a:pt x="678" y="90"/>
                      </a:lnTo>
                      <a:lnTo>
                        <a:pt x="666" y="102"/>
                      </a:lnTo>
                      <a:lnTo>
                        <a:pt x="666" y="108"/>
                      </a:lnTo>
                      <a:lnTo>
                        <a:pt x="636" y="108"/>
                      </a:lnTo>
                      <a:lnTo>
                        <a:pt x="624" y="114"/>
                      </a:lnTo>
                      <a:lnTo>
                        <a:pt x="606" y="114"/>
                      </a:lnTo>
                      <a:lnTo>
                        <a:pt x="594" y="120"/>
                      </a:lnTo>
                      <a:lnTo>
                        <a:pt x="588" y="126"/>
                      </a:lnTo>
                      <a:lnTo>
                        <a:pt x="588" y="132"/>
                      </a:lnTo>
                      <a:lnTo>
                        <a:pt x="558" y="162"/>
                      </a:lnTo>
                      <a:lnTo>
                        <a:pt x="546" y="168"/>
                      </a:lnTo>
                      <a:lnTo>
                        <a:pt x="522" y="168"/>
                      </a:lnTo>
                      <a:lnTo>
                        <a:pt x="528" y="174"/>
                      </a:lnTo>
                      <a:lnTo>
                        <a:pt x="534" y="186"/>
                      </a:lnTo>
                      <a:lnTo>
                        <a:pt x="546" y="192"/>
                      </a:lnTo>
                      <a:lnTo>
                        <a:pt x="540" y="198"/>
                      </a:lnTo>
                      <a:lnTo>
                        <a:pt x="540" y="210"/>
                      </a:lnTo>
                      <a:lnTo>
                        <a:pt x="552" y="210"/>
                      </a:lnTo>
                      <a:lnTo>
                        <a:pt x="546" y="276"/>
                      </a:lnTo>
                      <a:lnTo>
                        <a:pt x="558" y="294"/>
                      </a:lnTo>
                      <a:lnTo>
                        <a:pt x="546" y="324"/>
                      </a:lnTo>
                      <a:lnTo>
                        <a:pt x="564" y="324"/>
                      </a:lnTo>
                      <a:lnTo>
                        <a:pt x="564" y="354"/>
                      </a:lnTo>
                      <a:lnTo>
                        <a:pt x="588" y="372"/>
                      </a:lnTo>
                      <a:lnTo>
                        <a:pt x="570" y="390"/>
                      </a:lnTo>
                      <a:lnTo>
                        <a:pt x="570" y="402"/>
                      </a:lnTo>
                      <a:lnTo>
                        <a:pt x="516" y="408"/>
                      </a:lnTo>
                      <a:lnTo>
                        <a:pt x="504" y="402"/>
                      </a:lnTo>
                      <a:lnTo>
                        <a:pt x="486" y="402"/>
                      </a:lnTo>
                      <a:lnTo>
                        <a:pt x="486" y="408"/>
                      </a:lnTo>
                      <a:lnTo>
                        <a:pt x="480" y="414"/>
                      </a:lnTo>
                      <a:lnTo>
                        <a:pt x="474" y="408"/>
                      </a:lnTo>
                      <a:lnTo>
                        <a:pt x="462" y="408"/>
                      </a:lnTo>
                      <a:lnTo>
                        <a:pt x="462" y="414"/>
                      </a:lnTo>
                      <a:lnTo>
                        <a:pt x="456" y="420"/>
                      </a:lnTo>
                      <a:lnTo>
                        <a:pt x="456" y="432"/>
                      </a:lnTo>
                      <a:lnTo>
                        <a:pt x="432" y="432"/>
                      </a:lnTo>
                      <a:lnTo>
                        <a:pt x="420" y="438"/>
                      </a:lnTo>
                      <a:lnTo>
                        <a:pt x="396" y="438"/>
                      </a:lnTo>
                      <a:lnTo>
                        <a:pt x="390" y="444"/>
                      </a:lnTo>
                      <a:lnTo>
                        <a:pt x="390" y="456"/>
                      </a:lnTo>
                      <a:lnTo>
                        <a:pt x="396" y="462"/>
                      </a:lnTo>
                      <a:lnTo>
                        <a:pt x="402" y="474"/>
                      </a:lnTo>
                      <a:lnTo>
                        <a:pt x="414" y="492"/>
                      </a:lnTo>
                      <a:lnTo>
                        <a:pt x="390" y="504"/>
                      </a:lnTo>
                      <a:lnTo>
                        <a:pt x="390" y="510"/>
                      </a:lnTo>
                      <a:lnTo>
                        <a:pt x="378" y="522"/>
                      </a:lnTo>
                      <a:lnTo>
                        <a:pt x="366" y="528"/>
                      </a:lnTo>
                      <a:lnTo>
                        <a:pt x="360" y="53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82" name="Namibia">
                  <a:extLst>
                    <a:ext uri="{FF2B5EF4-FFF2-40B4-BE49-F238E27FC236}">
                      <a16:creationId xmlns:a16="http://schemas.microsoft.com/office/drawing/2014/main" id="{BBCB8D39-53C2-41FA-BF4D-8DBC1967E29D}"/>
                    </a:ext>
                  </a:extLst>
                </p:cNvPr>
                <p:cNvSpPr>
                  <a:spLocks/>
                </p:cNvSpPr>
                <p:nvPr/>
              </p:nvSpPr>
              <p:spPr bwMode="gray">
                <a:xfrm>
                  <a:off x="4551558" y="3897124"/>
                  <a:ext cx="359981" cy="367392"/>
                </a:xfrm>
                <a:custGeom>
                  <a:avLst/>
                  <a:gdLst>
                    <a:gd name="T0" fmla="*/ 2147483647 w 954"/>
                    <a:gd name="T1" fmla="*/ 2147483647 h 972"/>
                    <a:gd name="T2" fmla="*/ 2147483647 w 954"/>
                    <a:gd name="T3" fmla="*/ 2147483647 h 972"/>
                    <a:gd name="T4" fmla="*/ 2147483647 w 954"/>
                    <a:gd name="T5" fmla="*/ 2147483647 h 972"/>
                    <a:gd name="T6" fmla="*/ 2147483647 w 954"/>
                    <a:gd name="T7" fmla="*/ 2147483647 h 972"/>
                    <a:gd name="T8" fmla="*/ 2147483647 w 954"/>
                    <a:gd name="T9" fmla="*/ 2147483647 h 972"/>
                    <a:gd name="T10" fmla="*/ 2147483647 w 954"/>
                    <a:gd name="T11" fmla="*/ 2147483647 h 972"/>
                    <a:gd name="T12" fmla="*/ 2147483647 w 954"/>
                    <a:gd name="T13" fmla="*/ 2147483647 h 972"/>
                    <a:gd name="T14" fmla="*/ 2147483647 w 954"/>
                    <a:gd name="T15" fmla="*/ 2147483647 h 972"/>
                    <a:gd name="T16" fmla="*/ 2147483647 w 954"/>
                    <a:gd name="T17" fmla="*/ 2147483647 h 972"/>
                    <a:gd name="T18" fmla="*/ 2147483647 w 954"/>
                    <a:gd name="T19" fmla="*/ 2147483647 h 972"/>
                    <a:gd name="T20" fmla="*/ 2147483647 w 954"/>
                    <a:gd name="T21" fmla="*/ 2147483647 h 972"/>
                    <a:gd name="T22" fmla="*/ 2147483647 w 954"/>
                    <a:gd name="T23" fmla="*/ 2147483647 h 972"/>
                    <a:gd name="T24" fmla="*/ 2147483647 w 954"/>
                    <a:gd name="T25" fmla="*/ 2147483647 h 972"/>
                    <a:gd name="T26" fmla="*/ 2147483647 w 954"/>
                    <a:gd name="T27" fmla="*/ 2147483647 h 972"/>
                    <a:gd name="T28" fmla="*/ 2147483647 w 954"/>
                    <a:gd name="T29" fmla="*/ 2147483647 h 972"/>
                    <a:gd name="T30" fmla="*/ 2147483647 w 954"/>
                    <a:gd name="T31" fmla="*/ 2147483647 h 972"/>
                    <a:gd name="T32" fmla="*/ 2147483647 w 954"/>
                    <a:gd name="T33" fmla="*/ 2147483647 h 972"/>
                    <a:gd name="T34" fmla="*/ 2147483647 w 954"/>
                    <a:gd name="T35" fmla="*/ 2147483647 h 972"/>
                    <a:gd name="T36" fmla="*/ 2147483647 w 954"/>
                    <a:gd name="T37" fmla="*/ 2147483647 h 972"/>
                    <a:gd name="T38" fmla="*/ 2147483647 w 954"/>
                    <a:gd name="T39" fmla="*/ 2147483647 h 972"/>
                    <a:gd name="T40" fmla="*/ 2147483647 w 954"/>
                    <a:gd name="T41" fmla="*/ 2147483647 h 972"/>
                    <a:gd name="T42" fmla="*/ 2147483647 w 954"/>
                    <a:gd name="T43" fmla="*/ 2147483647 h 972"/>
                    <a:gd name="T44" fmla="*/ 2147483647 w 954"/>
                    <a:gd name="T45" fmla="*/ 2147483647 h 972"/>
                    <a:gd name="T46" fmla="*/ 2147483647 w 954"/>
                    <a:gd name="T47" fmla="*/ 2147483647 h 972"/>
                    <a:gd name="T48" fmla="*/ 2147483647 w 954"/>
                    <a:gd name="T49" fmla="*/ 2147483647 h 972"/>
                    <a:gd name="T50" fmla="*/ 2147483647 w 954"/>
                    <a:gd name="T51" fmla="*/ 2147483647 h 972"/>
                    <a:gd name="T52" fmla="*/ 2147483647 w 954"/>
                    <a:gd name="T53" fmla="*/ 2147483647 h 972"/>
                    <a:gd name="T54" fmla="*/ 2147483647 w 954"/>
                    <a:gd name="T55" fmla="*/ 2147483647 h 972"/>
                    <a:gd name="T56" fmla="*/ 2147483647 w 954"/>
                    <a:gd name="T57" fmla="*/ 2147483647 h 972"/>
                    <a:gd name="T58" fmla="*/ 2147483647 w 954"/>
                    <a:gd name="T59" fmla="*/ 2147483647 h 972"/>
                    <a:gd name="T60" fmla="*/ 2147483647 w 954"/>
                    <a:gd name="T61" fmla="*/ 2147483647 h 972"/>
                    <a:gd name="T62" fmla="*/ 2147483647 w 954"/>
                    <a:gd name="T63" fmla="*/ 2147483647 h 972"/>
                    <a:gd name="T64" fmla="*/ 2147483647 w 954"/>
                    <a:gd name="T65" fmla="*/ 2147483647 h 972"/>
                    <a:gd name="T66" fmla="*/ 2147483647 w 954"/>
                    <a:gd name="T67" fmla="*/ 0 h 972"/>
                    <a:gd name="T68" fmla="*/ 2147483647 w 954"/>
                    <a:gd name="T69" fmla="*/ 2147483647 h 972"/>
                    <a:gd name="T70" fmla="*/ 2147483647 w 954"/>
                    <a:gd name="T71" fmla="*/ 2147483647 h 972"/>
                    <a:gd name="T72" fmla="*/ 0 w 954"/>
                    <a:gd name="T73" fmla="*/ 2147483647 h 972"/>
                    <a:gd name="T74" fmla="*/ 2147483647 w 954"/>
                    <a:gd name="T75" fmla="*/ 2147483647 h 972"/>
                    <a:gd name="T76" fmla="*/ 2147483647 w 954"/>
                    <a:gd name="T77" fmla="*/ 2147483647 h 972"/>
                    <a:gd name="T78" fmla="*/ 2147483647 w 954"/>
                    <a:gd name="T79" fmla="*/ 2147483647 h 972"/>
                    <a:gd name="T80" fmla="*/ 2147483647 w 954"/>
                    <a:gd name="T81" fmla="*/ 2147483647 h 972"/>
                    <a:gd name="T82" fmla="*/ 2147483647 w 954"/>
                    <a:gd name="T83" fmla="*/ 2147483647 h 972"/>
                    <a:gd name="T84" fmla="*/ 2147483647 w 954"/>
                    <a:gd name="T85" fmla="*/ 2147483647 h 972"/>
                    <a:gd name="T86" fmla="*/ 2147483647 w 954"/>
                    <a:gd name="T87" fmla="*/ 2147483647 h 972"/>
                    <a:gd name="T88" fmla="*/ 2147483647 w 954"/>
                    <a:gd name="T89" fmla="*/ 2147483647 h 972"/>
                    <a:gd name="T90" fmla="*/ 2147483647 w 954"/>
                    <a:gd name="T91" fmla="*/ 2147483647 h 972"/>
                    <a:gd name="T92" fmla="*/ 2147483647 w 954"/>
                    <a:gd name="T93" fmla="*/ 2147483647 h 972"/>
                    <a:gd name="T94" fmla="*/ 2147483647 w 954"/>
                    <a:gd name="T95" fmla="*/ 2147483647 h 972"/>
                    <a:gd name="T96" fmla="*/ 2147483647 w 954"/>
                    <a:gd name="T97" fmla="*/ 2147483647 h 972"/>
                    <a:gd name="T98" fmla="*/ 2147483647 w 954"/>
                    <a:gd name="T99" fmla="*/ 2147483647 h 972"/>
                    <a:gd name="T100" fmla="*/ 2147483647 w 954"/>
                    <a:gd name="T101" fmla="*/ 2147483647 h 972"/>
                    <a:gd name="T102" fmla="*/ 2147483647 w 954"/>
                    <a:gd name="T103" fmla="*/ 2147483647 h 972"/>
                    <a:gd name="T104" fmla="*/ 2147483647 w 954"/>
                    <a:gd name="T105" fmla="*/ 2147483647 h 972"/>
                    <a:gd name="T106" fmla="*/ 2147483647 w 954"/>
                    <a:gd name="T107" fmla="*/ 2147483647 h 972"/>
                    <a:gd name="T108" fmla="*/ 2147483647 w 954"/>
                    <a:gd name="T109" fmla="*/ 2147483647 h 972"/>
                    <a:gd name="T110" fmla="*/ 2147483647 w 954"/>
                    <a:gd name="T111" fmla="*/ 2147483647 h 972"/>
                    <a:gd name="T112" fmla="*/ 2147483647 w 954"/>
                    <a:gd name="T113" fmla="*/ 2147483647 h 972"/>
                    <a:gd name="T114" fmla="*/ 2147483647 w 954"/>
                    <a:gd name="T115" fmla="*/ 2147483647 h 972"/>
                    <a:gd name="T116" fmla="*/ 2147483647 w 954"/>
                    <a:gd name="T117" fmla="*/ 2147483647 h 972"/>
                    <a:gd name="T118" fmla="*/ 2147483647 w 954"/>
                    <a:gd name="T119" fmla="*/ 2147483647 h 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72"/>
                    <a:gd name="T182" fmla="*/ 954 w 954"/>
                    <a:gd name="T183" fmla="*/ 972 h 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72">
                      <a:moveTo>
                        <a:pt x="366" y="894"/>
                      </a:moveTo>
                      <a:lnTo>
                        <a:pt x="372" y="894"/>
                      </a:lnTo>
                      <a:lnTo>
                        <a:pt x="390" y="912"/>
                      </a:lnTo>
                      <a:lnTo>
                        <a:pt x="390" y="936"/>
                      </a:lnTo>
                      <a:lnTo>
                        <a:pt x="396" y="948"/>
                      </a:lnTo>
                      <a:lnTo>
                        <a:pt x="402" y="954"/>
                      </a:lnTo>
                      <a:lnTo>
                        <a:pt x="426" y="954"/>
                      </a:lnTo>
                      <a:lnTo>
                        <a:pt x="432" y="960"/>
                      </a:lnTo>
                      <a:lnTo>
                        <a:pt x="432" y="966"/>
                      </a:lnTo>
                      <a:lnTo>
                        <a:pt x="438" y="972"/>
                      </a:lnTo>
                      <a:lnTo>
                        <a:pt x="462" y="972"/>
                      </a:lnTo>
                      <a:lnTo>
                        <a:pt x="474" y="960"/>
                      </a:lnTo>
                      <a:lnTo>
                        <a:pt x="486" y="960"/>
                      </a:lnTo>
                      <a:lnTo>
                        <a:pt x="498" y="972"/>
                      </a:lnTo>
                      <a:lnTo>
                        <a:pt x="522" y="972"/>
                      </a:lnTo>
                      <a:lnTo>
                        <a:pt x="522" y="948"/>
                      </a:lnTo>
                      <a:lnTo>
                        <a:pt x="534" y="948"/>
                      </a:lnTo>
                      <a:lnTo>
                        <a:pt x="534" y="942"/>
                      </a:lnTo>
                      <a:lnTo>
                        <a:pt x="540" y="936"/>
                      </a:lnTo>
                      <a:lnTo>
                        <a:pt x="552" y="930"/>
                      </a:lnTo>
                      <a:lnTo>
                        <a:pt x="570" y="930"/>
                      </a:lnTo>
                      <a:lnTo>
                        <a:pt x="582" y="414"/>
                      </a:lnTo>
                      <a:lnTo>
                        <a:pt x="654" y="414"/>
                      </a:lnTo>
                      <a:lnTo>
                        <a:pt x="648" y="288"/>
                      </a:lnTo>
                      <a:lnTo>
                        <a:pt x="654" y="282"/>
                      </a:lnTo>
                      <a:lnTo>
                        <a:pt x="654" y="108"/>
                      </a:lnTo>
                      <a:lnTo>
                        <a:pt x="690" y="108"/>
                      </a:lnTo>
                      <a:lnTo>
                        <a:pt x="708" y="102"/>
                      </a:lnTo>
                      <a:lnTo>
                        <a:pt x="744" y="102"/>
                      </a:lnTo>
                      <a:lnTo>
                        <a:pt x="792" y="90"/>
                      </a:lnTo>
                      <a:lnTo>
                        <a:pt x="804" y="84"/>
                      </a:lnTo>
                      <a:lnTo>
                        <a:pt x="822" y="84"/>
                      </a:lnTo>
                      <a:lnTo>
                        <a:pt x="828" y="90"/>
                      </a:lnTo>
                      <a:lnTo>
                        <a:pt x="828" y="108"/>
                      </a:lnTo>
                      <a:lnTo>
                        <a:pt x="834" y="108"/>
                      </a:lnTo>
                      <a:lnTo>
                        <a:pt x="834" y="126"/>
                      </a:lnTo>
                      <a:lnTo>
                        <a:pt x="840" y="126"/>
                      </a:lnTo>
                      <a:lnTo>
                        <a:pt x="882" y="84"/>
                      </a:lnTo>
                      <a:lnTo>
                        <a:pt x="906" y="84"/>
                      </a:lnTo>
                      <a:lnTo>
                        <a:pt x="918" y="72"/>
                      </a:lnTo>
                      <a:lnTo>
                        <a:pt x="954" y="66"/>
                      </a:lnTo>
                      <a:lnTo>
                        <a:pt x="936" y="48"/>
                      </a:lnTo>
                      <a:lnTo>
                        <a:pt x="906" y="54"/>
                      </a:lnTo>
                      <a:lnTo>
                        <a:pt x="906" y="48"/>
                      </a:lnTo>
                      <a:lnTo>
                        <a:pt x="900" y="42"/>
                      </a:lnTo>
                      <a:lnTo>
                        <a:pt x="882" y="42"/>
                      </a:lnTo>
                      <a:lnTo>
                        <a:pt x="876" y="48"/>
                      </a:lnTo>
                      <a:lnTo>
                        <a:pt x="870" y="48"/>
                      </a:lnTo>
                      <a:lnTo>
                        <a:pt x="846" y="60"/>
                      </a:lnTo>
                      <a:lnTo>
                        <a:pt x="828" y="54"/>
                      </a:lnTo>
                      <a:lnTo>
                        <a:pt x="816" y="60"/>
                      </a:lnTo>
                      <a:lnTo>
                        <a:pt x="780" y="72"/>
                      </a:lnTo>
                      <a:lnTo>
                        <a:pt x="732" y="78"/>
                      </a:lnTo>
                      <a:lnTo>
                        <a:pt x="696" y="84"/>
                      </a:lnTo>
                      <a:lnTo>
                        <a:pt x="624" y="84"/>
                      </a:lnTo>
                      <a:lnTo>
                        <a:pt x="618" y="72"/>
                      </a:lnTo>
                      <a:lnTo>
                        <a:pt x="546" y="78"/>
                      </a:lnTo>
                      <a:lnTo>
                        <a:pt x="540" y="66"/>
                      </a:lnTo>
                      <a:lnTo>
                        <a:pt x="504" y="66"/>
                      </a:lnTo>
                      <a:lnTo>
                        <a:pt x="480" y="42"/>
                      </a:lnTo>
                      <a:lnTo>
                        <a:pt x="480" y="36"/>
                      </a:lnTo>
                      <a:lnTo>
                        <a:pt x="174" y="36"/>
                      </a:lnTo>
                      <a:lnTo>
                        <a:pt x="168" y="30"/>
                      </a:lnTo>
                      <a:lnTo>
                        <a:pt x="156" y="30"/>
                      </a:lnTo>
                      <a:lnTo>
                        <a:pt x="132" y="18"/>
                      </a:lnTo>
                      <a:lnTo>
                        <a:pt x="126" y="6"/>
                      </a:lnTo>
                      <a:lnTo>
                        <a:pt x="120" y="0"/>
                      </a:lnTo>
                      <a:lnTo>
                        <a:pt x="90" y="0"/>
                      </a:lnTo>
                      <a:lnTo>
                        <a:pt x="90" y="6"/>
                      </a:lnTo>
                      <a:lnTo>
                        <a:pt x="72" y="24"/>
                      </a:lnTo>
                      <a:lnTo>
                        <a:pt x="42" y="24"/>
                      </a:lnTo>
                      <a:lnTo>
                        <a:pt x="36" y="18"/>
                      </a:lnTo>
                      <a:lnTo>
                        <a:pt x="18" y="24"/>
                      </a:lnTo>
                      <a:lnTo>
                        <a:pt x="0" y="24"/>
                      </a:lnTo>
                      <a:lnTo>
                        <a:pt x="6" y="96"/>
                      </a:lnTo>
                      <a:lnTo>
                        <a:pt x="12" y="108"/>
                      </a:lnTo>
                      <a:lnTo>
                        <a:pt x="30" y="126"/>
                      </a:lnTo>
                      <a:lnTo>
                        <a:pt x="36" y="138"/>
                      </a:lnTo>
                      <a:lnTo>
                        <a:pt x="54" y="162"/>
                      </a:lnTo>
                      <a:lnTo>
                        <a:pt x="72" y="192"/>
                      </a:lnTo>
                      <a:lnTo>
                        <a:pt x="96" y="228"/>
                      </a:lnTo>
                      <a:lnTo>
                        <a:pt x="102" y="258"/>
                      </a:lnTo>
                      <a:lnTo>
                        <a:pt x="102" y="276"/>
                      </a:lnTo>
                      <a:lnTo>
                        <a:pt x="114" y="294"/>
                      </a:lnTo>
                      <a:lnTo>
                        <a:pt x="120" y="312"/>
                      </a:lnTo>
                      <a:lnTo>
                        <a:pt x="138" y="348"/>
                      </a:lnTo>
                      <a:lnTo>
                        <a:pt x="156" y="366"/>
                      </a:lnTo>
                      <a:lnTo>
                        <a:pt x="156" y="390"/>
                      </a:lnTo>
                      <a:lnTo>
                        <a:pt x="162" y="396"/>
                      </a:lnTo>
                      <a:lnTo>
                        <a:pt x="174" y="402"/>
                      </a:lnTo>
                      <a:lnTo>
                        <a:pt x="180" y="414"/>
                      </a:lnTo>
                      <a:lnTo>
                        <a:pt x="192" y="420"/>
                      </a:lnTo>
                      <a:lnTo>
                        <a:pt x="198" y="432"/>
                      </a:lnTo>
                      <a:lnTo>
                        <a:pt x="198" y="582"/>
                      </a:lnTo>
                      <a:lnTo>
                        <a:pt x="222" y="630"/>
                      </a:lnTo>
                      <a:lnTo>
                        <a:pt x="222" y="678"/>
                      </a:lnTo>
                      <a:lnTo>
                        <a:pt x="216" y="678"/>
                      </a:lnTo>
                      <a:lnTo>
                        <a:pt x="228" y="726"/>
                      </a:lnTo>
                      <a:lnTo>
                        <a:pt x="228" y="762"/>
                      </a:lnTo>
                      <a:lnTo>
                        <a:pt x="240" y="762"/>
                      </a:lnTo>
                      <a:lnTo>
                        <a:pt x="240" y="804"/>
                      </a:lnTo>
                      <a:lnTo>
                        <a:pt x="252" y="810"/>
                      </a:lnTo>
                      <a:lnTo>
                        <a:pt x="258" y="816"/>
                      </a:lnTo>
                      <a:lnTo>
                        <a:pt x="258" y="846"/>
                      </a:lnTo>
                      <a:lnTo>
                        <a:pt x="264" y="858"/>
                      </a:lnTo>
                      <a:lnTo>
                        <a:pt x="270" y="864"/>
                      </a:lnTo>
                      <a:lnTo>
                        <a:pt x="276" y="876"/>
                      </a:lnTo>
                      <a:lnTo>
                        <a:pt x="282" y="894"/>
                      </a:lnTo>
                      <a:lnTo>
                        <a:pt x="282" y="900"/>
                      </a:lnTo>
                      <a:lnTo>
                        <a:pt x="288" y="912"/>
                      </a:lnTo>
                      <a:lnTo>
                        <a:pt x="294" y="918"/>
                      </a:lnTo>
                      <a:lnTo>
                        <a:pt x="318" y="930"/>
                      </a:lnTo>
                      <a:lnTo>
                        <a:pt x="324" y="936"/>
                      </a:lnTo>
                      <a:lnTo>
                        <a:pt x="330" y="936"/>
                      </a:lnTo>
                      <a:lnTo>
                        <a:pt x="330" y="942"/>
                      </a:lnTo>
                      <a:lnTo>
                        <a:pt x="348" y="930"/>
                      </a:lnTo>
                      <a:lnTo>
                        <a:pt x="348" y="924"/>
                      </a:lnTo>
                      <a:lnTo>
                        <a:pt x="354" y="918"/>
                      </a:lnTo>
                      <a:lnTo>
                        <a:pt x="360" y="906"/>
                      </a:lnTo>
                      <a:lnTo>
                        <a:pt x="360" y="900"/>
                      </a:lnTo>
                      <a:lnTo>
                        <a:pt x="366" y="89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83" name="Mongolia">
                  <a:extLst>
                    <a:ext uri="{FF2B5EF4-FFF2-40B4-BE49-F238E27FC236}">
                      <a16:creationId xmlns:a16="http://schemas.microsoft.com/office/drawing/2014/main" id="{C9F05576-A5BC-40F6-80F1-959FA4FDA93D}"/>
                    </a:ext>
                  </a:extLst>
                </p:cNvPr>
                <p:cNvSpPr>
                  <a:spLocks/>
                </p:cNvSpPr>
                <p:nvPr/>
              </p:nvSpPr>
              <p:spPr bwMode="gray">
                <a:xfrm>
                  <a:off x="6333616" y="1804327"/>
                  <a:ext cx="791364" cy="313846"/>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84" name="Mexico">
                  <a:extLst>
                    <a:ext uri="{FF2B5EF4-FFF2-40B4-BE49-F238E27FC236}">
                      <a16:creationId xmlns:a16="http://schemas.microsoft.com/office/drawing/2014/main" id="{3DE22E15-1A1E-4633-B5C5-DE0F8ADA3932}"/>
                    </a:ext>
                  </a:extLst>
                </p:cNvPr>
                <p:cNvSpPr>
                  <a:spLocks/>
                </p:cNvSpPr>
                <p:nvPr/>
              </p:nvSpPr>
              <p:spPr bwMode="gray">
                <a:xfrm>
                  <a:off x="1258170" y="2390371"/>
                  <a:ext cx="702113" cy="550344"/>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85" name="Kazakhstan">
                  <a:extLst>
                    <a:ext uri="{FF2B5EF4-FFF2-40B4-BE49-F238E27FC236}">
                      <a16:creationId xmlns:a16="http://schemas.microsoft.com/office/drawing/2014/main" id="{2351DFB0-E3DE-4D24-8F5D-6100C4D38BCD}"/>
                    </a:ext>
                  </a:extLst>
                </p:cNvPr>
                <p:cNvSpPr>
                  <a:spLocks noEditPoints="1"/>
                </p:cNvSpPr>
                <p:nvPr/>
              </p:nvSpPr>
              <p:spPr bwMode="gray">
                <a:xfrm>
                  <a:off x="5369698" y="1712108"/>
                  <a:ext cx="947555" cy="438789"/>
                </a:xfrm>
                <a:custGeom>
                  <a:avLst/>
                  <a:gdLst>
                    <a:gd name="T0" fmla="*/ 2147483647 w 2514"/>
                    <a:gd name="T1" fmla="*/ 2147483647 h 1164"/>
                    <a:gd name="T2" fmla="*/ 2147483647 w 2514"/>
                    <a:gd name="T3" fmla="*/ 2147483647 h 1164"/>
                    <a:gd name="T4" fmla="*/ 2147483647 w 2514"/>
                    <a:gd name="T5" fmla="*/ 2147483647 h 1164"/>
                    <a:gd name="T6" fmla="*/ 2147483647 w 2514"/>
                    <a:gd name="T7" fmla="*/ 2147483647 h 1164"/>
                    <a:gd name="T8" fmla="*/ 2147483647 w 2514"/>
                    <a:gd name="T9" fmla="*/ 2147483647 h 1164"/>
                    <a:gd name="T10" fmla="*/ 2147483647 w 2514"/>
                    <a:gd name="T11" fmla="*/ 2147483647 h 1164"/>
                    <a:gd name="T12" fmla="*/ 2147483647 w 2514"/>
                    <a:gd name="T13" fmla="*/ 2147483647 h 1164"/>
                    <a:gd name="T14" fmla="*/ 2147483647 w 2514"/>
                    <a:gd name="T15" fmla="*/ 2147483647 h 1164"/>
                    <a:gd name="T16" fmla="*/ 2147483647 w 2514"/>
                    <a:gd name="T17" fmla="*/ 2147483647 h 1164"/>
                    <a:gd name="T18" fmla="*/ 2147483647 w 2514"/>
                    <a:gd name="T19" fmla="*/ 2147483647 h 1164"/>
                    <a:gd name="T20" fmla="*/ 2147483647 w 2514"/>
                    <a:gd name="T21" fmla="*/ 2147483647 h 1164"/>
                    <a:gd name="T22" fmla="*/ 2147483647 w 2514"/>
                    <a:gd name="T23" fmla="*/ 2147483647 h 1164"/>
                    <a:gd name="T24" fmla="*/ 2147483647 w 2514"/>
                    <a:gd name="T25" fmla="*/ 2147483647 h 1164"/>
                    <a:gd name="T26" fmla="*/ 2147483647 w 2514"/>
                    <a:gd name="T27" fmla="*/ 2147483647 h 1164"/>
                    <a:gd name="T28" fmla="*/ 2147483647 w 2514"/>
                    <a:gd name="T29" fmla="*/ 2147483647 h 1164"/>
                    <a:gd name="T30" fmla="*/ 2147483647 w 2514"/>
                    <a:gd name="T31" fmla="*/ 2147483647 h 1164"/>
                    <a:gd name="T32" fmla="*/ 2147483647 w 2514"/>
                    <a:gd name="T33" fmla="*/ 2147483647 h 1164"/>
                    <a:gd name="T34" fmla="*/ 2147483647 w 2514"/>
                    <a:gd name="T35" fmla="*/ 2147483647 h 1164"/>
                    <a:gd name="T36" fmla="*/ 2147483647 w 2514"/>
                    <a:gd name="T37" fmla="*/ 2147483647 h 1164"/>
                    <a:gd name="T38" fmla="*/ 2147483647 w 2514"/>
                    <a:gd name="T39" fmla="*/ 2147483647 h 1164"/>
                    <a:gd name="T40" fmla="*/ 2147483647 w 2514"/>
                    <a:gd name="T41" fmla="*/ 2147483647 h 1164"/>
                    <a:gd name="T42" fmla="*/ 2147483647 w 2514"/>
                    <a:gd name="T43" fmla="*/ 2147483647 h 1164"/>
                    <a:gd name="T44" fmla="*/ 2147483647 w 2514"/>
                    <a:gd name="T45" fmla="*/ 2147483647 h 1164"/>
                    <a:gd name="T46" fmla="*/ 2147483647 w 2514"/>
                    <a:gd name="T47" fmla="*/ 2147483647 h 1164"/>
                    <a:gd name="T48" fmla="*/ 2147483647 w 2514"/>
                    <a:gd name="T49" fmla="*/ 2147483647 h 1164"/>
                    <a:gd name="T50" fmla="*/ 2147483647 w 2514"/>
                    <a:gd name="T51" fmla="*/ 2147483647 h 1164"/>
                    <a:gd name="T52" fmla="*/ 2147483647 w 2514"/>
                    <a:gd name="T53" fmla="*/ 2147483647 h 1164"/>
                    <a:gd name="T54" fmla="*/ 2147483647 w 2514"/>
                    <a:gd name="T55" fmla="*/ 2147483647 h 1164"/>
                    <a:gd name="T56" fmla="*/ 2147483647 w 2514"/>
                    <a:gd name="T57" fmla="*/ 2147483647 h 1164"/>
                    <a:gd name="T58" fmla="*/ 2147483647 w 2514"/>
                    <a:gd name="T59" fmla="*/ 2147483647 h 1164"/>
                    <a:gd name="T60" fmla="*/ 2147483647 w 2514"/>
                    <a:gd name="T61" fmla="*/ 2147483647 h 1164"/>
                    <a:gd name="T62" fmla="*/ 2147483647 w 2514"/>
                    <a:gd name="T63" fmla="*/ 2147483647 h 1164"/>
                    <a:gd name="T64" fmla="*/ 2147483647 w 2514"/>
                    <a:gd name="T65" fmla="*/ 2147483647 h 1164"/>
                    <a:gd name="T66" fmla="*/ 2147483647 w 2514"/>
                    <a:gd name="T67" fmla="*/ 2147483647 h 1164"/>
                    <a:gd name="T68" fmla="*/ 2147483647 w 2514"/>
                    <a:gd name="T69" fmla="*/ 2147483647 h 1164"/>
                    <a:gd name="T70" fmla="*/ 2147483647 w 2514"/>
                    <a:gd name="T71" fmla="*/ 2147483647 h 1164"/>
                    <a:gd name="T72" fmla="*/ 2147483647 w 2514"/>
                    <a:gd name="T73" fmla="*/ 2147483647 h 1164"/>
                    <a:gd name="T74" fmla="*/ 2147483647 w 2514"/>
                    <a:gd name="T75" fmla="*/ 2147483647 h 1164"/>
                    <a:gd name="T76" fmla="*/ 2147483647 w 2514"/>
                    <a:gd name="T77" fmla="*/ 2147483647 h 1164"/>
                    <a:gd name="T78" fmla="*/ 2147483647 w 2514"/>
                    <a:gd name="T79" fmla="*/ 2147483647 h 1164"/>
                    <a:gd name="T80" fmla="*/ 2147483647 w 2514"/>
                    <a:gd name="T81" fmla="*/ 2147483647 h 1164"/>
                    <a:gd name="T82" fmla="*/ 2147483647 w 2514"/>
                    <a:gd name="T83" fmla="*/ 2147483647 h 1164"/>
                    <a:gd name="T84" fmla="*/ 2147483647 w 2514"/>
                    <a:gd name="T85" fmla="*/ 2147483647 h 1164"/>
                    <a:gd name="T86" fmla="*/ 2147483647 w 2514"/>
                    <a:gd name="T87" fmla="*/ 2147483647 h 1164"/>
                    <a:gd name="T88" fmla="*/ 2147483647 w 2514"/>
                    <a:gd name="T89" fmla="*/ 2147483647 h 1164"/>
                    <a:gd name="T90" fmla="*/ 2147483647 w 2514"/>
                    <a:gd name="T91" fmla="*/ 2147483647 h 1164"/>
                    <a:gd name="T92" fmla="*/ 2147483647 w 2514"/>
                    <a:gd name="T93" fmla="*/ 2147483647 h 1164"/>
                    <a:gd name="T94" fmla="*/ 2147483647 w 2514"/>
                    <a:gd name="T95" fmla="*/ 2147483647 h 1164"/>
                    <a:gd name="T96" fmla="*/ 2147483647 w 2514"/>
                    <a:gd name="T97" fmla="*/ 2147483647 h 1164"/>
                    <a:gd name="T98" fmla="*/ 2147483647 w 2514"/>
                    <a:gd name="T99" fmla="*/ 2147483647 h 1164"/>
                    <a:gd name="T100" fmla="*/ 2147483647 w 2514"/>
                    <a:gd name="T101" fmla="*/ 2147483647 h 1164"/>
                    <a:gd name="T102" fmla="*/ 2147483647 w 2514"/>
                    <a:gd name="T103" fmla="*/ 2147483647 h 1164"/>
                    <a:gd name="T104" fmla="*/ 2147483647 w 2514"/>
                    <a:gd name="T105" fmla="*/ 2147483647 h 1164"/>
                    <a:gd name="T106" fmla="*/ 2147483647 w 2514"/>
                    <a:gd name="T107" fmla="*/ 2147483647 h 1164"/>
                    <a:gd name="T108" fmla="*/ 2147483647 w 2514"/>
                    <a:gd name="T109" fmla="*/ 2147483647 h 1164"/>
                    <a:gd name="T110" fmla="*/ 2147483647 w 2514"/>
                    <a:gd name="T111" fmla="*/ 2147483647 h 1164"/>
                    <a:gd name="T112" fmla="*/ 2147483647 w 2514"/>
                    <a:gd name="T113" fmla="*/ 2147483647 h 1164"/>
                    <a:gd name="T114" fmla="*/ 2147483647 w 2514"/>
                    <a:gd name="T115" fmla="*/ 2147483647 h 1164"/>
                    <a:gd name="T116" fmla="*/ 2147483647 w 2514"/>
                    <a:gd name="T117" fmla="*/ 2147483647 h 1164"/>
                    <a:gd name="T118" fmla="*/ 2147483647 w 2514"/>
                    <a:gd name="T119" fmla="*/ 2147483647 h 1164"/>
                    <a:gd name="T120" fmla="*/ 2147483647 w 2514"/>
                    <a:gd name="T121" fmla="*/ 2147483647 h 1164"/>
                    <a:gd name="T122" fmla="*/ 2147483647 w 2514"/>
                    <a:gd name="T123" fmla="*/ 2147483647 h 11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4"/>
                    <a:gd name="T187" fmla="*/ 0 h 1164"/>
                    <a:gd name="T188" fmla="*/ 2514 w 2514"/>
                    <a:gd name="T189" fmla="*/ 1164 h 11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4" h="1164">
                      <a:moveTo>
                        <a:pt x="852" y="756"/>
                      </a:moveTo>
                      <a:lnTo>
                        <a:pt x="840" y="744"/>
                      </a:lnTo>
                      <a:lnTo>
                        <a:pt x="822" y="768"/>
                      </a:lnTo>
                      <a:lnTo>
                        <a:pt x="816" y="780"/>
                      </a:lnTo>
                      <a:lnTo>
                        <a:pt x="870" y="804"/>
                      </a:lnTo>
                      <a:lnTo>
                        <a:pt x="870" y="786"/>
                      </a:lnTo>
                      <a:lnTo>
                        <a:pt x="864" y="780"/>
                      </a:lnTo>
                      <a:lnTo>
                        <a:pt x="858" y="768"/>
                      </a:lnTo>
                      <a:lnTo>
                        <a:pt x="858" y="762"/>
                      </a:lnTo>
                      <a:lnTo>
                        <a:pt x="852" y="756"/>
                      </a:lnTo>
                      <a:close/>
                      <a:moveTo>
                        <a:pt x="2484" y="492"/>
                      </a:moveTo>
                      <a:lnTo>
                        <a:pt x="2484" y="486"/>
                      </a:lnTo>
                      <a:lnTo>
                        <a:pt x="2514" y="486"/>
                      </a:lnTo>
                      <a:lnTo>
                        <a:pt x="2478" y="444"/>
                      </a:lnTo>
                      <a:lnTo>
                        <a:pt x="2454" y="420"/>
                      </a:lnTo>
                      <a:lnTo>
                        <a:pt x="2442" y="456"/>
                      </a:lnTo>
                      <a:lnTo>
                        <a:pt x="2370" y="450"/>
                      </a:lnTo>
                      <a:lnTo>
                        <a:pt x="2370" y="444"/>
                      </a:lnTo>
                      <a:lnTo>
                        <a:pt x="2364" y="438"/>
                      </a:lnTo>
                      <a:lnTo>
                        <a:pt x="2358" y="426"/>
                      </a:lnTo>
                      <a:lnTo>
                        <a:pt x="2352" y="420"/>
                      </a:lnTo>
                      <a:lnTo>
                        <a:pt x="2346" y="408"/>
                      </a:lnTo>
                      <a:lnTo>
                        <a:pt x="2346" y="402"/>
                      </a:lnTo>
                      <a:lnTo>
                        <a:pt x="2340" y="402"/>
                      </a:lnTo>
                      <a:lnTo>
                        <a:pt x="2328" y="396"/>
                      </a:lnTo>
                      <a:lnTo>
                        <a:pt x="2316" y="396"/>
                      </a:lnTo>
                      <a:lnTo>
                        <a:pt x="2304" y="390"/>
                      </a:lnTo>
                      <a:lnTo>
                        <a:pt x="2292" y="390"/>
                      </a:lnTo>
                      <a:lnTo>
                        <a:pt x="2286" y="378"/>
                      </a:lnTo>
                      <a:lnTo>
                        <a:pt x="2274" y="372"/>
                      </a:lnTo>
                      <a:lnTo>
                        <a:pt x="2250" y="348"/>
                      </a:lnTo>
                      <a:lnTo>
                        <a:pt x="2226" y="336"/>
                      </a:lnTo>
                      <a:lnTo>
                        <a:pt x="2208" y="336"/>
                      </a:lnTo>
                      <a:lnTo>
                        <a:pt x="2196" y="342"/>
                      </a:lnTo>
                      <a:lnTo>
                        <a:pt x="2178" y="348"/>
                      </a:lnTo>
                      <a:lnTo>
                        <a:pt x="2166" y="354"/>
                      </a:lnTo>
                      <a:lnTo>
                        <a:pt x="2160" y="366"/>
                      </a:lnTo>
                      <a:lnTo>
                        <a:pt x="2136" y="366"/>
                      </a:lnTo>
                      <a:lnTo>
                        <a:pt x="2124" y="360"/>
                      </a:lnTo>
                      <a:lnTo>
                        <a:pt x="2118" y="348"/>
                      </a:lnTo>
                      <a:lnTo>
                        <a:pt x="2106" y="342"/>
                      </a:lnTo>
                      <a:lnTo>
                        <a:pt x="2076" y="342"/>
                      </a:lnTo>
                      <a:lnTo>
                        <a:pt x="2076" y="336"/>
                      </a:lnTo>
                      <a:lnTo>
                        <a:pt x="2070" y="330"/>
                      </a:lnTo>
                      <a:lnTo>
                        <a:pt x="2070" y="318"/>
                      </a:lnTo>
                      <a:lnTo>
                        <a:pt x="2064" y="312"/>
                      </a:lnTo>
                      <a:lnTo>
                        <a:pt x="2052" y="312"/>
                      </a:lnTo>
                      <a:lnTo>
                        <a:pt x="2052" y="318"/>
                      </a:lnTo>
                      <a:lnTo>
                        <a:pt x="2046" y="324"/>
                      </a:lnTo>
                      <a:lnTo>
                        <a:pt x="2046" y="336"/>
                      </a:lnTo>
                      <a:lnTo>
                        <a:pt x="2034" y="348"/>
                      </a:lnTo>
                      <a:lnTo>
                        <a:pt x="2022" y="354"/>
                      </a:lnTo>
                      <a:lnTo>
                        <a:pt x="2010" y="354"/>
                      </a:lnTo>
                      <a:lnTo>
                        <a:pt x="1998" y="348"/>
                      </a:lnTo>
                      <a:lnTo>
                        <a:pt x="1986" y="336"/>
                      </a:lnTo>
                      <a:lnTo>
                        <a:pt x="1974" y="318"/>
                      </a:lnTo>
                      <a:lnTo>
                        <a:pt x="1938" y="282"/>
                      </a:lnTo>
                      <a:lnTo>
                        <a:pt x="1920" y="258"/>
                      </a:lnTo>
                      <a:lnTo>
                        <a:pt x="1848" y="198"/>
                      </a:lnTo>
                      <a:lnTo>
                        <a:pt x="1818" y="168"/>
                      </a:lnTo>
                      <a:lnTo>
                        <a:pt x="1800" y="156"/>
                      </a:lnTo>
                      <a:lnTo>
                        <a:pt x="1788" y="150"/>
                      </a:lnTo>
                      <a:lnTo>
                        <a:pt x="1758" y="132"/>
                      </a:lnTo>
                      <a:lnTo>
                        <a:pt x="1728" y="120"/>
                      </a:lnTo>
                      <a:lnTo>
                        <a:pt x="1692" y="102"/>
                      </a:lnTo>
                      <a:lnTo>
                        <a:pt x="1698" y="102"/>
                      </a:lnTo>
                      <a:lnTo>
                        <a:pt x="1710" y="90"/>
                      </a:lnTo>
                      <a:lnTo>
                        <a:pt x="1710" y="72"/>
                      </a:lnTo>
                      <a:lnTo>
                        <a:pt x="1704" y="66"/>
                      </a:lnTo>
                      <a:lnTo>
                        <a:pt x="1698" y="66"/>
                      </a:lnTo>
                      <a:lnTo>
                        <a:pt x="1680" y="84"/>
                      </a:lnTo>
                      <a:lnTo>
                        <a:pt x="1644" y="96"/>
                      </a:lnTo>
                      <a:lnTo>
                        <a:pt x="1632" y="114"/>
                      </a:lnTo>
                      <a:lnTo>
                        <a:pt x="1620" y="114"/>
                      </a:lnTo>
                      <a:lnTo>
                        <a:pt x="1608" y="120"/>
                      </a:lnTo>
                      <a:lnTo>
                        <a:pt x="1602" y="126"/>
                      </a:lnTo>
                      <a:lnTo>
                        <a:pt x="1602" y="144"/>
                      </a:lnTo>
                      <a:lnTo>
                        <a:pt x="1590" y="156"/>
                      </a:lnTo>
                      <a:lnTo>
                        <a:pt x="1578" y="150"/>
                      </a:lnTo>
                      <a:lnTo>
                        <a:pt x="1572" y="144"/>
                      </a:lnTo>
                      <a:lnTo>
                        <a:pt x="1560" y="138"/>
                      </a:lnTo>
                      <a:lnTo>
                        <a:pt x="1554" y="132"/>
                      </a:lnTo>
                      <a:lnTo>
                        <a:pt x="1548" y="132"/>
                      </a:lnTo>
                      <a:lnTo>
                        <a:pt x="1542" y="138"/>
                      </a:lnTo>
                      <a:lnTo>
                        <a:pt x="1536" y="138"/>
                      </a:lnTo>
                      <a:lnTo>
                        <a:pt x="1530" y="144"/>
                      </a:lnTo>
                      <a:lnTo>
                        <a:pt x="1524" y="144"/>
                      </a:lnTo>
                      <a:lnTo>
                        <a:pt x="1524" y="138"/>
                      </a:lnTo>
                      <a:lnTo>
                        <a:pt x="1530" y="132"/>
                      </a:lnTo>
                      <a:lnTo>
                        <a:pt x="1530" y="108"/>
                      </a:lnTo>
                      <a:lnTo>
                        <a:pt x="1518" y="102"/>
                      </a:lnTo>
                      <a:lnTo>
                        <a:pt x="1512" y="102"/>
                      </a:lnTo>
                      <a:lnTo>
                        <a:pt x="1506" y="108"/>
                      </a:lnTo>
                      <a:lnTo>
                        <a:pt x="1482" y="96"/>
                      </a:lnTo>
                      <a:lnTo>
                        <a:pt x="1458" y="108"/>
                      </a:lnTo>
                      <a:lnTo>
                        <a:pt x="1434" y="72"/>
                      </a:lnTo>
                      <a:lnTo>
                        <a:pt x="1422" y="90"/>
                      </a:lnTo>
                      <a:lnTo>
                        <a:pt x="1404" y="90"/>
                      </a:lnTo>
                      <a:lnTo>
                        <a:pt x="1392" y="96"/>
                      </a:lnTo>
                      <a:lnTo>
                        <a:pt x="1374" y="96"/>
                      </a:lnTo>
                      <a:lnTo>
                        <a:pt x="1368" y="90"/>
                      </a:lnTo>
                      <a:lnTo>
                        <a:pt x="1368" y="48"/>
                      </a:lnTo>
                      <a:lnTo>
                        <a:pt x="1362" y="42"/>
                      </a:lnTo>
                      <a:lnTo>
                        <a:pt x="1350" y="42"/>
                      </a:lnTo>
                      <a:lnTo>
                        <a:pt x="1344" y="36"/>
                      </a:lnTo>
                      <a:lnTo>
                        <a:pt x="1338" y="24"/>
                      </a:lnTo>
                      <a:lnTo>
                        <a:pt x="1320" y="6"/>
                      </a:lnTo>
                      <a:lnTo>
                        <a:pt x="1314" y="6"/>
                      </a:lnTo>
                      <a:lnTo>
                        <a:pt x="1302" y="18"/>
                      </a:lnTo>
                      <a:lnTo>
                        <a:pt x="1290" y="18"/>
                      </a:lnTo>
                      <a:lnTo>
                        <a:pt x="1278" y="6"/>
                      </a:lnTo>
                      <a:lnTo>
                        <a:pt x="1260" y="6"/>
                      </a:lnTo>
                      <a:lnTo>
                        <a:pt x="1242" y="0"/>
                      </a:lnTo>
                      <a:lnTo>
                        <a:pt x="1218" y="0"/>
                      </a:lnTo>
                      <a:lnTo>
                        <a:pt x="1200" y="6"/>
                      </a:lnTo>
                      <a:lnTo>
                        <a:pt x="1188" y="12"/>
                      </a:lnTo>
                      <a:lnTo>
                        <a:pt x="1176" y="24"/>
                      </a:lnTo>
                      <a:lnTo>
                        <a:pt x="1176" y="36"/>
                      </a:lnTo>
                      <a:lnTo>
                        <a:pt x="1164" y="36"/>
                      </a:lnTo>
                      <a:lnTo>
                        <a:pt x="1110" y="54"/>
                      </a:lnTo>
                      <a:lnTo>
                        <a:pt x="1020" y="54"/>
                      </a:lnTo>
                      <a:lnTo>
                        <a:pt x="1014" y="60"/>
                      </a:lnTo>
                      <a:lnTo>
                        <a:pt x="1014" y="78"/>
                      </a:lnTo>
                      <a:lnTo>
                        <a:pt x="948" y="78"/>
                      </a:lnTo>
                      <a:lnTo>
                        <a:pt x="942" y="96"/>
                      </a:lnTo>
                      <a:lnTo>
                        <a:pt x="888" y="96"/>
                      </a:lnTo>
                      <a:lnTo>
                        <a:pt x="828" y="102"/>
                      </a:lnTo>
                      <a:lnTo>
                        <a:pt x="792" y="114"/>
                      </a:lnTo>
                      <a:lnTo>
                        <a:pt x="780" y="126"/>
                      </a:lnTo>
                      <a:lnTo>
                        <a:pt x="780" y="132"/>
                      </a:lnTo>
                      <a:lnTo>
                        <a:pt x="786" y="138"/>
                      </a:lnTo>
                      <a:lnTo>
                        <a:pt x="786" y="144"/>
                      </a:lnTo>
                      <a:lnTo>
                        <a:pt x="810" y="144"/>
                      </a:lnTo>
                      <a:lnTo>
                        <a:pt x="798" y="162"/>
                      </a:lnTo>
                      <a:lnTo>
                        <a:pt x="810" y="162"/>
                      </a:lnTo>
                      <a:lnTo>
                        <a:pt x="834" y="174"/>
                      </a:lnTo>
                      <a:lnTo>
                        <a:pt x="846" y="174"/>
                      </a:lnTo>
                      <a:lnTo>
                        <a:pt x="858" y="186"/>
                      </a:lnTo>
                      <a:lnTo>
                        <a:pt x="804" y="186"/>
                      </a:lnTo>
                      <a:lnTo>
                        <a:pt x="792" y="198"/>
                      </a:lnTo>
                      <a:lnTo>
                        <a:pt x="798" y="204"/>
                      </a:lnTo>
                      <a:lnTo>
                        <a:pt x="804" y="216"/>
                      </a:lnTo>
                      <a:lnTo>
                        <a:pt x="810" y="222"/>
                      </a:lnTo>
                      <a:lnTo>
                        <a:pt x="810" y="234"/>
                      </a:lnTo>
                      <a:lnTo>
                        <a:pt x="798" y="246"/>
                      </a:lnTo>
                      <a:lnTo>
                        <a:pt x="786" y="246"/>
                      </a:lnTo>
                      <a:lnTo>
                        <a:pt x="774" y="252"/>
                      </a:lnTo>
                      <a:lnTo>
                        <a:pt x="762" y="252"/>
                      </a:lnTo>
                      <a:lnTo>
                        <a:pt x="792" y="282"/>
                      </a:lnTo>
                      <a:lnTo>
                        <a:pt x="816" y="282"/>
                      </a:lnTo>
                      <a:lnTo>
                        <a:pt x="834" y="288"/>
                      </a:lnTo>
                      <a:lnTo>
                        <a:pt x="846" y="294"/>
                      </a:lnTo>
                      <a:lnTo>
                        <a:pt x="870" y="318"/>
                      </a:lnTo>
                      <a:lnTo>
                        <a:pt x="876" y="336"/>
                      </a:lnTo>
                      <a:lnTo>
                        <a:pt x="876" y="348"/>
                      </a:lnTo>
                      <a:lnTo>
                        <a:pt x="870" y="360"/>
                      </a:lnTo>
                      <a:lnTo>
                        <a:pt x="864" y="366"/>
                      </a:lnTo>
                      <a:lnTo>
                        <a:pt x="828" y="366"/>
                      </a:lnTo>
                      <a:lnTo>
                        <a:pt x="816" y="360"/>
                      </a:lnTo>
                      <a:lnTo>
                        <a:pt x="810" y="354"/>
                      </a:lnTo>
                      <a:lnTo>
                        <a:pt x="798" y="354"/>
                      </a:lnTo>
                      <a:lnTo>
                        <a:pt x="792" y="348"/>
                      </a:lnTo>
                      <a:lnTo>
                        <a:pt x="780" y="372"/>
                      </a:lnTo>
                      <a:lnTo>
                        <a:pt x="768" y="372"/>
                      </a:lnTo>
                      <a:lnTo>
                        <a:pt x="756" y="366"/>
                      </a:lnTo>
                      <a:lnTo>
                        <a:pt x="732" y="366"/>
                      </a:lnTo>
                      <a:lnTo>
                        <a:pt x="708" y="354"/>
                      </a:lnTo>
                      <a:lnTo>
                        <a:pt x="702" y="342"/>
                      </a:lnTo>
                      <a:lnTo>
                        <a:pt x="690" y="336"/>
                      </a:lnTo>
                      <a:lnTo>
                        <a:pt x="684" y="330"/>
                      </a:lnTo>
                      <a:lnTo>
                        <a:pt x="672" y="330"/>
                      </a:lnTo>
                      <a:lnTo>
                        <a:pt x="666" y="336"/>
                      </a:lnTo>
                      <a:lnTo>
                        <a:pt x="654" y="342"/>
                      </a:lnTo>
                      <a:lnTo>
                        <a:pt x="636" y="348"/>
                      </a:lnTo>
                      <a:lnTo>
                        <a:pt x="624" y="348"/>
                      </a:lnTo>
                      <a:lnTo>
                        <a:pt x="588" y="330"/>
                      </a:lnTo>
                      <a:lnTo>
                        <a:pt x="582" y="330"/>
                      </a:lnTo>
                      <a:lnTo>
                        <a:pt x="570" y="336"/>
                      </a:lnTo>
                      <a:lnTo>
                        <a:pt x="558" y="348"/>
                      </a:lnTo>
                      <a:lnTo>
                        <a:pt x="546" y="354"/>
                      </a:lnTo>
                      <a:lnTo>
                        <a:pt x="540" y="366"/>
                      </a:lnTo>
                      <a:lnTo>
                        <a:pt x="534" y="372"/>
                      </a:lnTo>
                      <a:lnTo>
                        <a:pt x="462" y="336"/>
                      </a:lnTo>
                      <a:lnTo>
                        <a:pt x="450" y="336"/>
                      </a:lnTo>
                      <a:lnTo>
                        <a:pt x="450" y="342"/>
                      </a:lnTo>
                      <a:lnTo>
                        <a:pt x="462" y="354"/>
                      </a:lnTo>
                      <a:lnTo>
                        <a:pt x="462" y="372"/>
                      </a:lnTo>
                      <a:lnTo>
                        <a:pt x="450" y="372"/>
                      </a:lnTo>
                      <a:lnTo>
                        <a:pt x="438" y="360"/>
                      </a:lnTo>
                      <a:lnTo>
                        <a:pt x="438" y="354"/>
                      </a:lnTo>
                      <a:lnTo>
                        <a:pt x="426" y="324"/>
                      </a:lnTo>
                      <a:lnTo>
                        <a:pt x="390" y="324"/>
                      </a:lnTo>
                      <a:lnTo>
                        <a:pt x="384" y="312"/>
                      </a:lnTo>
                      <a:lnTo>
                        <a:pt x="384" y="306"/>
                      </a:lnTo>
                      <a:lnTo>
                        <a:pt x="378" y="300"/>
                      </a:lnTo>
                      <a:lnTo>
                        <a:pt x="318" y="300"/>
                      </a:lnTo>
                      <a:lnTo>
                        <a:pt x="312" y="288"/>
                      </a:lnTo>
                      <a:lnTo>
                        <a:pt x="306" y="282"/>
                      </a:lnTo>
                      <a:lnTo>
                        <a:pt x="288" y="282"/>
                      </a:lnTo>
                      <a:lnTo>
                        <a:pt x="276" y="288"/>
                      </a:lnTo>
                      <a:lnTo>
                        <a:pt x="264" y="300"/>
                      </a:lnTo>
                      <a:lnTo>
                        <a:pt x="234" y="300"/>
                      </a:lnTo>
                      <a:lnTo>
                        <a:pt x="228" y="294"/>
                      </a:lnTo>
                      <a:lnTo>
                        <a:pt x="228" y="288"/>
                      </a:lnTo>
                      <a:lnTo>
                        <a:pt x="222" y="288"/>
                      </a:lnTo>
                      <a:lnTo>
                        <a:pt x="210" y="282"/>
                      </a:lnTo>
                      <a:lnTo>
                        <a:pt x="180" y="282"/>
                      </a:lnTo>
                      <a:lnTo>
                        <a:pt x="180" y="288"/>
                      </a:lnTo>
                      <a:lnTo>
                        <a:pt x="186" y="294"/>
                      </a:lnTo>
                      <a:lnTo>
                        <a:pt x="186" y="312"/>
                      </a:lnTo>
                      <a:lnTo>
                        <a:pt x="174" y="324"/>
                      </a:lnTo>
                      <a:lnTo>
                        <a:pt x="162" y="330"/>
                      </a:lnTo>
                      <a:lnTo>
                        <a:pt x="150" y="330"/>
                      </a:lnTo>
                      <a:lnTo>
                        <a:pt x="138" y="336"/>
                      </a:lnTo>
                      <a:lnTo>
                        <a:pt x="132" y="336"/>
                      </a:lnTo>
                      <a:lnTo>
                        <a:pt x="132" y="360"/>
                      </a:lnTo>
                      <a:lnTo>
                        <a:pt x="102" y="372"/>
                      </a:lnTo>
                      <a:lnTo>
                        <a:pt x="114" y="384"/>
                      </a:lnTo>
                      <a:lnTo>
                        <a:pt x="120" y="396"/>
                      </a:lnTo>
                      <a:lnTo>
                        <a:pt x="114" y="402"/>
                      </a:lnTo>
                      <a:lnTo>
                        <a:pt x="108" y="414"/>
                      </a:lnTo>
                      <a:lnTo>
                        <a:pt x="102" y="420"/>
                      </a:lnTo>
                      <a:lnTo>
                        <a:pt x="90" y="420"/>
                      </a:lnTo>
                      <a:lnTo>
                        <a:pt x="78" y="414"/>
                      </a:lnTo>
                      <a:lnTo>
                        <a:pt x="72" y="402"/>
                      </a:lnTo>
                      <a:lnTo>
                        <a:pt x="60" y="396"/>
                      </a:lnTo>
                      <a:lnTo>
                        <a:pt x="48" y="384"/>
                      </a:lnTo>
                      <a:lnTo>
                        <a:pt x="36" y="378"/>
                      </a:lnTo>
                      <a:lnTo>
                        <a:pt x="24" y="378"/>
                      </a:lnTo>
                      <a:lnTo>
                        <a:pt x="18" y="384"/>
                      </a:lnTo>
                      <a:lnTo>
                        <a:pt x="18" y="396"/>
                      </a:lnTo>
                      <a:lnTo>
                        <a:pt x="24" y="402"/>
                      </a:lnTo>
                      <a:lnTo>
                        <a:pt x="24" y="426"/>
                      </a:lnTo>
                      <a:lnTo>
                        <a:pt x="0" y="426"/>
                      </a:lnTo>
                      <a:lnTo>
                        <a:pt x="6" y="462"/>
                      </a:lnTo>
                      <a:lnTo>
                        <a:pt x="12" y="468"/>
                      </a:lnTo>
                      <a:lnTo>
                        <a:pt x="12" y="492"/>
                      </a:lnTo>
                      <a:lnTo>
                        <a:pt x="0" y="516"/>
                      </a:lnTo>
                      <a:lnTo>
                        <a:pt x="0" y="546"/>
                      </a:lnTo>
                      <a:lnTo>
                        <a:pt x="6" y="546"/>
                      </a:lnTo>
                      <a:lnTo>
                        <a:pt x="12" y="552"/>
                      </a:lnTo>
                      <a:lnTo>
                        <a:pt x="36" y="552"/>
                      </a:lnTo>
                      <a:lnTo>
                        <a:pt x="42" y="558"/>
                      </a:lnTo>
                      <a:lnTo>
                        <a:pt x="42" y="588"/>
                      </a:lnTo>
                      <a:lnTo>
                        <a:pt x="48" y="594"/>
                      </a:lnTo>
                      <a:lnTo>
                        <a:pt x="90" y="594"/>
                      </a:lnTo>
                      <a:lnTo>
                        <a:pt x="102" y="588"/>
                      </a:lnTo>
                      <a:lnTo>
                        <a:pt x="114" y="588"/>
                      </a:lnTo>
                      <a:lnTo>
                        <a:pt x="162" y="636"/>
                      </a:lnTo>
                      <a:lnTo>
                        <a:pt x="168" y="648"/>
                      </a:lnTo>
                      <a:lnTo>
                        <a:pt x="180" y="660"/>
                      </a:lnTo>
                      <a:lnTo>
                        <a:pt x="180" y="672"/>
                      </a:lnTo>
                      <a:lnTo>
                        <a:pt x="144" y="672"/>
                      </a:lnTo>
                      <a:lnTo>
                        <a:pt x="144" y="678"/>
                      </a:lnTo>
                      <a:lnTo>
                        <a:pt x="156" y="690"/>
                      </a:lnTo>
                      <a:lnTo>
                        <a:pt x="174" y="696"/>
                      </a:lnTo>
                      <a:lnTo>
                        <a:pt x="186" y="696"/>
                      </a:lnTo>
                      <a:lnTo>
                        <a:pt x="192" y="702"/>
                      </a:lnTo>
                      <a:lnTo>
                        <a:pt x="198" y="702"/>
                      </a:lnTo>
                      <a:lnTo>
                        <a:pt x="204" y="690"/>
                      </a:lnTo>
                      <a:lnTo>
                        <a:pt x="222" y="690"/>
                      </a:lnTo>
                      <a:lnTo>
                        <a:pt x="228" y="684"/>
                      </a:lnTo>
                      <a:lnTo>
                        <a:pt x="246" y="672"/>
                      </a:lnTo>
                      <a:lnTo>
                        <a:pt x="306" y="648"/>
                      </a:lnTo>
                      <a:lnTo>
                        <a:pt x="324" y="642"/>
                      </a:lnTo>
                      <a:lnTo>
                        <a:pt x="336" y="648"/>
                      </a:lnTo>
                      <a:lnTo>
                        <a:pt x="342" y="654"/>
                      </a:lnTo>
                      <a:lnTo>
                        <a:pt x="360" y="666"/>
                      </a:lnTo>
                      <a:lnTo>
                        <a:pt x="366" y="672"/>
                      </a:lnTo>
                      <a:lnTo>
                        <a:pt x="384" y="672"/>
                      </a:lnTo>
                      <a:lnTo>
                        <a:pt x="390" y="666"/>
                      </a:lnTo>
                      <a:lnTo>
                        <a:pt x="402" y="666"/>
                      </a:lnTo>
                      <a:lnTo>
                        <a:pt x="408" y="660"/>
                      </a:lnTo>
                      <a:lnTo>
                        <a:pt x="414" y="666"/>
                      </a:lnTo>
                      <a:lnTo>
                        <a:pt x="426" y="672"/>
                      </a:lnTo>
                      <a:lnTo>
                        <a:pt x="450" y="696"/>
                      </a:lnTo>
                      <a:lnTo>
                        <a:pt x="450" y="726"/>
                      </a:lnTo>
                      <a:lnTo>
                        <a:pt x="444" y="732"/>
                      </a:lnTo>
                      <a:lnTo>
                        <a:pt x="444" y="738"/>
                      </a:lnTo>
                      <a:lnTo>
                        <a:pt x="438" y="744"/>
                      </a:lnTo>
                      <a:lnTo>
                        <a:pt x="438" y="750"/>
                      </a:lnTo>
                      <a:lnTo>
                        <a:pt x="444" y="756"/>
                      </a:lnTo>
                      <a:lnTo>
                        <a:pt x="450" y="768"/>
                      </a:lnTo>
                      <a:lnTo>
                        <a:pt x="462" y="774"/>
                      </a:lnTo>
                      <a:lnTo>
                        <a:pt x="474" y="786"/>
                      </a:lnTo>
                      <a:lnTo>
                        <a:pt x="486" y="786"/>
                      </a:lnTo>
                      <a:lnTo>
                        <a:pt x="504" y="768"/>
                      </a:lnTo>
                      <a:lnTo>
                        <a:pt x="516" y="762"/>
                      </a:lnTo>
                      <a:lnTo>
                        <a:pt x="528" y="762"/>
                      </a:lnTo>
                      <a:lnTo>
                        <a:pt x="528" y="792"/>
                      </a:lnTo>
                      <a:lnTo>
                        <a:pt x="546" y="810"/>
                      </a:lnTo>
                      <a:lnTo>
                        <a:pt x="510" y="816"/>
                      </a:lnTo>
                      <a:lnTo>
                        <a:pt x="510" y="828"/>
                      </a:lnTo>
                      <a:lnTo>
                        <a:pt x="504" y="834"/>
                      </a:lnTo>
                      <a:lnTo>
                        <a:pt x="498" y="834"/>
                      </a:lnTo>
                      <a:lnTo>
                        <a:pt x="486" y="822"/>
                      </a:lnTo>
                      <a:lnTo>
                        <a:pt x="486" y="816"/>
                      </a:lnTo>
                      <a:lnTo>
                        <a:pt x="498" y="804"/>
                      </a:lnTo>
                      <a:lnTo>
                        <a:pt x="504" y="804"/>
                      </a:lnTo>
                      <a:lnTo>
                        <a:pt x="510" y="798"/>
                      </a:lnTo>
                      <a:lnTo>
                        <a:pt x="480" y="798"/>
                      </a:lnTo>
                      <a:lnTo>
                        <a:pt x="462" y="792"/>
                      </a:lnTo>
                      <a:lnTo>
                        <a:pt x="450" y="792"/>
                      </a:lnTo>
                      <a:lnTo>
                        <a:pt x="432" y="786"/>
                      </a:lnTo>
                      <a:lnTo>
                        <a:pt x="408" y="786"/>
                      </a:lnTo>
                      <a:lnTo>
                        <a:pt x="390" y="780"/>
                      </a:lnTo>
                      <a:lnTo>
                        <a:pt x="372" y="780"/>
                      </a:lnTo>
                      <a:lnTo>
                        <a:pt x="360" y="774"/>
                      </a:lnTo>
                      <a:lnTo>
                        <a:pt x="348" y="774"/>
                      </a:lnTo>
                      <a:lnTo>
                        <a:pt x="360" y="804"/>
                      </a:lnTo>
                      <a:lnTo>
                        <a:pt x="342" y="804"/>
                      </a:lnTo>
                      <a:lnTo>
                        <a:pt x="330" y="816"/>
                      </a:lnTo>
                      <a:lnTo>
                        <a:pt x="330" y="822"/>
                      </a:lnTo>
                      <a:lnTo>
                        <a:pt x="336" y="828"/>
                      </a:lnTo>
                      <a:lnTo>
                        <a:pt x="348" y="834"/>
                      </a:lnTo>
                      <a:lnTo>
                        <a:pt x="354" y="840"/>
                      </a:lnTo>
                      <a:lnTo>
                        <a:pt x="366" y="840"/>
                      </a:lnTo>
                      <a:lnTo>
                        <a:pt x="372" y="846"/>
                      </a:lnTo>
                      <a:lnTo>
                        <a:pt x="372" y="852"/>
                      </a:lnTo>
                      <a:lnTo>
                        <a:pt x="360" y="852"/>
                      </a:lnTo>
                      <a:lnTo>
                        <a:pt x="348" y="846"/>
                      </a:lnTo>
                      <a:lnTo>
                        <a:pt x="336" y="846"/>
                      </a:lnTo>
                      <a:lnTo>
                        <a:pt x="324" y="840"/>
                      </a:lnTo>
                      <a:lnTo>
                        <a:pt x="306" y="834"/>
                      </a:lnTo>
                      <a:lnTo>
                        <a:pt x="300" y="834"/>
                      </a:lnTo>
                      <a:lnTo>
                        <a:pt x="294" y="840"/>
                      </a:lnTo>
                      <a:lnTo>
                        <a:pt x="294" y="846"/>
                      </a:lnTo>
                      <a:lnTo>
                        <a:pt x="306" y="858"/>
                      </a:lnTo>
                      <a:lnTo>
                        <a:pt x="318" y="864"/>
                      </a:lnTo>
                      <a:lnTo>
                        <a:pt x="324" y="870"/>
                      </a:lnTo>
                      <a:lnTo>
                        <a:pt x="336" y="870"/>
                      </a:lnTo>
                      <a:lnTo>
                        <a:pt x="336" y="882"/>
                      </a:lnTo>
                      <a:lnTo>
                        <a:pt x="342" y="894"/>
                      </a:lnTo>
                      <a:lnTo>
                        <a:pt x="366" y="918"/>
                      </a:lnTo>
                      <a:lnTo>
                        <a:pt x="372" y="930"/>
                      </a:lnTo>
                      <a:lnTo>
                        <a:pt x="372" y="954"/>
                      </a:lnTo>
                      <a:lnTo>
                        <a:pt x="408" y="960"/>
                      </a:lnTo>
                      <a:lnTo>
                        <a:pt x="414" y="978"/>
                      </a:lnTo>
                      <a:lnTo>
                        <a:pt x="444" y="978"/>
                      </a:lnTo>
                      <a:lnTo>
                        <a:pt x="480" y="996"/>
                      </a:lnTo>
                      <a:lnTo>
                        <a:pt x="486" y="1002"/>
                      </a:lnTo>
                      <a:lnTo>
                        <a:pt x="486" y="1014"/>
                      </a:lnTo>
                      <a:lnTo>
                        <a:pt x="480" y="1020"/>
                      </a:lnTo>
                      <a:lnTo>
                        <a:pt x="468" y="1026"/>
                      </a:lnTo>
                      <a:lnTo>
                        <a:pt x="462" y="1038"/>
                      </a:lnTo>
                      <a:lnTo>
                        <a:pt x="462" y="1056"/>
                      </a:lnTo>
                      <a:lnTo>
                        <a:pt x="468" y="1062"/>
                      </a:lnTo>
                      <a:lnTo>
                        <a:pt x="492" y="1062"/>
                      </a:lnTo>
                      <a:lnTo>
                        <a:pt x="498" y="1056"/>
                      </a:lnTo>
                      <a:lnTo>
                        <a:pt x="504" y="1038"/>
                      </a:lnTo>
                      <a:lnTo>
                        <a:pt x="510" y="1026"/>
                      </a:lnTo>
                      <a:lnTo>
                        <a:pt x="516" y="1020"/>
                      </a:lnTo>
                      <a:lnTo>
                        <a:pt x="528" y="1020"/>
                      </a:lnTo>
                      <a:lnTo>
                        <a:pt x="546" y="1026"/>
                      </a:lnTo>
                      <a:lnTo>
                        <a:pt x="546" y="1020"/>
                      </a:lnTo>
                      <a:lnTo>
                        <a:pt x="552" y="1014"/>
                      </a:lnTo>
                      <a:lnTo>
                        <a:pt x="570" y="1014"/>
                      </a:lnTo>
                      <a:lnTo>
                        <a:pt x="594" y="1026"/>
                      </a:lnTo>
                      <a:lnTo>
                        <a:pt x="606" y="1026"/>
                      </a:lnTo>
                      <a:lnTo>
                        <a:pt x="618" y="1038"/>
                      </a:lnTo>
                      <a:lnTo>
                        <a:pt x="630" y="1044"/>
                      </a:lnTo>
                      <a:lnTo>
                        <a:pt x="636" y="1056"/>
                      </a:lnTo>
                      <a:lnTo>
                        <a:pt x="642" y="1062"/>
                      </a:lnTo>
                      <a:lnTo>
                        <a:pt x="648" y="1074"/>
                      </a:lnTo>
                      <a:lnTo>
                        <a:pt x="672" y="1098"/>
                      </a:lnTo>
                      <a:lnTo>
                        <a:pt x="684" y="1104"/>
                      </a:lnTo>
                      <a:lnTo>
                        <a:pt x="690" y="1110"/>
                      </a:lnTo>
                      <a:lnTo>
                        <a:pt x="696" y="1104"/>
                      </a:lnTo>
                      <a:lnTo>
                        <a:pt x="696" y="1098"/>
                      </a:lnTo>
                      <a:lnTo>
                        <a:pt x="702" y="1092"/>
                      </a:lnTo>
                      <a:lnTo>
                        <a:pt x="654" y="810"/>
                      </a:lnTo>
                      <a:lnTo>
                        <a:pt x="798" y="768"/>
                      </a:lnTo>
                      <a:lnTo>
                        <a:pt x="804" y="774"/>
                      </a:lnTo>
                      <a:lnTo>
                        <a:pt x="804" y="762"/>
                      </a:lnTo>
                      <a:lnTo>
                        <a:pt x="810" y="756"/>
                      </a:lnTo>
                      <a:lnTo>
                        <a:pt x="810" y="750"/>
                      </a:lnTo>
                      <a:lnTo>
                        <a:pt x="816" y="738"/>
                      </a:lnTo>
                      <a:lnTo>
                        <a:pt x="816" y="732"/>
                      </a:lnTo>
                      <a:lnTo>
                        <a:pt x="822" y="726"/>
                      </a:lnTo>
                      <a:lnTo>
                        <a:pt x="846" y="726"/>
                      </a:lnTo>
                      <a:lnTo>
                        <a:pt x="852" y="750"/>
                      </a:lnTo>
                      <a:lnTo>
                        <a:pt x="864" y="744"/>
                      </a:lnTo>
                      <a:lnTo>
                        <a:pt x="870" y="744"/>
                      </a:lnTo>
                      <a:lnTo>
                        <a:pt x="876" y="738"/>
                      </a:lnTo>
                      <a:lnTo>
                        <a:pt x="876" y="732"/>
                      </a:lnTo>
                      <a:lnTo>
                        <a:pt x="852" y="708"/>
                      </a:lnTo>
                      <a:lnTo>
                        <a:pt x="870" y="708"/>
                      </a:lnTo>
                      <a:lnTo>
                        <a:pt x="882" y="720"/>
                      </a:lnTo>
                      <a:lnTo>
                        <a:pt x="936" y="720"/>
                      </a:lnTo>
                      <a:lnTo>
                        <a:pt x="924" y="708"/>
                      </a:lnTo>
                      <a:lnTo>
                        <a:pt x="918" y="708"/>
                      </a:lnTo>
                      <a:lnTo>
                        <a:pt x="906" y="696"/>
                      </a:lnTo>
                      <a:lnTo>
                        <a:pt x="882" y="696"/>
                      </a:lnTo>
                      <a:lnTo>
                        <a:pt x="876" y="690"/>
                      </a:lnTo>
                      <a:lnTo>
                        <a:pt x="876" y="684"/>
                      </a:lnTo>
                      <a:lnTo>
                        <a:pt x="882" y="678"/>
                      </a:lnTo>
                      <a:lnTo>
                        <a:pt x="906" y="678"/>
                      </a:lnTo>
                      <a:lnTo>
                        <a:pt x="924" y="666"/>
                      </a:lnTo>
                      <a:lnTo>
                        <a:pt x="930" y="672"/>
                      </a:lnTo>
                      <a:lnTo>
                        <a:pt x="936" y="684"/>
                      </a:lnTo>
                      <a:lnTo>
                        <a:pt x="942" y="690"/>
                      </a:lnTo>
                      <a:lnTo>
                        <a:pt x="948" y="690"/>
                      </a:lnTo>
                      <a:lnTo>
                        <a:pt x="954" y="684"/>
                      </a:lnTo>
                      <a:lnTo>
                        <a:pt x="960" y="690"/>
                      </a:lnTo>
                      <a:lnTo>
                        <a:pt x="966" y="702"/>
                      </a:lnTo>
                      <a:lnTo>
                        <a:pt x="966" y="708"/>
                      </a:lnTo>
                      <a:lnTo>
                        <a:pt x="960" y="714"/>
                      </a:lnTo>
                      <a:lnTo>
                        <a:pt x="954" y="714"/>
                      </a:lnTo>
                      <a:lnTo>
                        <a:pt x="942" y="720"/>
                      </a:lnTo>
                      <a:lnTo>
                        <a:pt x="924" y="738"/>
                      </a:lnTo>
                      <a:lnTo>
                        <a:pt x="888" y="738"/>
                      </a:lnTo>
                      <a:lnTo>
                        <a:pt x="882" y="744"/>
                      </a:lnTo>
                      <a:lnTo>
                        <a:pt x="882" y="756"/>
                      </a:lnTo>
                      <a:lnTo>
                        <a:pt x="888" y="762"/>
                      </a:lnTo>
                      <a:lnTo>
                        <a:pt x="900" y="762"/>
                      </a:lnTo>
                      <a:lnTo>
                        <a:pt x="906" y="768"/>
                      </a:lnTo>
                      <a:lnTo>
                        <a:pt x="918" y="768"/>
                      </a:lnTo>
                      <a:lnTo>
                        <a:pt x="918" y="786"/>
                      </a:lnTo>
                      <a:lnTo>
                        <a:pt x="912" y="798"/>
                      </a:lnTo>
                      <a:lnTo>
                        <a:pt x="912" y="816"/>
                      </a:lnTo>
                      <a:lnTo>
                        <a:pt x="918" y="822"/>
                      </a:lnTo>
                      <a:lnTo>
                        <a:pt x="984" y="858"/>
                      </a:lnTo>
                      <a:lnTo>
                        <a:pt x="1062" y="930"/>
                      </a:lnTo>
                      <a:lnTo>
                        <a:pt x="1068" y="930"/>
                      </a:lnTo>
                      <a:lnTo>
                        <a:pt x="1074" y="924"/>
                      </a:lnTo>
                      <a:lnTo>
                        <a:pt x="1110" y="924"/>
                      </a:lnTo>
                      <a:lnTo>
                        <a:pt x="1128" y="918"/>
                      </a:lnTo>
                      <a:lnTo>
                        <a:pt x="1188" y="918"/>
                      </a:lnTo>
                      <a:lnTo>
                        <a:pt x="1206" y="924"/>
                      </a:lnTo>
                      <a:lnTo>
                        <a:pt x="1224" y="924"/>
                      </a:lnTo>
                      <a:lnTo>
                        <a:pt x="1230" y="918"/>
                      </a:lnTo>
                      <a:lnTo>
                        <a:pt x="1254" y="906"/>
                      </a:lnTo>
                      <a:lnTo>
                        <a:pt x="1266" y="906"/>
                      </a:lnTo>
                      <a:lnTo>
                        <a:pt x="1272" y="918"/>
                      </a:lnTo>
                      <a:lnTo>
                        <a:pt x="1290" y="936"/>
                      </a:lnTo>
                      <a:lnTo>
                        <a:pt x="1296" y="954"/>
                      </a:lnTo>
                      <a:lnTo>
                        <a:pt x="1308" y="960"/>
                      </a:lnTo>
                      <a:lnTo>
                        <a:pt x="1314" y="972"/>
                      </a:lnTo>
                      <a:lnTo>
                        <a:pt x="1344" y="972"/>
                      </a:lnTo>
                      <a:lnTo>
                        <a:pt x="1344" y="984"/>
                      </a:lnTo>
                      <a:lnTo>
                        <a:pt x="1350" y="1002"/>
                      </a:lnTo>
                      <a:lnTo>
                        <a:pt x="1350" y="1044"/>
                      </a:lnTo>
                      <a:lnTo>
                        <a:pt x="1356" y="1050"/>
                      </a:lnTo>
                      <a:lnTo>
                        <a:pt x="1362" y="1050"/>
                      </a:lnTo>
                      <a:lnTo>
                        <a:pt x="1368" y="1044"/>
                      </a:lnTo>
                      <a:lnTo>
                        <a:pt x="1380" y="1044"/>
                      </a:lnTo>
                      <a:lnTo>
                        <a:pt x="1386" y="1050"/>
                      </a:lnTo>
                      <a:lnTo>
                        <a:pt x="1416" y="1110"/>
                      </a:lnTo>
                      <a:lnTo>
                        <a:pt x="1494" y="1110"/>
                      </a:lnTo>
                      <a:lnTo>
                        <a:pt x="1512" y="1116"/>
                      </a:lnTo>
                      <a:lnTo>
                        <a:pt x="1512" y="1134"/>
                      </a:lnTo>
                      <a:lnTo>
                        <a:pt x="1506" y="1140"/>
                      </a:lnTo>
                      <a:lnTo>
                        <a:pt x="1506" y="1152"/>
                      </a:lnTo>
                      <a:lnTo>
                        <a:pt x="1512" y="1152"/>
                      </a:lnTo>
                      <a:lnTo>
                        <a:pt x="1524" y="1158"/>
                      </a:lnTo>
                      <a:lnTo>
                        <a:pt x="1536" y="1158"/>
                      </a:lnTo>
                      <a:lnTo>
                        <a:pt x="1542" y="1164"/>
                      </a:lnTo>
                      <a:lnTo>
                        <a:pt x="1542" y="1152"/>
                      </a:lnTo>
                      <a:lnTo>
                        <a:pt x="1536" y="1146"/>
                      </a:lnTo>
                      <a:lnTo>
                        <a:pt x="1536" y="1134"/>
                      </a:lnTo>
                      <a:lnTo>
                        <a:pt x="1548" y="1122"/>
                      </a:lnTo>
                      <a:lnTo>
                        <a:pt x="1560" y="1116"/>
                      </a:lnTo>
                      <a:lnTo>
                        <a:pt x="1566" y="1110"/>
                      </a:lnTo>
                      <a:lnTo>
                        <a:pt x="1572" y="1110"/>
                      </a:lnTo>
                      <a:lnTo>
                        <a:pt x="1572" y="1092"/>
                      </a:lnTo>
                      <a:lnTo>
                        <a:pt x="1584" y="1080"/>
                      </a:lnTo>
                      <a:lnTo>
                        <a:pt x="1596" y="1074"/>
                      </a:lnTo>
                      <a:lnTo>
                        <a:pt x="1608" y="1074"/>
                      </a:lnTo>
                      <a:lnTo>
                        <a:pt x="1614" y="1068"/>
                      </a:lnTo>
                      <a:lnTo>
                        <a:pt x="1620" y="1068"/>
                      </a:lnTo>
                      <a:lnTo>
                        <a:pt x="1632" y="1044"/>
                      </a:lnTo>
                      <a:lnTo>
                        <a:pt x="1656" y="1044"/>
                      </a:lnTo>
                      <a:lnTo>
                        <a:pt x="1686" y="1026"/>
                      </a:lnTo>
                      <a:lnTo>
                        <a:pt x="1662" y="1026"/>
                      </a:lnTo>
                      <a:lnTo>
                        <a:pt x="1662" y="1008"/>
                      </a:lnTo>
                      <a:lnTo>
                        <a:pt x="1668" y="996"/>
                      </a:lnTo>
                      <a:lnTo>
                        <a:pt x="1686" y="978"/>
                      </a:lnTo>
                      <a:lnTo>
                        <a:pt x="1716" y="978"/>
                      </a:lnTo>
                      <a:lnTo>
                        <a:pt x="1728" y="984"/>
                      </a:lnTo>
                      <a:lnTo>
                        <a:pt x="1746" y="990"/>
                      </a:lnTo>
                      <a:lnTo>
                        <a:pt x="1782" y="1008"/>
                      </a:lnTo>
                      <a:lnTo>
                        <a:pt x="1812" y="1008"/>
                      </a:lnTo>
                      <a:lnTo>
                        <a:pt x="1830" y="1014"/>
                      </a:lnTo>
                      <a:lnTo>
                        <a:pt x="1830" y="1002"/>
                      </a:lnTo>
                      <a:lnTo>
                        <a:pt x="1824" y="990"/>
                      </a:lnTo>
                      <a:lnTo>
                        <a:pt x="1824" y="960"/>
                      </a:lnTo>
                      <a:lnTo>
                        <a:pt x="1830" y="954"/>
                      </a:lnTo>
                      <a:lnTo>
                        <a:pt x="1872" y="954"/>
                      </a:lnTo>
                      <a:lnTo>
                        <a:pt x="1884" y="960"/>
                      </a:lnTo>
                      <a:lnTo>
                        <a:pt x="1890" y="972"/>
                      </a:lnTo>
                      <a:lnTo>
                        <a:pt x="1914" y="972"/>
                      </a:lnTo>
                      <a:lnTo>
                        <a:pt x="1926" y="978"/>
                      </a:lnTo>
                      <a:lnTo>
                        <a:pt x="1944" y="978"/>
                      </a:lnTo>
                      <a:lnTo>
                        <a:pt x="1962" y="972"/>
                      </a:lnTo>
                      <a:lnTo>
                        <a:pt x="2082" y="972"/>
                      </a:lnTo>
                      <a:lnTo>
                        <a:pt x="2094" y="978"/>
                      </a:lnTo>
                      <a:lnTo>
                        <a:pt x="2106" y="978"/>
                      </a:lnTo>
                      <a:lnTo>
                        <a:pt x="2154" y="972"/>
                      </a:lnTo>
                      <a:lnTo>
                        <a:pt x="2166" y="984"/>
                      </a:lnTo>
                      <a:lnTo>
                        <a:pt x="2184" y="984"/>
                      </a:lnTo>
                      <a:lnTo>
                        <a:pt x="2208" y="1014"/>
                      </a:lnTo>
                      <a:lnTo>
                        <a:pt x="2250" y="1014"/>
                      </a:lnTo>
                      <a:lnTo>
                        <a:pt x="2268" y="1020"/>
                      </a:lnTo>
                      <a:lnTo>
                        <a:pt x="2262" y="1014"/>
                      </a:lnTo>
                      <a:lnTo>
                        <a:pt x="2262" y="1002"/>
                      </a:lnTo>
                      <a:lnTo>
                        <a:pt x="2256" y="996"/>
                      </a:lnTo>
                      <a:lnTo>
                        <a:pt x="2256" y="984"/>
                      </a:lnTo>
                      <a:lnTo>
                        <a:pt x="2280" y="984"/>
                      </a:lnTo>
                      <a:lnTo>
                        <a:pt x="2262" y="966"/>
                      </a:lnTo>
                      <a:lnTo>
                        <a:pt x="2262" y="960"/>
                      </a:lnTo>
                      <a:lnTo>
                        <a:pt x="2268" y="954"/>
                      </a:lnTo>
                      <a:lnTo>
                        <a:pt x="2286" y="954"/>
                      </a:lnTo>
                      <a:lnTo>
                        <a:pt x="2286" y="942"/>
                      </a:lnTo>
                      <a:lnTo>
                        <a:pt x="2274" y="936"/>
                      </a:lnTo>
                      <a:lnTo>
                        <a:pt x="2268" y="924"/>
                      </a:lnTo>
                      <a:lnTo>
                        <a:pt x="2226" y="882"/>
                      </a:lnTo>
                      <a:lnTo>
                        <a:pt x="2214" y="858"/>
                      </a:lnTo>
                      <a:lnTo>
                        <a:pt x="2214" y="828"/>
                      </a:lnTo>
                      <a:lnTo>
                        <a:pt x="2196" y="828"/>
                      </a:lnTo>
                      <a:lnTo>
                        <a:pt x="2184" y="822"/>
                      </a:lnTo>
                      <a:lnTo>
                        <a:pt x="2178" y="816"/>
                      </a:lnTo>
                      <a:lnTo>
                        <a:pt x="2178" y="810"/>
                      </a:lnTo>
                      <a:lnTo>
                        <a:pt x="2184" y="804"/>
                      </a:lnTo>
                      <a:lnTo>
                        <a:pt x="2196" y="798"/>
                      </a:lnTo>
                      <a:lnTo>
                        <a:pt x="2208" y="798"/>
                      </a:lnTo>
                      <a:lnTo>
                        <a:pt x="2220" y="792"/>
                      </a:lnTo>
                      <a:lnTo>
                        <a:pt x="2232" y="792"/>
                      </a:lnTo>
                      <a:lnTo>
                        <a:pt x="2268" y="774"/>
                      </a:lnTo>
                      <a:lnTo>
                        <a:pt x="2280" y="774"/>
                      </a:lnTo>
                      <a:lnTo>
                        <a:pt x="2286" y="780"/>
                      </a:lnTo>
                      <a:lnTo>
                        <a:pt x="2292" y="792"/>
                      </a:lnTo>
                      <a:lnTo>
                        <a:pt x="2298" y="798"/>
                      </a:lnTo>
                      <a:lnTo>
                        <a:pt x="2316" y="786"/>
                      </a:lnTo>
                      <a:lnTo>
                        <a:pt x="2328" y="798"/>
                      </a:lnTo>
                      <a:lnTo>
                        <a:pt x="2334" y="798"/>
                      </a:lnTo>
                      <a:lnTo>
                        <a:pt x="2340" y="792"/>
                      </a:lnTo>
                      <a:lnTo>
                        <a:pt x="2340" y="780"/>
                      </a:lnTo>
                      <a:lnTo>
                        <a:pt x="2334" y="774"/>
                      </a:lnTo>
                      <a:lnTo>
                        <a:pt x="2328" y="774"/>
                      </a:lnTo>
                      <a:lnTo>
                        <a:pt x="2322" y="768"/>
                      </a:lnTo>
                      <a:lnTo>
                        <a:pt x="2316" y="768"/>
                      </a:lnTo>
                      <a:lnTo>
                        <a:pt x="2316" y="630"/>
                      </a:lnTo>
                      <a:lnTo>
                        <a:pt x="2328" y="630"/>
                      </a:lnTo>
                      <a:lnTo>
                        <a:pt x="2340" y="636"/>
                      </a:lnTo>
                      <a:lnTo>
                        <a:pt x="2352" y="636"/>
                      </a:lnTo>
                      <a:lnTo>
                        <a:pt x="2376" y="648"/>
                      </a:lnTo>
                      <a:lnTo>
                        <a:pt x="2424" y="648"/>
                      </a:lnTo>
                      <a:lnTo>
                        <a:pt x="2436" y="660"/>
                      </a:lnTo>
                      <a:lnTo>
                        <a:pt x="2454" y="642"/>
                      </a:lnTo>
                      <a:lnTo>
                        <a:pt x="2472" y="642"/>
                      </a:lnTo>
                      <a:lnTo>
                        <a:pt x="2478" y="636"/>
                      </a:lnTo>
                      <a:lnTo>
                        <a:pt x="2478" y="618"/>
                      </a:lnTo>
                      <a:lnTo>
                        <a:pt x="2466" y="594"/>
                      </a:lnTo>
                      <a:lnTo>
                        <a:pt x="2454" y="582"/>
                      </a:lnTo>
                      <a:lnTo>
                        <a:pt x="2442" y="558"/>
                      </a:lnTo>
                      <a:lnTo>
                        <a:pt x="2442" y="540"/>
                      </a:lnTo>
                      <a:lnTo>
                        <a:pt x="2454" y="528"/>
                      </a:lnTo>
                      <a:lnTo>
                        <a:pt x="2496" y="528"/>
                      </a:lnTo>
                      <a:lnTo>
                        <a:pt x="2502" y="522"/>
                      </a:lnTo>
                      <a:lnTo>
                        <a:pt x="2502" y="510"/>
                      </a:lnTo>
                      <a:lnTo>
                        <a:pt x="2484" y="492"/>
                      </a:lnTo>
                      <a:close/>
                      <a:moveTo>
                        <a:pt x="2082" y="696"/>
                      </a:moveTo>
                      <a:lnTo>
                        <a:pt x="2046" y="696"/>
                      </a:lnTo>
                      <a:lnTo>
                        <a:pt x="2046" y="702"/>
                      </a:lnTo>
                      <a:lnTo>
                        <a:pt x="2040" y="708"/>
                      </a:lnTo>
                      <a:lnTo>
                        <a:pt x="2028" y="708"/>
                      </a:lnTo>
                      <a:lnTo>
                        <a:pt x="2022" y="702"/>
                      </a:lnTo>
                      <a:lnTo>
                        <a:pt x="2010" y="696"/>
                      </a:lnTo>
                      <a:lnTo>
                        <a:pt x="1980" y="702"/>
                      </a:lnTo>
                      <a:lnTo>
                        <a:pt x="1950" y="696"/>
                      </a:lnTo>
                      <a:lnTo>
                        <a:pt x="1932" y="696"/>
                      </a:lnTo>
                      <a:lnTo>
                        <a:pt x="1908" y="690"/>
                      </a:lnTo>
                      <a:lnTo>
                        <a:pt x="1860" y="690"/>
                      </a:lnTo>
                      <a:lnTo>
                        <a:pt x="1854" y="684"/>
                      </a:lnTo>
                      <a:lnTo>
                        <a:pt x="1854" y="678"/>
                      </a:lnTo>
                      <a:lnTo>
                        <a:pt x="1836" y="696"/>
                      </a:lnTo>
                      <a:lnTo>
                        <a:pt x="1830" y="696"/>
                      </a:lnTo>
                      <a:lnTo>
                        <a:pt x="1824" y="708"/>
                      </a:lnTo>
                      <a:lnTo>
                        <a:pt x="1824" y="714"/>
                      </a:lnTo>
                      <a:lnTo>
                        <a:pt x="1818" y="726"/>
                      </a:lnTo>
                      <a:lnTo>
                        <a:pt x="1812" y="732"/>
                      </a:lnTo>
                      <a:lnTo>
                        <a:pt x="1794" y="732"/>
                      </a:lnTo>
                      <a:lnTo>
                        <a:pt x="1800" y="762"/>
                      </a:lnTo>
                      <a:lnTo>
                        <a:pt x="1788" y="768"/>
                      </a:lnTo>
                      <a:lnTo>
                        <a:pt x="1806" y="786"/>
                      </a:lnTo>
                      <a:lnTo>
                        <a:pt x="1800" y="810"/>
                      </a:lnTo>
                      <a:lnTo>
                        <a:pt x="1794" y="810"/>
                      </a:lnTo>
                      <a:lnTo>
                        <a:pt x="1788" y="798"/>
                      </a:lnTo>
                      <a:lnTo>
                        <a:pt x="1776" y="792"/>
                      </a:lnTo>
                      <a:lnTo>
                        <a:pt x="1770" y="780"/>
                      </a:lnTo>
                      <a:lnTo>
                        <a:pt x="1758" y="774"/>
                      </a:lnTo>
                      <a:lnTo>
                        <a:pt x="1752" y="762"/>
                      </a:lnTo>
                      <a:lnTo>
                        <a:pt x="1752" y="750"/>
                      </a:lnTo>
                      <a:lnTo>
                        <a:pt x="1746" y="732"/>
                      </a:lnTo>
                      <a:lnTo>
                        <a:pt x="1746" y="720"/>
                      </a:lnTo>
                      <a:lnTo>
                        <a:pt x="1764" y="702"/>
                      </a:lnTo>
                      <a:lnTo>
                        <a:pt x="1776" y="702"/>
                      </a:lnTo>
                      <a:lnTo>
                        <a:pt x="1782" y="696"/>
                      </a:lnTo>
                      <a:lnTo>
                        <a:pt x="1788" y="684"/>
                      </a:lnTo>
                      <a:lnTo>
                        <a:pt x="1788" y="678"/>
                      </a:lnTo>
                      <a:lnTo>
                        <a:pt x="1800" y="666"/>
                      </a:lnTo>
                      <a:lnTo>
                        <a:pt x="1818" y="666"/>
                      </a:lnTo>
                      <a:lnTo>
                        <a:pt x="1830" y="672"/>
                      </a:lnTo>
                      <a:lnTo>
                        <a:pt x="1848" y="672"/>
                      </a:lnTo>
                      <a:lnTo>
                        <a:pt x="1854" y="666"/>
                      </a:lnTo>
                      <a:lnTo>
                        <a:pt x="1896" y="666"/>
                      </a:lnTo>
                      <a:lnTo>
                        <a:pt x="1908" y="672"/>
                      </a:lnTo>
                      <a:lnTo>
                        <a:pt x="1914" y="678"/>
                      </a:lnTo>
                      <a:lnTo>
                        <a:pt x="1932" y="678"/>
                      </a:lnTo>
                      <a:lnTo>
                        <a:pt x="1944" y="684"/>
                      </a:lnTo>
                      <a:lnTo>
                        <a:pt x="1974" y="684"/>
                      </a:lnTo>
                      <a:lnTo>
                        <a:pt x="1986" y="672"/>
                      </a:lnTo>
                      <a:lnTo>
                        <a:pt x="2028" y="672"/>
                      </a:lnTo>
                      <a:lnTo>
                        <a:pt x="2034" y="678"/>
                      </a:lnTo>
                      <a:lnTo>
                        <a:pt x="2046" y="678"/>
                      </a:lnTo>
                      <a:lnTo>
                        <a:pt x="2052" y="672"/>
                      </a:lnTo>
                      <a:lnTo>
                        <a:pt x="2064" y="666"/>
                      </a:lnTo>
                      <a:lnTo>
                        <a:pt x="2088" y="666"/>
                      </a:lnTo>
                      <a:lnTo>
                        <a:pt x="2088" y="684"/>
                      </a:lnTo>
                      <a:lnTo>
                        <a:pt x="2082" y="690"/>
                      </a:lnTo>
                      <a:lnTo>
                        <a:pt x="2082" y="69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86" name="South Africa">
                  <a:extLst>
                    <a:ext uri="{FF2B5EF4-FFF2-40B4-BE49-F238E27FC236}">
                      <a16:creationId xmlns:a16="http://schemas.microsoft.com/office/drawing/2014/main" id="{40B93A0F-B49B-4493-BADC-2812E958238A}"/>
                    </a:ext>
                  </a:extLst>
                </p:cNvPr>
                <p:cNvSpPr>
                  <a:spLocks noEditPoints="1"/>
                </p:cNvSpPr>
                <p:nvPr/>
              </p:nvSpPr>
              <p:spPr bwMode="gray">
                <a:xfrm>
                  <a:off x="4675022" y="4056279"/>
                  <a:ext cx="426921" cy="385242"/>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nvGrpSpPr>
                <p:cNvPr id="387" name="Gruppieren 306">
                  <a:extLst>
                    <a:ext uri="{FF2B5EF4-FFF2-40B4-BE49-F238E27FC236}">
                      <a16:creationId xmlns:a16="http://schemas.microsoft.com/office/drawing/2014/main" id="{DB52C5EA-8BA4-41CE-AB99-43A853CB410C}"/>
                    </a:ext>
                  </a:extLst>
                </p:cNvPr>
                <p:cNvGrpSpPr/>
                <p:nvPr/>
              </p:nvGrpSpPr>
              <p:grpSpPr>
                <a:xfrm>
                  <a:off x="5148056" y="2371033"/>
                  <a:ext cx="575674" cy="514648"/>
                  <a:chOff x="6753095" y="3090254"/>
                  <a:chExt cx="659267" cy="589396"/>
                </a:xfrm>
                <a:solidFill>
                  <a:schemeClr val="bg1">
                    <a:lumMod val="85000"/>
                  </a:schemeClr>
                </a:solidFill>
              </p:grpSpPr>
              <p:sp>
                <p:nvSpPr>
                  <p:cNvPr id="473" name="West Bank">
                    <a:extLst>
                      <a:ext uri="{FF2B5EF4-FFF2-40B4-BE49-F238E27FC236}">
                        <a16:creationId xmlns:a16="http://schemas.microsoft.com/office/drawing/2014/main" id="{5B334E71-8A75-494F-BEC2-D7BEA2BF8F43}"/>
                      </a:ext>
                    </a:extLst>
                  </p:cNvPr>
                  <p:cNvSpPr>
                    <a:spLocks/>
                  </p:cNvSpPr>
                  <p:nvPr/>
                </p:nvSpPr>
                <p:spPr bwMode="gray">
                  <a:xfrm>
                    <a:off x="6753095" y="3119214"/>
                    <a:ext cx="18739" cy="40883"/>
                  </a:xfrm>
                  <a:custGeom>
                    <a:avLst/>
                    <a:gdLst>
                      <a:gd name="T0" fmla="*/ 2147483647 w 42"/>
                      <a:gd name="T1" fmla="*/ 2147483647 h 96"/>
                      <a:gd name="T2" fmla="*/ 2147483647 w 42"/>
                      <a:gd name="T3" fmla="*/ 2147483647 h 96"/>
                      <a:gd name="T4" fmla="*/ 2147483647 w 42"/>
                      <a:gd name="T5" fmla="*/ 2147483647 h 96"/>
                      <a:gd name="T6" fmla="*/ 2147483647 w 42"/>
                      <a:gd name="T7" fmla="*/ 0 h 96"/>
                      <a:gd name="T8" fmla="*/ 2147483647 w 42"/>
                      <a:gd name="T9" fmla="*/ 0 h 96"/>
                      <a:gd name="T10" fmla="*/ 0 w 42"/>
                      <a:gd name="T11" fmla="*/ 2147483647 h 96"/>
                      <a:gd name="T12" fmla="*/ 0 w 42"/>
                      <a:gd name="T13" fmla="*/ 2147483647 h 96"/>
                      <a:gd name="T14" fmla="*/ 2147483647 w 42"/>
                      <a:gd name="T15" fmla="*/ 2147483647 h 96"/>
                      <a:gd name="T16" fmla="*/ 2147483647 w 42"/>
                      <a:gd name="T17" fmla="*/ 2147483647 h 96"/>
                      <a:gd name="T18" fmla="*/ 2147483647 w 42"/>
                      <a:gd name="T19" fmla="*/ 2147483647 h 96"/>
                      <a:gd name="T20" fmla="*/ 2147483647 w 42"/>
                      <a:gd name="T21" fmla="*/ 2147483647 h 96"/>
                      <a:gd name="T22" fmla="*/ 2147483647 w 4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96"/>
                      <a:gd name="T38" fmla="*/ 42 w 4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96">
                        <a:moveTo>
                          <a:pt x="24" y="78"/>
                        </a:moveTo>
                        <a:lnTo>
                          <a:pt x="30" y="84"/>
                        </a:lnTo>
                        <a:lnTo>
                          <a:pt x="42" y="72"/>
                        </a:lnTo>
                        <a:lnTo>
                          <a:pt x="36" y="0"/>
                        </a:lnTo>
                        <a:lnTo>
                          <a:pt x="18" y="0"/>
                        </a:lnTo>
                        <a:lnTo>
                          <a:pt x="0" y="18"/>
                        </a:lnTo>
                        <a:lnTo>
                          <a:pt x="0" y="90"/>
                        </a:lnTo>
                        <a:lnTo>
                          <a:pt x="6" y="96"/>
                        </a:lnTo>
                        <a:lnTo>
                          <a:pt x="12" y="90"/>
                        </a:lnTo>
                        <a:lnTo>
                          <a:pt x="18" y="90"/>
                        </a:lnTo>
                        <a:lnTo>
                          <a:pt x="18" y="84"/>
                        </a:lnTo>
                        <a:lnTo>
                          <a:pt x="24" y="7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4" name="United Arab Emirates">
                    <a:extLst>
                      <a:ext uri="{FF2B5EF4-FFF2-40B4-BE49-F238E27FC236}">
                        <a16:creationId xmlns:a16="http://schemas.microsoft.com/office/drawing/2014/main" id="{C9086402-09D5-46A2-8221-CC40942EB45C}"/>
                      </a:ext>
                    </a:extLst>
                  </p:cNvPr>
                  <p:cNvSpPr>
                    <a:spLocks/>
                  </p:cNvSpPr>
                  <p:nvPr/>
                </p:nvSpPr>
                <p:spPr bwMode="gray">
                  <a:xfrm>
                    <a:off x="7265858" y="3325331"/>
                    <a:ext cx="146504" cy="137980"/>
                  </a:xfrm>
                  <a:custGeom>
                    <a:avLst/>
                    <a:gdLst>
                      <a:gd name="T0" fmla="*/ 2147483647 w 336"/>
                      <a:gd name="T1" fmla="*/ 2147483647 h 318"/>
                      <a:gd name="T2" fmla="*/ 2147483647 w 336"/>
                      <a:gd name="T3" fmla="*/ 2147483647 h 318"/>
                      <a:gd name="T4" fmla="*/ 2147483647 w 336"/>
                      <a:gd name="T5" fmla="*/ 2147483647 h 318"/>
                      <a:gd name="T6" fmla="*/ 2147483647 w 336"/>
                      <a:gd name="T7" fmla="*/ 2147483647 h 318"/>
                      <a:gd name="T8" fmla="*/ 2147483647 w 336"/>
                      <a:gd name="T9" fmla="*/ 2147483647 h 318"/>
                      <a:gd name="T10" fmla="*/ 2147483647 w 336"/>
                      <a:gd name="T11" fmla="*/ 0 h 318"/>
                      <a:gd name="T12" fmla="*/ 2147483647 w 336"/>
                      <a:gd name="T13" fmla="*/ 2147483647 h 318"/>
                      <a:gd name="T14" fmla="*/ 2147483647 w 336"/>
                      <a:gd name="T15" fmla="*/ 2147483647 h 318"/>
                      <a:gd name="T16" fmla="*/ 2147483647 w 336"/>
                      <a:gd name="T17" fmla="*/ 2147483647 h 318"/>
                      <a:gd name="T18" fmla="*/ 2147483647 w 336"/>
                      <a:gd name="T19" fmla="*/ 2147483647 h 318"/>
                      <a:gd name="T20" fmla="*/ 2147483647 w 336"/>
                      <a:gd name="T21" fmla="*/ 2147483647 h 318"/>
                      <a:gd name="T22" fmla="*/ 2147483647 w 336"/>
                      <a:gd name="T23" fmla="*/ 2147483647 h 318"/>
                      <a:gd name="T24" fmla="*/ 2147483647 w 336"/>
                      <a:gd name="T25" fmla="*/ 2147483647 h 318"/>
                      <a:gd name="T26" fmla="*/ 2147483647 w 336"/>
                      <a:gd name="T27" fmla="*/ 2147483647 h 318"/>
                      <a:gd name="T28" fmla="*/ 2147483647 w 336"/>
                      <a:gd name="T29" fmla="*/ 2147483647 h 318"/>
                      <a:gd name="T30" fmla="*/ 2147483647 w 336"/>
                      <a:gd name="T31" fmla="*/ 2147483647 h 318"/>
                      <a:gd name="T32" fmla="*/ 2147483647 w 336"/>
                      <a:gd name="T33" fmla="*/ 2147483647 h 318"/>
                      <a:gd name="T34" fmla="*/ 2147483647 w 336"/>
                      <a:gd name="T35" fmla="*/ 2147483647 h 318"/>
                      <a:gd name="T36" fmla="*/ 0 w 336"/>
                      <a:gd name="T37" fmla="*/ 2147483647 h 318"/>
                      <a:gd name="T38" fmla="*/ 2147483647 w 336"/>
                      <a:gd name="T39" fmla="*/ 2147483647 h 318"/>
                      <a:gd name="T40" fmla="*/ 2147483647 w 336"/>
                      <a:gd name="T41" fmla="*/ 2147483647 h 318"/>
                      <a:gd name="T42" fmla="*/ 2147483647 w 336"/>
                      <a:gd name="T43" fmla="*/ 2147483647 h 318"/>
                      <a:gd name="T44" fmla="*/ 2147483647 w 336"/>
                      <a:gd name="T45" fmla="*/ 2147483647 h 318"/>
                      <a:gd name="T46" fmla="*/ 2147483647 w 336"/>
                      <a:gd name="T47" fmla="*/ 2147483647 h 318"/>
                      <a:gd name="T48" fmla="*/ 2147483647 w 336"/>
                      <a:gd name="T49" fmla="*/ 2147483647 h 318"/>
                      <a:gd name="T50" fmla="*/ 2147483647 w 336"/>
                      <a:gd name="T51" fmla="*/ 2147483647 h 318"/>
                      <a:gd name="T52" fmla="*/ 2147483647 w 336"/>
                      <a:gd name="T53" fmla="*/ 2147483647 h 318"/>
                      <a:gd name="T54" fmla="*/ 2147483647 w 336"/>
                      <a:gd name="T55" fmla="*/ 2147483647 h 318"/>
                      <a:gd name="T56" fmla="*/ 2147483647 w 336"/>
                      <a:gd name="T57" fmla="*/ 2147483647 h 318"/>
                      <a:gd name="T58" fmla="*/ 2147483647 w 336"/>
                      <a:gd name="T59" fmla="*/ 2147483647 h 318"/>
                      <a:gd name="T60" fmla="*/ 2147483647 w 336"/>
                      <a:gd name="T61" fmla="*/ 2147483647 h 318"/>
                      <a:gd name="T62" fmla="*/ 2147483647 w 336"/>
                      <a:gd name="T63" fmla="*/ 2147483647 h 318"/>
                      <a:gd name="T64" fmla="*/ 2147483647 w 336"/>
                      <a:gd name="T65" fmla="*/ 2147483647 h 318"/>
                      <a:gd name="T66" fmla="*/ 2147483647 w 336"/>
                      <a:gd name="T67" fmla="*/ 2147483647 h 318"/>
                      <a:gd name="T68" fmla="*/ 2147483647 w 336"/>
                      <a:gd name="T69" fmla="*/ 2147483647 h 3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6"/>
                      <a:gd name="T106" fmla="*/ 0 h 318"/>
                      <a:gd name="T107" fmla="*/ 336 w 336"/>
                      <a:gd name="T108" fmla="*/ 318 h 3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6" h="318">
                        <a:moveTo>
                          <a:pt x="300" y="120"/>
                        </a:moveTo>
                        <a:lnTo>
                          <a:pt x="306" y="120"/>
                        </a:lnTo>
                        <a:lnTo>
                          <a:pt x="306" y="126"/>
                        </a:lnTo>
                        <a:lnTo>
                          <a:pt x="312" y="138"/>
                        </a:lnTo>
                        <a:lnTo>
                          <a:pt x="336" y="132"/>
                        </a:lnTo>
                        <a:lnTo>
                          <a:pt x="330" y="120"/>
                        </a:lnTo>
                        <a:lnTo>
                          <a:pt x="324" y="102"/>
                        </a:lnTo>
                        <a:lnTo>
                          <a:pt x="324" y="60"/>
                        </a:lnTo>
                        <a:lnTo>
                          <a:pt x="330" y="42"/>
                        </a:lnTo>
                        <a:lnTo>
                          <a:pt x="330" y="6"/>
                        </a:lnTo>
                        <a:lnTo>
                          <a:pt x="324" y="0"/>
                        </a:lnTo>
                        <a:lnTo>
                          <a:pt x="318" y="0"/>
                        </a:lnTo>
                        <a:lnTo>
                          <a:pt x="312" y="6"/>
                        </a:lnTo>
                        <a:lnTo>
                          <a:pt x="306" y="18"/>
                        </a:lnTo>
                        <a:lnTo>
                          <a:pt x="300" y="36"/>
                        </a:lnTo>
                        <a:lnTo>
                          <a:pt x="288" y="60"/>
                        </a:lnTo>
                        <a:lnTo>
                          <a:pt x="282" y="66"/>
                        </a:lnTo>
                        <a:lnTo>
                          <a:pt x="282" y="72"/>
                        </a:lnTo>
                        <a:lnTo>
                          <a:pt x="276" y="72"/>
                        </a:lnTo>
                        <a:lnTo>
                          <a:pt x="264" y="78"/>
                        </a:lnTo>
                        <a:lnTo>
                          <a:pt x="234" y="108"/>
                        </a:lnTo>
                        <a:lnTo>
                          <a:pt x="228" y="120"/>
                        </a:lnTo>
                        <a:lnTo>
                          <a:pt x="216" y="132"/>
                        </a:lnTo>
                        <a:lnTo>
                          <a:pt x="204" y="138"/>
                        </a:lnTo>
                        <a:lnTo>
                          <a:pt x="198" y="150"/>
                        </a:lnTo>
                        <a:lnTo>
                          <a:pt x="198" y="168"/>
                        </a:lnTo>
                        <a:lnTo>
                          <a:pt x="192" y="180"/>
                        </a:lnTo>
                        <a:lnTo>
                          <a:pt x="192" y="186"/>
                        </a:lnTo>
                        <a:lnTo>
                          <a:pt x="186" y="192"/>
                        </a:lnTo>
                        <a:lnTo>
                          <a:pt x="150" y="192"/>
                        </a:lnTo>
                        <a:lnTo>
                          <a:pt x="132" y="186"/>
                        </a:lnTo>
                        <a:lnTo>
                          <a:pt x="90" y="186"/>
                        </a:lnTo>
                        <a:lnTo>
                          <a:pt x="72" y="192"/>
                        </a:lnTo>
                        <a:lnTo>
                          <a:pt x="48" y="204"/>
                        </a:lnTo>
                        <a:lnTo>
                          <a:pt x="24" y="204"/>
                        </a:lnTo>
                        <a:lnTo>
                          <a:pt x="12" y="192"/>
                        </a:lnTo>
                        <a:lnTo>
                          <a:pt x="0" y="186"/>
                        </a:lnTo>
                        <a:lnTo>
                          <a:pt x="0" y="198"/>
                        </a:lnTo>
                        <a:lnTo>
                          <a:pt x="18" y="216"/>
                        </a:lnTo>
                        <a:lnTo>
                          <a:pt x="30" y="240"/>
                        </a:lnTo>
                        <a:lnTo>
                          <a:pt x="54" y="264"/>
                        </a:lnTo>
                        <a:lnTo>
                          <a:pt x="60" y="276"/>
                        </a:lnTo>
                        <a:lnTo>
                          <a:pt x="72" y="282"/>
                        </a:lnTo>
                        <a:lnTo>
                          <a:pt x="78" y="294"/>
                        </a:lnTo>
                        <a:lnTo>
                          <a:pt x="96" y="294"/>
                        </a:lnTo>
                        <a:lnTo>
                          <a:pt x="132" y="300"/>
                        </a:lnTo>
                        <a:lnTo>
                          <a:pt x="228" y="312"/>
                        </a:lnTo>
                        <a:lnTo>
                          <a:pt x="270" y="318"/>
                        </a:lnTo>
                        <a:lnTo>
                          <a:pt x="264" y="306"/>
                        </a:lnTo>
                        <a:lnTo>
                          <a:pt x="258" y="300"/>
                        </a:lnTo>
                        <a:lnTo>
                          <a:pt x="252" y="288"/>
                        </a:lnTo>
                        <a:lnTo>
                          <a:pt x="252" y="276"/>
                        </a:lnTo>
                        <a:lnTo>
                          <a:pt x="258" y="270"/>
                        </a:lnTo>
                        <a:lnTo>
                          <a:pt x="264" y="258"/>
                        </a:lnTo>
                        <a:lnTo>
                          <a:pt x="270" y="252"/>
                        </a:lnTo>
                        <a:lnTo>
                          <a:pt x="276" y="240"/>
                        </a:lnTo>
                        <a:lnTo>
                          <a:pt x="276" y="228"/>
                        </a:lnTo>
                        <a:lnTo>
                          <a:pt x="282" y="216"/>
                        </a:lnTo>
                        <a:lnTo>
                          <a:pt x="282" y="204"/>
                        </a:lnTo>
                        <a:lnTo>
                          <a:pt x="288" y="198"/>
                        </a:lnTo>
                        <a:lnTo>
                          <a:pt x="288" y="192"/>
                        </a:lnTo>
                        <a:lnTo>
                          <a:pt x="300" y="192"/>
                        </a:lnTo>
                        <a:lnTo>
                          <a:pt x="300" y="198"/>
                        </a:lnTo>
                        <a:lnTo>
                          <a:pt x="306" y="198"/>
                        </a:lnTo>
                        <a:lnTo>
                          <a:pt x="306" y="192"/>
                        </a:lnTo>
                        <a:lnTo>
                          <a:pt x="288" y="174"/>
                        </a:lnTo>
                        <a:lnTo>
                          <a:pt x="288" y="144"/>
                        </a:lnTo>
                        <a:lnTo>
                          <a:pt x="294" y="132"/>
                        </a:lnTo>
                        <a:lnTo>
                          <a:pt x="294" y="126"/>
                        </a:lnTo>
                        <a:lnTo>
                          <a:pt x="300" y="12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5" name="Saudi Arabia">
                    <a:extLst>
                      <a:ext uri="{FF2B5EF4-FFF2-40B4-BE49-F238E27FC236}">
                        <a16:creationId xmlns:a16="http://schemas.microsoft.com/office/drawing/2014/main" id="{21B6F2FC-B42C-460F-A022-AA7F0D984582}"/>
                      </a:ext>
                    </a:extLst>
                  </p:cNvPr>
                  <p:cNvSpPr>
                    <a:spLocks/>
                  </p:cNvSpPr>
                  <p:nvPr/>
                </p:nvSpPr>
                <p:spPr bwMode="gray">
                  <a:xfrm>
                    <a:off x="6753095" y="3129434"/>
                    <a:ext cx="642232" cy="550216"/>
                  </a:xfrm>
                  <a:custGeom>
                    <a:avLst/>
                    <a:gdLst>
                      <a:gd name="T0" fmla="*/ 2147483647 w 1488"/>
                      <a:gd name="T1" fmla="*/ 2147483647 h 1278"/>
                      <a:gd name="T2" fmla="*/ 2147483647 w 1488"/>
                      <a:gd name="T3" fmla="*/ 2147483647 h 1278"/>
                      <a:gd name="T4" fmla="*/ 2147483647 w 1488"/>
                      <a:gd name="T5" fmla="*/ 2147483647 h 1278"/>
                      <a:gd name="T6" fmla="*/ 2147483647 w 1488"/>
                      <a:gd name="T7" fmla="*/ 2147483647 h 1278"/>
                      <a:gd name="T8" fmla="*/ 2147483647 w 1488"/>
                      <a:gd name="T9" fmla="*/ 2147483647 h 1278"/>
                      <a:gd name="T10" fmla="*/ 2147483647 w 1488"/>
                      <a:gd name="T11" fmla="*/ 2147483647 h 1278"/>
                      <a:gd name="T12" fmla="*/ 2147483647 w 1488"/>
                      <a:gd name="T13" fmla="*/ 2147483647 h 1278"/>
                      <a:gd name="T14" fmla="*/ 2147483647 w 1488"/>
                      <a:gd name="T15" fmla="*/ 2147483647 h 1278"/>
                      <a:gd name="T16" fmla="*/ 2147483647 w 1488"/>
                      <a:gd name="T17" fmla="*/ 2147483647 h 1278"/>
                      <a:gd name="T18" fmla="*/ 2147483647 w 1488"/>
                      <a:gd name="T19" fmla="*/ 2147483647 h 1278"/>
                      <a:gd name="T20" fmla="*/ 2147483647 w 1488"/>
                      <a:gd name="T21" fmla="*/ 2147483647 h 1278"/>
                      <a:gd name="T22" fmla="*/ 2147483647 w 1488"/>
                      <a:gd name="T23" fmla="*/ 2147483647 h 1278"/>
                      <a:gd name="T24" fmla="*/ 2147483647 w 1488"/>
                      <a:gd name="T25" fmla="*/ 2147483647 h 1278"/>
                      <a:gd name="T26" fmla="*/ 2147483647 w 1488"/>
                      <a:gd name="T27" fmla="*/ 2147483647 h 1278"/>
                      <a:gd name="T28" fmla="*/ 2147483647 w 1488"/>
                      <a:gd name="T29" fmla="*/ 2147483647 h 1278"/>
                      <a:gd name="T30" fmla="*/ 2147483647 w 1488"/>
                      <a:gd name="T31" fmla="*/ 2147483647 h 1278"/>
                      <a:gd name="T32" fmla="*/ 2147483647 w 1488"/>
                      <a:gd name="T33" fmla="*/ 2147483647 h 1278"/>
                      <a:gd name="T34" fmla="*/ 2147483647 w 1488"/>
                      <a:gd name="T35" fmla="*/ 2147483647 h 1278"/>
                      <a:gd name="T36" fmla="*/ 2147483647 w 1488"/>
                      <a:gd name="T37" fmla="*/ 2147483647 h 1278"/>
                      <a:gd name="T38" fmla="*/ 2147483647 w 1488"/>
                      <a:gd name="T39" fmla="*/ 0 h 1278"/>
                      <a:gd name="T40" fmla="*/ 2147483647 w 1488"/>
                      <a:gd name="T41" fmla="*/ 2147483647 h 1278"/>
                      <a:gd name="T42" fmla="*/ 2147483647 w 1488"/>
                      <a:gd name="T43" fmla="*/ 2147483647 h 1278"/>
                      <a:gd name="T44" fmla="*/ 2147483647 w 1488"/>
                      <a:gd name="T45" fmla="*/ 2147483647 h 1278"/>
                      <a:gd name="T46" fmla="*/ 2147483647 w 1488"/>
                      <a:gd name="T47" fmla="*/ 2147483647 h 1278"/>
                      <a:gd name="T48" fmla="*/ 2147483647 w 1488"/>
                      <a:gd name="T49" fmla="*/ 2147483647 h 1278"/>
                      <a:gd name="T50" fmla="*/ 2147483647 w 1488"/>
                      <a:gd name="T51" fmla="*/ 2147483647 h 1278"/>
                      <a:gd name="T52" fmla="*/ 2147483647 w 1488"/>
                      <a:gd name="T53" fmla="*/ 2147483647 h 1278"/>
                      <a:gd name="T54" fmla="*/ 2147483647 w 1488"/>
                      <a:gd name="T55" fmla="*/ 2147483647 h 1278"/>
                      <a:gd name="T56" fmla="*/ 2147483647 w 1488"/>
                      <a:gd name="T57" fmla="*/ 2147483647 h 1278"/>
                      <a:gd name="T58" fmla="*/ 2147483647 w 1488"/>
                      <a:gd name="T59" fmla="*/ 2147483647 h 1278"/>
                      <a:gd name="T60" fmla="*/ 2147483647 w 1488"/>
                      <a:gd name="T61" fmla="*/ 2147483647 h 1278"/>
                      <a:gd name="T62" fmla="*/ 0 w 1488"/>
                      <a:gd name="T63" fmla="*/ 2147483647 h 1278"/>
                      <a:gd name="T64" fmla="*/ 2147483647 w 1488"/>
                      <a:gd name="T65" fmla="*/ 2147483647 h 1278"/>
                      <a:gd name="T66" fmla="*/ 2147483647 w 1488"/>
                      <a:gd name="T67" fmla="*/ 2147483647 h 1278"/>
                      <a:gd name="T68" fmla="*/ 2147483647 w 1488"/>
                      <a:gd name="T69" fmla="*/ 2147483647 h 1278"/>
                      <a:gd name="T70" fmla="*/ 2147483647 w 1488"/>
                      <a:gd name="T71" fmla="*/ 2147483647 h 1278"/>
                      <a:gd name="T72" fmla="*/ 2147483647 w 1488"/>
                      <a:gd name="T73" fmla="*/ 2147483647 h 1278"/>
                      <a:gd name="T74" fmla="*/ 2147483647 w 1488"/>
                      <a:gd name="T75" fmla="*/ 2147483647 h 1278"/>
                      <a:gd name="T76" fmla="*/ 2147483647 w 1488"/>
                      <a:gd name="T77" fmla="*/ 2147483647 h 1278"/>
                      <a:gd name="T78" fmla="*/ 2147483647 w 1488"/>
                      <a:gd name="T79" fmla="*/ 2147483647 h 1278"/>
                      <a:gd name="T80" fmla="*/ 2147483647 w 1488"/>
                      <a:gd name="T81" fmla="*/ 2147483647 h 1278"/>
                      <a:gd name="T82" fmla="*/ 2147483647 w 1488"/>
                      <a:gd name="T83" fmla="*/ 2147483647 h 1278"/>
                      <a:gd name="T84" fmla="*/ 2147483647 w 1488"/>
                      <a:gd name="T85" fmla="*/ 2147483647 h 1278"/>
                      <a:gd name="T86" fmla="*/ 2147483647 w 1488"/>
                      <a:gd name="T87" fmla="*/ 2147483647 h 1278"/>
                      <a:gd name="T88" fmla="*/ 2147483647 w 1488"/>
                      <a:gd name="T89" fmla="*/ 2147483647 h 1278"/>
                      <a:gd name="T90" fmla="*/ 2147483647 w 1488"/>
                      <a:gd name="T91" fmla="*/ 2147483647 h 1278"/>
                      <a:gd name="T92" fmla="*/ 2147483647 w 1488"/>
                      <a:gd name="T93" fmla="*/ 2147483647 h 1278"/>
                      <a:gd name="T94" fmla="*/ 2147483647 w 1488"/>
                      <a:gd name="T95" fmla="*/ 2147483647 h 1278"/>
                      <a:gd name="T96" fmla="*/ 2147483647 w 1488"/>
                      <a:gd name="T97" fmla="*/ 2147483647 h 1278"/>
                      <a:gd name="T98" fmla="*/ 2147483647 w 1488"/>
                      <a:gd name="T99" fmla="*/ 2147483647 h 1278"/>
                      <a:gd name="T100" fmla="*/ 2147483647 w 1488"/>
                      <a:gd name="T101" fmla="*/ 2147483647 h 1278"/>
                      <a:gd name="T102" fmla="*/ 2147483647 w 1488"/>
                      <a:gd name="T103" fmla="*/ 2147483647 h 1278"/>
                      <a:gd name="T104" fmla="*/ 2147483647 w 1488"/>
                      <a:gd name="T105" fmla="*/ 2147483647 h 1278"/>
                      <a:gd name="T106" fmla="*/ 2147483647 w 1488"/>
                      <a:gd name="T107" fmla="*/ 2147483647 h 1278"/>
                      <a:gd name="T108" fmla="*/ 2147483647 w 1488"/>
                      <a:gd name="T109" fmla="*/ 2147483647 h 1278"/>
                      <a:gd name="T110" fmla="*/ 2147483647 w 1488"/>
                      <a:gd name="T111" fmla="*/ 2147483647 h 1278"/>
                      <a:gd name="T112" fmla="*/ 2147483647 w 1488"/>
                      <a:gd name="T113" fmla="*/ 2147483647 h 1278"/>
                      <a:gd name="T114" fmla="*/ 2147483647 w 1488"/>
                      <a:gd name="T115" fmla="*/ 2147483647 h 1278"/>
                      <a:gd name="T116" fmla="*/ 2147483647 w 1488"/>
                      <a:gd name="T117" fmla="*/ 2147483647 h 12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8"/>
                      <a:gd name="T178" fmla="*/ 0 h 1278"/>
                      <a:gd name="T179" fmla="*/ 1488 w 1488"/>
                      <a:gd name="T180" fmla="*/ 1278 h 12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8" h="1278">
                        <a:moveTo>
                          <a:pt x="1464" y="792"/>
                        </a:moveTo>
                        <a:lnTo>
                          <a:pt x="1464" y="780"/>
                        </a:lnTo>
                        <a:lnTo>
                          <a:pt x="1458" y="774"/>
                        </a:lnTo>
                        <a:lnTo>
                          <a:pt x="1416" y="768"/>
                        </a:lnTo>
                        <a:lnTo>
                          <a:pt x="1320" y="756"/>
                        </a:lnTo>
                        <a:lnTo>
                          <a:pt x="1284" y="750"/>
                        </a:lnTo>
                        <a:lnTo>
                          <a:pt x="1266" y="750"/>
                        </a:lnTo>
                        <a:lnTo>
                          <a:pt x="1260" y="738"/>
                        </a:lnTo>
                        <a:lnTo>
                          <a:pt x="1248" y="732"/>
                        </a:lnTo>
                        <a:lnTo>
                          <a:pt x="1242" y="720"/>
                        </a:lnTo>
                        <a:lnTo>
                          <a:pt x="1218" y="696"/>
                        </a:lnTo>
                        <a:lnTo>
                          <a:pt x="1206" y="672"/>
                        </a:lnTo>
                        <a:lnTo>
                          <a:pt x="1188" y="654"/>
                        </a:lnTo>
                        <a:lnTo>
                          <a:pt x="1188" y="642"/>
                        </a:lnTo>
                        <a:lnTo>
                          <a:pt x="1182" y="636"/>
                        </a:lnTo>
                        <a:lnTo>
                          <a:pt x="1182" y="618"/>
                        </a:lnTo>
                        <a:lnTo>
                          <a:pt x="1176" y="624"/>
                        </a:lnTo>
                        <a:lnTo>
                          <a:pt x="1164" y="612"/>
                        </a:lnTo>
                        <a:lnTo>
                          <a:pt x="1146" y="612"/>
                        </a:lnTo>
                        <a:lnTo>
                          <a:pt x="1140" y="600"/>
                        </a:lnTo>
                        <a:lnTo>
                          <a:pt x="1134" y="594"/>
                        </a:lnTo>
                        <a:lnTo>
                          <a:pt x="1128" y="582"/>
                        </a:lnTo>
                        <a:lnTo>
                          <a:pt x="1122" y="564"/>
                        </a:lnTo>
                        <a:lnTo>
                          <a:pt x="1116" y="552"/>
                        </a:lnTo>
                        <a:lnTo>
                          <a:pt x="1116" y="540"/>
                        </a:lnTo>
                        <a:lnTo>
                          <a:pt x="1110" y="534"/>
                        </a:lnTo>
                        <a:lnTo>
                          <a:pt x="1098" y="528"/>
                        </a:lnTo>
                        <a:lnTo>
                          <a:pt x="1086" y="516"/>
                        </a:lnTo>
                        <a:lnTo>
                          <a:pt x="1074" y="510"/>
                        </a:lnTo>
                        <a:lnTo>
                          <a:pt x="1068" y="498"/>
                        </a:lnTo>
                        <a:lnTo>
                          <a:pt x="1068" y="462"/>
                        </a:lnTo>
                        <a:lnTo>
                          <a:pt x="1062" y="450"/>
                        </a:lnTo>
                        <a:lnTo>
                          <a:pt x="1062" y="438"/>
                        </a:lnTo>
                        <a:lnTo>
                          <a:pt x="1050" y="426"/>
                        </a:lnTo>
                        <a:lnTo>
                          <a:pt x="1002" y="402"/>
                        </a:lnTo>
                        <a:lnTo>
                          <a:pt x="996" y="396"/>
                        </a:lnTo>
                        <a:lnTo>
                          <a:pt x="990" y="384"/>
                        </a:lnTo>
                        <a:lnTo>
                          <a:pt x="990" y="360"/>
                        </a:lnTo>
                        <a:lnTo>
                          <a:pt x="972" y="342"/>
                        </a:lnTo>
                        <a:lnTo>
                          <a:pt x="966" y="330"/>
                        </a:lnTo>
                        <a:lnTo>
                          <a:pt x="960" y="324"/>
                        </a:lnTo>
                        <a:lnTo>
                          <a:pt x="960" y="300"/>
                        </a:lnTo>
                        <a:lnTo>
                          <a:pt x="954" y="300"/>
                        </a:lnTo>
                        <a:lnTo>
                          <a:pt x="948" y="294"/>
                        </a:lnTo>
                        <a:lnTo>
                          <a:pt x="882" y="294"/>
                        </a:lnTo>
                        <a:lnTo>
                          <a:pt x="876" y="288"/>
                        </a:lnTo>
                        <a:lnTo>
                          <a:pt x="876" y="252"/>
                        </a:lnTo>
                        <a:lnTo>
                          <a:pt x="852" y="246"/>
                        </a:lnTo>
                        <a:lnTo>
                          <a:pt x="804" y="246"/>
                        </a:lnTo>
                        <a:lnTo>
                          <a:pt x="750" y="240"/>
                        </a:lnTo>
                        <a:lnTo>
                          <a:pt x="684" y="240"/>
                        </a:lnTo>
                        <a:lnTo>
                          <a:pt x="492" y="96"/>
                        </a:lnTo>
                        <a:lnTo>
                          <a:pt x="480" y="90"/>
                        </a:lnTo>
                        <a:lnTo>
                          <a:pt x="474" y="84"/>
                        </a:lnTo>
                        <a:lnTo>
                          <a:pt x="426" y="60"/>
                        </a:lnTo>
                        <a:lnTo>
                          <a:pt x="414" y="48"/>
                        </a:lnTo>
                        <a:lnTo>
                          <a:pt x="402" y="42"/>
                        </a:lnTo>
                        <a:lnTo>
                          <a:pt x="372" y="12"/>
                        </a:lnTo>
                        <a:lnTo>
                          <a:pt x="306" y="12"/>
                        </a:lnTo>
                        <a:lnTo>
                          <a:pt x="294" y="0"/>
                        </a:lnTo>
                        <a:lnTo>
                          <a:pt x="288" y="6"/>
                        </a:lnTo>
                        <a:lnTo>
                          <a:pt x="276" y="12"/>
                        </a:lnTo>
                        <a:lnTo>
                          <a:pt x="270" y="12"/>
                        </a:lnTo>
                        <a:lnTo>
                          <a:pt x="264" y="18"/>
                        </a:lnTo>
                        <a:lnTo>
                          <a:pt x="252" y="24"/>
                        </a:lnTo>
                        <a:lnTo>
                          <a:pt x="210" y="24"/>
                        </a:lnTo>
                        <a:lnTo>
                          <a:pt x="198" y="48"/>
                        </a:lnTo>
                        <a:lnTo>
                          <a:pt x="132" y="48"/>
                        </a:lnTo>
                        <a:lnTo>
                          <a:pt x="120" y="54"/>
                        </a:lnTo>
                        <a:lnTo>
                          <a:pt x="108" y="54"/>
                        </a:lnTo>
                        <a:lnTo>
                          <a:pt x="108" y="60"/>
                        </a:lnTo>
                        <a:lnTo>
                          <a:pt x="132" y="60"/>
                        </a:lnTo>
                        <a:lnTo>
                          <a:pt x="144" y="66"/>
                        </a:lnTo>
                        <a:lnTo>
                          <a:pt x="156" y="66"/>
                        </a:lnTo>
                        <a:lnTo>
                          <a:pt x="180" y="90"/>
                        </a:lnTo>
                        <a:lnTo>
                          <a:pt x="192" y="114"/>
                        </a:lnTo>
                        <a:lnTo>
                          <a:pt x="198" y="120"/>
                        </a:lnTo>
                        <a:lnTo>
                          <a:pt x="198" y="132"/>
                        </a:lnTo>
                        <a:lnTo>
                          <a:pt x="192" y="138"/>
                        </a:lnTo>
                        <a:lnTo>
                          <a:pt x="192" y="150"/>
                        </a:lnTo>
                        <a:lnTo>
                          <a:pt x="186" y="156"/>
                        </a:lnTo>
                        <a:lnTo>
                          <a:pt x="180" y="168"/>
                        </a:lnTo>
                        <a:lnTo>
                          <a:pt x="174" y="174"/>
                        </a:lnTo>
                        <a:lnTo>
                          <a:pt x="162" y="180"/>
                        </a:lnTo>
                        <a:lnTo>
                          <a:pt x="150" y="180"/>
                        </a:lnTo>
                        <a:lnTo>
                          <a:pt x="138" y="186"/>
                        </a:lnTo>
                        <a:lnTo>
                          <a:pt x="132" y="186"/>
                        </a:lnTo>
                        <a:lnTo>
                          <a:pt x="120" y="198"/>
                        </a:lnTo>
                        <a:lnTo>
                          <a:pt x="120" y="210"/>
                        </a:lnTo>
                        <a:lnTo>
                          <a:pt x="108" y="234"/>
                        </a:lnTo>
                        <a:lnTo>
                          <a:pt x="96" y="246"/>
                        </a:lnTo>
                        <a:lnTo>
                          <a:pt x="60" y="246"/>
                        </a:lnTo>
                        <a:lnTo>
                          <a:pt x="36" y="234"/>
                        </a:lnTo>
                        <a:lnTo>
                          <a:pt x="6" y="234"/>
                        </a:lnTo>
                        <a:lnTo>
                          <a:pt x="6" y="264"/>
                        </a:lnTo>
                        <a:lnTo>
                          <a:pt x="0" y="306"/>
                        </a:lnTo>
                        <a:lnTo>
                          <a:pt x="0" y="348"/>
                        </a:lnTo>
                        <a:lnTo>
                          <a:pt x="6" y="372"/>
                        </a:lnTo>
                        <a:lnTo>
                          <a:pt x="24" y="378"/>
                        </a:lnTo>
                        <a:lnTo>
                          <a:pt x="36" y="390"/>
                        </a:lnTo>
                        <a:lnTo>
                          <a:pt x="54" y="390"/>
                        </a:lnTo>
                        <a:lnTo>
                          <a:pt x="72" y="408"/>
                        </a:lnTo>
                        <a:lnTo>
                          <a:pt x="90" y="438"/>
                        </a:lnTo>
                        <a:lnTo>
                          <a:pt x="102" y="474"/>
                        </a:lnTo>
                        <a:lnTo>
                          <a:pt x="120" y="504"/>
                        </a:lnTo>
                        <a:lnTo>
                          <a:pt x="132" y="516"/>
                        </a:lnTo>
                        <a:lnTo>
                          <a:pt x="150" y="528"/>
                        </a:lnTo>
                        <a:lnTo>
                          <a:pt x="162" y="540"/>
                        </a:lnTo>
                        <a:lnTo>
                          <a:pt x="174" y="558"/>
                        </a:lnTo>
                        <a:lnTo>
                          <a:pt x="180" y="570"/>
                        </a:lnTo>
                        <a:lnTo>
                          <a:pt x="186" y="594"/>
                        </a:lnTo>
                        <a:lnTo>
                          <a:pt x="192" y="612"/>
                        </a:lnTo>
                        <a:lnTo>
                          <a:pt x="198" y="636"/>
                        </a:lnTo>
                        <a:lnTo>
                          <a:pt x="210" y="648"/>
                        </a:lnTo>
                        <a:lnTo>
                          <a:pt x="234" y="660"/>
                        </a:lnTo>
                        <a:lnTo>
                          <a:pt x="264" y="660"/>
                        </a:lnTo>
                        <a:lnTo>
                          <a:pt x="282" y="666"/>
                        </a:lnTo>
                        <a:lnTo>
                          <a:pt x="294" y="678"/>
                        </a:lnTo>
                        <a:lnTo>
                          <a:pt x="312" y="708"/>
                        </a:lnTo>
                        <a:lnTo>
                          <a:pt x="330" y="756"/>
                        </a:lnTo>
                        <a:lnTo>
                          <a:pt x="336" y="804"/>
                        </a:lnTo>
                        <a:lnTo>
                          <a:pt x="342" y="840"/>
                        </a:lnTo>
                        <a:lnTo>
                          <a:pt x="348" y="870"/>
                        </a:lnTo>
                        <a:lnTo>
                          <a:pt x="366" y="906"/>
                        </a:lnTo>
                        <a:lnTo>
                          <a:pt x="384" y="924"/>
                        </a:lnTo>
                        <a:lnTo>
                          <a:pt x="390" y="936"/>
                        </a:lnTo>
                        <a:lnTo>
                          <a:pt x="414" y="936"/>
                        </a:lnTo>
                        <a:lnTo>
                          <a:pt x="438" y="948"/>
                        </a:lnTo>
                        <a:lnTo>
                          <a:pt x="456" y="972"/>
                        </a:lnTo>
                        <a:lnTo>
                          <a:pt x="480" y="1008"/>
                        </a:lnTo>
                        <a:lnTo>
                          <a:pt x="504" y="1056"/>
                        </a:lnTo>
                        <a:lnTo>
                          <a:pt x="552" y="1128"/>
                        </a:lnTo>
                        <a:lnTo>
                          <a:pt x="582" y="1170"/>
                        </a:lnTo>
                        <a:lnTo>
                          <a:pt x="606" y="1206"/>
                        </a:lnTo>
                        <a:lnTo>
                          <a:pt x="618" y="1236"/>
                        </a:lnTo>
                        <a:lnTo>
                          <a:pt x="618" y="1266"/>
                        </a:lnTo>
                        <a:lnTo>
                          <a:pt x="612" y="1278"/>
                        </a:lnTo>
                        <a:lnTo>
                          <a:pt x="624" y="1266"/>
                        </a:lnTo>
                        <a:lnTo>
                          <a:pt x="630" y="1254"/>
                        </a:lnTo>
                        <a:lnTo>
                          <a:pt x="636" y="1248"/>
                        </a:lnTo>
                        <a:lnTo>
                          <a:pt x="636" y="1200"/>
                        </a:lnTo>
                        <a:lnTo>
                          <a:pt x="642" y="1188"/>
                        </a:lnTo>
                        <a:lnTo>
                          <a:pt x="648" y="1182"/>
                        </a:lnTo>
                        <a:lnTo>
                          <a:pt x="654" y="1182"/>
                        </a:lnTo>
                        <a:lnTo>
                          <a:pt x="672" y="1200"/>
                        </a:lnTo>
                        <a:lnTo>
                          <a:pt x="696" y="1194"/>
                        </a:lnTo>
                        <a:lnTo>
                          <a:pt x="702" y="1188"/>
                        </a:lnTo>
                        <a:lnTo>
                          <a:pt x="792" y="1188"/>
                        </a:lnTo>
                        <a:lnTo>
                          <a:pt x="804" y="1194"/>
                        </a:lnTo>
                        <a:lnTo>
                          <a:pt x="810" y="1200"/>
                        </a:lnTo>
                        <a:lnTo>
                          <a:pt x="888" y="1200"/>
                        </a:lnTo>
                        <a:lnTo>
                          <a:pt x="894" y="1206"/>
                        </a:lnTo>
                        <a:lnTo>
                          <a:pt x="900" y="1218"/>
                        </a:lnTo>
                        <a:lnTo>
                          <a:pt x="912" y="1224"/>
                        </a:lnTo>
                        <a:lnTo>
                          <a:pt x="924" y="1224"/>
                        </a:lnTo>
                        <a:lnTo>
                          <a:pt x="930" y="1212"/>
                        </a:lnTo>
                        <a:lnTo>
                          <a:pt x="936" y="1206"/>
                        </a:lnTo>
                        <a:lnTo>
                          <a:pt x="936" y="1188"/>
                        </a:lnTo>
                        <a:lnTo>
                          <a:pt x="942" y="1176"/>
                        </a:lnTo>
                        <a:lnTo>
                          <a:pt x="948" y="1170"/>
                        </a:lnTo>
                        <a:lnTo>
                          <a:pt x="954" y="1158"/>
                        </a:lnTo>
                        <a:lnTo>
                          <a:pt x="966" y="1146"/>
                        </a:lnTo>
                        <a:lnTo>
                          <a:pt x="972" y="1134"/>
                        </a:lnTo>
                        <a:lnTo>
                          <a:pt x="990" y="1116"/>
                        </a:lnTo>
                        <a:lnTo>
                          <a:pt x="1020" y="1098"/>
                        </a:lnTo>
                        <a:lnTo>
                          <a:pt x="1050" y="1092"/>
                        </a:lnTo>
                        <a:lnTo>
                          <a:pt x="1068" y="1086"/>
                        </a:lnTo>
                        <a:lnTo>
                          <a:pt x="1092" y="1086"/>
                        </a:lnTo>
                        <a:lnTo>
                          <a:pt x="1140" y="1080"/>
                        </a:lnTo>
                        <a:lnTo>
                          <a:pt x="1188" y="1068"/>
                        </a:lnTo>
                        <a:lnTo>
                          <a:pt x="1230" y="1062"/>
                        </a:lnTo>
                        <a:lnTo>
                          <a:pt x="1248" y="1062"/>
                        </a:lnTo>
                        <a:lnTo>
                          <a:pt x="1452" y="990"/>
                        </a:lnTo>
                        <a:lnTo>
                          <a:pt x="1488" y="816"/>
                        </a:lnTo>
                        <a:lnTo>
                          <a:pt x="1482" y="810"/>
                        </a:lnTo>
                        <a:lnTo>
                          <a:pt x="1470" y="804"/>
                        </a:lnTo>
                        <a:lnTo>
                          <a:pt x="1464" y="798"/>
                        </a:lnTo>
                        <a:lnTo>
                          <a:pt x="1464" y="792"/>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6" name="Kuwait">
                    <a:extLst>
                      <a:ext uri="{FF2B5EF4-FFF2-40B4-BE49-F238E27FC236}">
                        <a16:creationId xmlns:a16="http://schemas.microsoft.com/office/drawing/2014/main" id="{5E314C4D-69E3-4D4B-AB15-FFB54381969C}"/>
                      </a:ext>
                    </a:extLst>
                  </p:cNvPr>
                  <p:cNvSpPr>
                    <a:spLocks/>
                  </p:cNvSpPr>
                  <p:nvPr/>
                </p:nvSpPr>
                <p:spPr bwMode="gray">
                  <a:xfrm>
                    <a:off x="7102319" y="3202682"/>
                    <a:ext cx="59624" cy="52808"/>
                  </a:xfrm>
                  <a:custGeom>
                    <a:avLst/>
                    <a:gdLst>
                      <a:gd name="T0" fmla="*/ 2147483647 w 138"/>
                      <a:gd name="T1" fmla="*/ 0 h 120"/>
                      <a:gd name="T2" fmla="*/ 2147483647 w 138"/>
                      <a:gd name="T3" fmla="*/ 0 h 120"/>
                      <a:gd name="T4" fmla="*/ 2147483647 w 138"/>
                      <a:gd name="T5" fmla="*/ 2147483647 h 120"/>
                      <a:gd name="T6" fmla="*/ 2147483647 w 138"/>
                      <a:gd name="T7" fmla="*/ 2147483647 h 120"/>
                      <a:gd name="T8" fmla="*/ 2147483647 w 138"/>
                      <a:gd name="T9" fmla="*/ 2147483647 h 120"/>
                      <a:gd name="T10" fmla="*/ 2147483647 w 138"/>
                      <a:gd name="T11" fmla="*/ 2147483647 h 120"/>
                      <a:gd name="T12" fmla="*/ 0 w 138"/>
                      <a:gd name="T13" fmla="*/ 2147483647 h 120"/>
                      <a:gd name="T14" fmla="*/ 2147483647 w 138"/>
                      <a:gd name="T15" fmla="*/ 2147483647 h 120"/>
                      <a:gd name="T16" fmla="*/ 2147483647 w 138"/>
                      <a:gd name="T17" fmla="*/ 2147483647 h 120"/>
                      <a:gd name="T18" fmla="*/ 2147483647 w 138"/>
                      <a:gd name="T19" fmla="*/ 2147483647 h 120"/>
                      <a:gd name="T20" fmla="*/ 2147483647 w 138"/>
                      <a:gd name="T21" fmla="*/ 2147483647 h 120"/>
                      <a:gd name="T22" fmla="*/ 2147483647 w 138"/>
                      <a:gd name="T23" fmla="*/ 2147483647 h 120"/>
                      <a:gd name="T24" fmla="*/ 2147483647 w 138"/>
                      <a:gd name="T25" fmla="*/ 2147483647 h 120"/>
                      <a:gd name="T26" fmla="*/ 2147483647 w 138"/>
                      <a:gd name="T27" fmla="*/ 2147483647 h 120"/>
                      <a:gd name="T28" fmla="*/ 2147483647 w 138"/>
                      <a:gd name="T29" fmla="*/ 2147483647 h 120"/>
                      <a:gd name="T30" fmla="*/ 2147483647 w 138"/>
                      <a:gd name="T31" fmla="*/ 2147483647 h 120"/>
                      <a:gd name="T32" fmla="*/ 2147483647 w 138"/>
                      <a:gd name="T33" fmla="*/ 2147483647 h 120"/>
                      <a:gd name="T34" fmla="*/ 2147483647 w 138"/>
                      <a:gd name="T35" fmla="*/ 2147483647 h 120"/>
                      <a:gd name="T36" fmla="*/ 2147483647 w 138"/>
                      <a:gd name="T37" fmla="*/ 2147483647 h 120"/>
                      <a:gd name="T38" fmla="*/ 2147483647 w 138"/>
                      <a:gd name="T39" fmla="*/ 2147483647 h 120"/>
                      <a:gd name="T40" fmla="*/ 2147483647 w 138"/>
                      <a:gd name="T41" fmla="*/ 2147483647 h 120"/>
                      <a:gd name="T42" fmla="*/ 2147483647 w 138"/>
                      <a:gd name="T43" fmla="*/ 2147483647 h 120"/>
                      <a:gd name="T44" fmla="*/ 2147483647 w 138"/>
                      <a:gd name="T45" fmla="*/ 2147483647 h 120"/>
                      <a:gd name="T46" fmla="*/ 2147483647 w 138"/>
                      <a:gd name="T47" fmla="*/ 2147483647 h 120"/>
                      <a:gd name="T48" fmla="*/ 2147483647 w 138"/>
                      <a:gd name="T49" fmla="*/ 0 h 120"/>
                      <a:gd name="T50" fmla="*/ 2147483647 w 138"/>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20"/>
                      <a:gd name="T80" fmla="*/ 138 w 138"/>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20">
                        <a:moveTo>
                          <a:pt x="54" y="0"/>
                        </a:moveTo>
                        <a:lnTo>
                          <a:pt x="36" y="0"/>
                        </a:lnTo>
                        <a:lnTo>
                          <a:pt x="30" y="12"/>
                        </a:lnTo>
                        <a:lnTo>
                          <a:pt x="24" y="18"/>
                        </a:lnTo>
                        <a:lnTo>
                          <a:pt x="24" y="30"/>
                        </a:lnTo>
                        <a:lnTo>
                          <a:pt x="6" y="66"/>
                        </a:lnTo>
                        <a:lnTo>
                          <a:pt x="0" y="72"/>
                        </a:lnTo>
                        <a:lnTo>
                          <a:pt x="42" y="72"/>
                        </a:lnTo>
                        <a:lnTo>
                          <a:pt x="60" y="78"/>
                        </a:lnTo>
                        <a:lnTo>
                          <a:pt x="66" y="78"/>
                        </a:lnTo>
                        <a:lnTo>
                          <a:pt x="66" y="114"/>
                        </a:lnTo>
                        <a:lnTo>
                          <a:pt x="72" y="120"/>
                        </a:lnTo>
                        <a:lnTo>
                          <a:pt x="138" y="120"/>
                        </a:lnTo>
                        <a:lnTo>
                          <a:pt x="126" y="114"/>
                        </a:lnTo>
                        <a:lnTo>
                          <a:pt x="114" y="102"/>
                        </a:lnTo>
                        <a:lnTo>
                          <a:pt x="102" y="78"/>
                        </a:lnTo>
                        <a:lnTo>
                          <a:pt x="102" y="66"/>
                        </a:lnTo>
                        <a:lnTo>
                          <a:pt x="90" y="60"/>
                        </a:lnTo>
                        <a:lnTo>
                          <a:pt x="84" y="36"/>
                        </a:lnTo>
                        <a:lnTo>
                          <a:pt x="120" y="36"/>
                        </a:lnTo>
                        <a:lnTo>
                          <a:pt x="120" y="18"/>
                        </a:lnTo>
                        <a:lnTo>
                          <a:pt x="114" y="12"/>
                        </a:lnTo>
                        <a:lnTo>
                          <a:pt x="90" y="12"/>
                        </a:lnTo>
                        <a:lnTo>
                          <a:pt x="90" y="18"/>
                        </a:lnTo>
                        <a:lnTo>
                          <a:pt x="84" y="0"/>
                        </a:lnTo>
                        <a:lnTo>
                          <a:pt x="54" y="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7" name="Jordan">
                    <a:extLst>
                      <a:ext uri="{FF2B5EF4-FFF2-40B4-BE49-F238E27FC236}">
                        <a16:creationId xmlns:a16="http://schemas.microsoft.com/office/drawing/2014/main" id="{2EEB1089-801A-41FD-A1CF-29D1D5C14022}"/>
                      </a:ext>
                    </a:extLst>
                  </p:cNvPr>
                  <p:cNvSpPr>
                    <a:spLocks/>
                  </p:cNvSpPr>
                  <p:nvPr/>
                </p:nvSpPr>
                <p:spPr bwMode="gray">
                  <a:xfrm>
                    <a:off x="6758205" y="3090254"/>
                    <a:ext cx="120951" cy="144794"/>
                  </a:xfrm>
                  <a:custGeom>
                    <a:avLst/>
                    <a:gdLst>
                      <a:gd name="T0" fmla="*/ 2147483647 w 282"/>
                      <a:gd name="T1" fmla="*/ 2147483647 h 336"/>
                      <a:gd name="T2" fmla="*/ 2147483647 w 282"/>
                      <a:gd name="T3" fmla="*/ 2147483647 h 336"/>
                      <a:gd name="T4" fmla="*/ 2147483647 w 282"/>
                      <a:gd name="T5" fmla="*/ 0 h 336"/>
                      <a:gd name="T6" fmla="*/ 2147483647 w 282"/>
                      <a:gd name="T7" fmla="*/ 2147483647 h 336"/>
                      <a:gd name="T8" fmla="*/ 2147483647 w 282"/>
                      <a:gd name="T9" fmla="*/ 2147483647 h 336"/>
                      <a:gd name="T10" fmla="*/ 2147483647 w 282"/>
                      <a:gd name="T11" fmla="*/ 2147483647 h 336"/>
                      <a:gd name="T12" fmla="*/ 2147483647 w 282"/>
                      <a:gd name="T13" fmla="*/ 2147483647 h 336"/>
                      <a:gd name="T14" fmla="*/ 2147483647 w 282"/>
                      <a:gd name="T15" fmla="*/ 2147483647 h 336"/>
                      <a:gd name="T16" fmla="*/ 2147483647 w 282"/>
                      <a:gd name="T17" fmla="*/ 2147483647 h 336"/>
                      <a:gd name="T18" fmla="*/ 2147483647 w 282"/>
                      <a:gd name="T19" fmla="*/ 2147483647 h 336"/>
                      <a:gd name="T20" fmla="*/ 2147483647 w 282"/>
                      <a:gd name="T21" fmla="*/ 2147483647 h 336"/>
                      <a:gd name="T22" fmla="*/ 2147483647 w 282"/>
                      <a:gd name="T23" fmla="*/ 2147483647 h 336"/>
                      <a:gd name="T24" fmla="*/ 2147483647 w 282"/>
                      <a:gd name="T25" fmla="*/ 2147483647 h 336"/>
                      <a:gd name="T26" fmla="*/ 2147483647 w 282"/>
                      <a:gd name="T27" fmla="*/ 2147483647 h 336"/>
                      <a:gd name="T28" fmla="*/ 2147483647 w 282"/>
                      <a:gd name="T29" fmla="*/ 2147483647 h 336"/>
                      <a:gd name="T30" fmla="*/ 2147483647 w 282"/>
                      <a:gd name="T31" fmla="*/ 2147483647 h 336"/>
                      <a:gd name="T32" fmla="*/ 2147483647 w 282"/>
                      <a:gd name="T33" fmla="*/ 2147483647 h 336"/>
                      <a:gd name="T34" fmla="*/ 2147483647 w 282"/>
                      <a:gd name="T35" fmla="*/ 2147483647 h 336"/>
                      <a:gd name="T36" fmla="*/ 2147483647 w 282"/>
                      <a:gd name="T37" fmla="*/ 2147483647 h 336"/>
                      <a:gd name="T38" fmla="*/ 2147483647 w 282"/>
                      <a:gd name="T39" fmla="*/ 2147483647 h 336"/>
                      <a:gd name="T40" fmla="*/ 2147483647 w 282"/>
                      <a:gd name="T41" fmla="*/ 2147483647 h 336"/>
                      <a:gd name="T42" fmla="*/ 2147483647 w 282"/>
                      <a:gd name="T43" fmla="*/ 2147483647 h 336"/>
                      <a:gd name="T44" fmla="*/ 2147483647 w 282"/>
                      <a:gd name="T45" fmla="*/ 2147483647 h 336"/>
                      <a:gd name="T46" fmla="*/ 0 w 282"/>
                      <a:gd name="T47" fmla="*/ 2147483647 h 336"/>
                      <a:gd name="T48" fmla="*/ 0 w 282"/>
                      <a:gd name="T49" fmla="*/ 2147483647 h 336"/>
                      <a:gd name="T50" fmla="*/ 2147483647 w 282"/>
                      <a:gd name="T51" fmla="*/ 2147483647 h 336"/>
                      <a:gd name="T52" fmla="*/ 2147483647 w 282"/>
                      <a:gd name="T53" fmla="*/ 2147483647 h 336"/>
                      <a:gd name="T54" fmla="*/ 2147483647 w 282"/>
                      <a:gd name="T55" fmla="*/ 2147483647 h 336"/>
                      <a:gd name="T56" fmla="*/ 2147483647 w 282"/>
                      <a:gd name="T57" fmla="*/ 2147483647 h 336"/>
                      <a:gd name="T58" fmla="*/ 2147483647 w 282"/>
                      <a:gd name="T59" fmla="*/ 2147483647 h 336"/>
                      <a:gd name="T60" fmla="*/ 2147483647 w 282"/>
                      <a:gd name="T61" fmla="*/ 2147483647 h 336"/>
                      <a:gd name="T62" fmla="*/ 2147483647 w 282"/>
                      <a:gd name="T63" fmla="*/ 2147483647 h 336"/>
                      <a:gd name="T64" fmla="*/ 2147483647 w 282"/>
                      <a:gd name="T65" fmla="*/ 2147483647 h 336"/>
                      <a:gd name="T66" fmla="*/ 2147483647 w 282"/>
                      <a:gd name="T67" fmla="*/ 2147483647 h 336"/>
                      <a:gd name="T68" fmla="*/ 2147483647 w 282"/>
                      <a:gd name="T69" fmla="*/ 2147483647 h 336"/>
                      <a:gd name="T70" fmla="*/ 2147483647 w 282"/>
                      <a:gd name="T71" fmla="*/ 2147483647 h 336"/>
                      <a:gd name="T72" fmla="*/ 2147483647 w 282"/>
                      <a:gd name="T73" fmla="*/ 2147483647 h 336"/>
                      <a:gd name="T74" fmla="*/ 2147483647 w 282"/>
                      <a:gd name="T75" fmla="*/ 2147483647 h 336"/>
                      <a:gd name="T76" fmla="*/ 2147483647 w 282"/>
                      <a:gd name="T77" fmla="*/ 2147483647 h 336"/>
                      <a:gd name="T78" fmla="*/ 2147483647 w 282"/>
                      <a:gd name="T79" fmla="*/ 2147483647 h 336"/>
                      <a:gd name="T80" fmla="*/ 2147483647 w 282"/>
                      <a:gd name="T81" fmla="*/ 2147483647 h 336"/>
                      <a:gd name="T82" fmla="*/ 2147483647 w 282"/>
                      <a:gd name="T83" fmla="*/ 2147483647 h 336"/>
                      <a:gd name="T84" fmla="*/ 2147483647 w 282"/>
                      <a:gd name="T85" fmla="*/ 2147483647 h 336"/>
                      <a:gd name="T86" fmla="*/ 2147483647 w 282"/>
                      <a:gd name="T87" fmla="*/ 2147483647 h 336"/>
                      <a:gd name="T88" fmla="*/ 2147483647 w 282"/>
                      <a:gd name="T89" fmla="*/ 2147483647 h 336"/>
                      <a:gd name="T90" fmla="*/ 2147483647 w 282"/>
                      <a:gd name="T91" fmla="*/ 2147483647 h 336"/>
                      <a:gd name="T92" fmla="*/ 2147483647 w 282"/>
                      <a:gd name="T93" fmla="*/ 2147483647 h 336"/>
                      <a:gd name="T94" fmla="*/ 2147483647 w 282"/>
                      <a:gd name="T95" fmla="*/ 2147483647 h 336"/>
                      <a:gd name="T96" fmla="*/ 2147483647 w 282"/>
                      <a:gd name="T97" fmla="*/ 2147483647 h 336"/>
                      <a:gd name="T98" fmla="*/ 2147483647 w 282"/>
                      <a:gd name="T99" fmla="*/ 2147483647 h 336"/>
                      <a:gd name="T100" fmla="*/ 2147483647 w 282"/>
                      <a:gd name="T101" fmla="*/ 2147483647 h 336"/>
                      <a:gd name="T102" fmla="*/ 2147483647 w 282"/>
                      <a:gd name="T103" fmla="*/ 2147483647 h 336"/>
                      <a:gd name="T104" fmla="*/ 2147483647 w 282"/>
                      <a:gd name="T105" fmla="*/ 2147483647 h 336"/>
                      <a:gd name="T106" fmla="*/ 2147483647 w 282"/>
                      <a:gd name="T107" fmla="*/ 2147483647 h 336"/>
                      <a:gd name="T108" fmla="*/ 2147483647 w 282"/>
                      <a:gd name="T109" fmla="*/ 2147483647 h 336"/>
                      <a:gd name="T110" fmla="*/ 2147483647 w 282"/>
                      <a:gd name="T111" fmla="*/ 2147483647 h 336"/>
                      <a:gd name="T112" fmla="*/ 2147483647 w 282"/>
                      <a:gd name="T113" fmla="*/ 2147483647 h 336"/>
                      <a:gd name="T114" fmla="*/ 2147483647 w 282"/>
                      <a:gd name="T115" fmla="*/ 2147483647 h 336"/>
                      <a:gd name="T116" fmla="*/ 2147483647 w 282"/>
                      <a:gd name="T117" fmla="*/ 2147483647 h 336"/>
                      <a:gd name="T118" fmla="*/ 2147483647 w 282"/>
                      <a:gd name="T119" fmla="*/ 2147483647 h 336"/>
                      <a:gd name="T120" fmla="*/ 2147483647 w 282"/>
                      <a:gd name="T121" fmla="*/ 2147483647 h 336"/>
                      <a:gd name="T122" fmla="*/ 2147483647 w 282"/>
                      <a:gd name="T123" fmla="*/ 2147483647 h 3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2"/>
                      <a:gd name="T187" fmla="*/ 0 h 336"/>
                      <a:gd name="T188" fmla="*/ 282 w 282"/>
                      <a:gd name="T189" fmla="*/ 336 h 3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2" h="336">
                        <a:moveTo>
                          <a:pt x="258" y="60"/>
                        </a:moveTo>
                        <a:lnTo>
                          <a:pt x="258" y="42"/>
                        </a:lnTo>
                        <a:lnTo>
                          <a:pt x="234" y="0"/>
                        </a:lnTo>
                        <a:lnTo>
                          <a:pt x="222" y="6"/>
                        </a:lnTo>
                        <a:lnTo>
                          <a:pt x="198" y="30"/>
                        </a:lnTo>
                        <a:lnTo>
                          <a:pt x="138" y="78"/>
                        </a:lnTo>
                        <a:lnTo>
                          <a:pt x="114" y="84"/>
                        </a:lnTo>
                        <a:lnTo>
                          <a:pt x="96" y="84"/>
                        </a:lnTo>
                        <a:lnTo>
                          <a:pt x="84" y="78"/>
                        </a:lnTo>
                        <a:lnTo>
                          <a:pt x="72" y="66"/>
                        </a:lnTo>
                        <a:lnTo>
                          <a:pt x="36" y="48"/>
                        </a:lnTo>
                        <a:lnTo>
                          <a:pt x="30" y="48"/>
                        </a:lnTo>
                        <a:lnTo>
                          <a:pt x="24" y="66"/>
                        </a:lnTo>
                        <a:lnTo>
                          <a:pt x="30" y="138"/>
                        </a:lnTo>
                        <a:lnTo>
                          <a:pt x="18" y="150"/>
                        </a:lnTo>
                        <a:lnTo>
                          <a:pt x="18" y="162"/>
                        </a:lnTo>
                        <a:lnTo>
                          <a:pt x="30" y="174"/>
                        </a:lnTo>
                        <a:lnTo>
                          <a:pt x="30" y="186"/>
                        </a:lnTo>
                        <a:lnTo>
                          <a:pt x="24" y="198"/>
                        </a:lnTo>
                        <a:lnTo>
                          <a:pt x="18" y="204"/>
                        </a:lnTo>
                        <a:lnTo>
                          <a:pt x="12" y="216"/>
                        </a:lnTo>
                        <a:lnTo>
                          <a:pt x="6" y="222"/>
                        </a:lnTo>
                        <a:lnTo>
                          <a:pt x="6" y="282"/>
                        </a:lnTo>
                        <a:lnTo>
                          <a:pt x="0" y="294"/>
                        </a:lnTo>
                        <a:lnTo>
                          <a:pt x="0" y="312"/>
                        </a:lnTo>
                        <a:lnTo>
                          <a:pt x="6" y="324"/>
                        </a:lnTo>
                        <a:lnTo>
                          <a:pt x="24" y="324"/>
                        </a:lnTo>
                        <a:lnTo>
                          <a:pt x="48" y="336"/>
                        </a:lnTo>
                        <a:lnTo>
                          <a:pt x="84" y="336"/>
                        </a:lnTo>
                        <a:lnTo>
                          <a:pt x="96" y="324"/>
                        </a:lnTo>
                        <a:lnTo>
                          <a:pt x="108" y="300"/>
                        </a:lnTo>
                        <a:lnTo>
                          <a:pt x="108" y="288"/>
                        </a:lnTo>
                        <a:lnTo>
                          <a:pt x="120" y="276"/>
                        </a:lnTo>
                        <a:lnTo>
                          <a:pt x="126" y="276"/>
                        </a:lnTo>
                        <a:lnTo>
                          <a:pt x="138" y="270"/>
                        </a:lnTo>
                        <a:lnTo>
                          <a:pt x="150" y="270"/>
                        </a:lnTo>
                        <a:lnTo>
                          <a:pt x="162" y="264"/>
                        </a:lnTo>
                        <a:lnTo>
                          <a:pt x="168" y="258"/>
                        </a:lnTo>
                        <a:lnTo>
                          <a:pt x="174" y="246"/>
                        </a:lnTo>
                        <a:lnTo>
                          <a:pt x="180" y="240"/>
                        </a:lnTo>
                        <a:lnTo>
                          <a:pt x="180" y="228"/>
                        </a:lnTo>
                        <a:lnTo>
                          <a:pt x="186" y="222"/>
                        </a:lnTo>
                        <a:lnTo>
                          <a:pt x="186" y="210"/>
                        </a:lnTo>
                        <a:lnTo>
                          <a:pt x="180" y="204"/>
                        </a:lnTo>
                        <a:lnTo>
                          <a:pt x="168" y="180"/>
                        </a:lnTo>
                        <a:lnTo>
                          <a:pt x="144" y="156"/>
                        </a:lnTo>
                        <a:lnTo>
                          <a:pt x="132" y="156"/>
                        </a:lnTo>
                        <a:lnTo>
                          <a:pt x="120" y="150"/>
                        </a:lnTo>
                        <a:lnTo>
                          <a:pt x="96" y="150"/>
                        </a:lnTo>
                        <a:lnTo>
                          <a:pt x="96" y="144"/>
                        </a:lnTo>
                        <a:lnTo>
                          <a:pt x="108" y="144"/>
                        </a:lnTo>
                        <a:lnTo>
                          <a:pt x="120" y="138"/>
                        </a:lnTo>
                        <a:lnTo>
                          <a:pt x="186" y="138"/>
                        </a:lnTo>
                        <a:lnTo>
                          <a:pt x="198" y="114"/>
                        </a:lnTo>
                        <a:lnTo>
                          <a:pt x="240" y="114"/>
                        </a:lnTo>
                        <a:lnTo>
                          <a:pt x="252" y="108"/>
                        </a:lnTo>
                        <a:lnTo>
                          <a:pt x="258" y="102"/>
                        </a:lnTo>
                        <a:lnTo>
                          <a:pt x="264" y="102"/>
                        </a:lnTo>
                        <a:lnTo>
                          <a:pt x="276" y="96"/>
                        </a:lnTo>
                        <a:lnTo>
                          <a:pt x="282" y="90"/>
                        </a:lnTo>
                        <a:lnTo>
                          <a:pt x="282" y="78"/>
                        </a:lnTo>
                        <a:lnTo>
                          <a:pt x="258" y="6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8" name="Bahrain">
                    <a:extLst>
                      <a:ext uri="{FF2B5EF4-FFF2-40B4-BE49-F238E27FC236}">
                        <a16:creationId xmlns:a16="http://schemas.microsoft.com/office/drawing/2014/main" id="{878270F8-0BF5-44A1-B88F-2C8EF90964A2}"/>
                      </a:ext>
                    </a:extLst>
                  </p:cNvPr>
                  <p:cNvSpPr>
                    <a:spLocks/>
                  </p:cNvSpPr>
                  <p:nvPr/>
                </p:nvSpPr>
                <p:spPr bwMode="gray">
                  <a:xfrm>
                    <a:off x="7235194" y="3327035"/>
                    <a:ext cx="11925" cy="23848"/>
                  </a:xfrm>
                  <a:custGeom>
                    <a:avLst/>
                    <a:gdLst>
                      <a:gd name="T0" fmla="*/ 2147483647 w 15"/>
                      <a:gd name="T1" fmla="*/ 0 h 28"/>
                      <a:gd name="T2" fmla="*/ 2147483647 w 15"/>
                      <a:gd name="T3" fmla="*/ 2147483647 h 28"/>
                      <a:gd name="T4" fmla="*/ 2147483647 w 15"/>
                      <a:gd name="T5" fmla="*/ 2147483647 h 28"/>
                      <a:gd name="T6" fmla="*/ 2033064304 w 15"/>
                      <a:gd name="T7" fmla="*/ 2147483647 h 28"/>
                      <a:gd name="T8" fmla="*/ 813445092 w 15"/>
                      <a:gd name="T9" fmla="*/ 2147483647 h 28"/>
                      <a:gd name="T10" fmla="*/ 2147483647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0"/>
                        </a:moveTo>
                        <a:cubicBezTo>
                          <a:pt x="14" y="0"/>
                          <a:pt x="15" y="10"/>
                          <a:pt x="14" y="14"/>
                        </a:cubicBezTo>
                        <a:cubicBezTo>
                          <a:pt x="13" y="18"/>
                          <a:pt x="15" y="28"/>
                          <a:pt x="9" y="28"/>
                        </a:cubicBezTo>
                        <a:cubicBezTo>
                          <a:pt x="4" y="27"/>
                          <a:pt x="5" y="21"/>
                          <a:pt x="5" y="18"/>
                        </a:cubicBezTo>
                        <a:cubicBezTo>
                          <a:pt x="5" y="14"/>
                          <a:pt x="0" y="14"/>
                          <a:pt x="2" y="8"/>
                        </a:cubicBezTo>
                        <a:close/>
                      </a:path>
                    </a:pathLst>
                  </a:custGeom>
                  <a:grpFill/>
                  <a:ln w="3175">
                    <a:solidFill>
                      <a:schemeClr val="bg1">
                        <a:lumMod val="85000"/>
                      </a:schemeClr>
                    </a:solidFill>
                    <a:round/>
                    <a:headEnd/>
                    <a:tailEnd/>
                  </a:ln>
                </p:spPr>
                <p:txBody>
                  <a:bodyPr/>
                  <a:lstStyle/>
                  <a:p>
                    <a:endParaRPr lang="en-US" dirty="0">
                      <a:latin typeface="Calibri" pitchFamily="34" charset="0"/>
                      <a:cs typeface="Calibri" pitchFamily="34" charset="0"/>
                    </a:endParaRPr>
                  </a:p>
                </p:txBody>
              </p:sp>
            </p:grpSp>
            <p:grpSp>
              <p:nvGrpSpPr>
                <p:cNvPr id="388" name="Gruppieren 307">
                  <a:extLst>
                    <a:ext uri="{FF2B5EF4-FFF2-40B4-BE49-F238E27FC236}">
                      <a16:creationId xmlns:a16="http://schemas.microsoft.com/office/drawing/2014/main" id="{3A0F49AD-6A01-43FC-92FA-4E3FBA490336}"/>
                    </a:ext>
                  </a:extLst>
                </p:cNvPr>
                <p:cNvGrpSpPr/>
                <p:nvPr/>
              </p:nvGrpSpPr>
              <p:grpSpPr>
                <a:xfrm>
                  <a:off x="5237308" y="2002154"/>
                  <a:ext cx="992181" cy="652977"/>
                  <a:chOff x="6855307" y="2667798"/>
                  <a:chExt cx="1136255" cy="747816"/>
                </a:xfrm>
                <a:solidFill>
                  <a:schemeClr val="bg1">
                    <a:lumMod val="85000"/>
                  </a:schemeClr>
                </a:solidFill>
              </p:grpSpPr>
              <p:sp>
                <p:nvSpPr>
                  <p:cNvPr id="464" name="Uzbekistan">
                    <a:extLst>
                      <a:ext uri="{FF2B5EF4-FFF2-40B4-BE49-F238E27FC236}">
                        <a16:creationId xmlns:a16="http://schemas.microsoft.com/office/drawing/2014/main" id="{C5DE1825-0285-4F5B-B41C-4DF47F76A42F}"/>
                      </a:ext>
                    </a:extLst>
                  </p:cNvPr>
                  <p:cNvSpPr>
                    <a:spLocks/>
                  </p:cNvSpPr>
                  <p:nvPr/>
                </p:nvSpPr>
                <p:spPr bwMode="gray">
                  <a:xfrm>
                    <a:off x="7288003" y="2667798"/>
                    <a:ext cx="512763" cy="287884"/>
                  </a:xfrm>
                  <a:custGeom>
                    <a:avLst/>
                    <a:gdLst>
                      <a:gd name="T0" fmla="*/ 2147483647 w 1182"/>
                      <a:gd name="T1" fmla="*/ 2147483647 h 666"/>
                      <a:gd name="T2" fmla="*/ 2147483647 w 1182"/>
                      <a:gd name="T3" fmla="*/ 2147483647 h 666"/>
                      <a:gd name="T4" fmla="*/ 2147483647 w 1182"/>
                      <a:gd name="T5" fmla="*/ 2147483647 h 666"/>
                      <a:gd name="T6" fmla="*/ 2147483647 w 1182"/>
                      <a:gd name="T7" fmla="*/ 2147483647 h 666"/>
                      <a:gd name="T8" fmla="*/ 2147483647 w 1182"/>
                      <a:gd name="T9" fmla="*/ 2147483647 h 666"/>
                      <a:gd name="T10" fmla="*/ 2147483647 w 1182"/>
                      <a:gd name="T11" fmla="*/ 2147483647 h 666"/>
                      <a:gd name="T12" fmla="*/ 2147483647 w 1182"/>
                      <a:gd name="T13" fmla="*/ 2147483647 h 666"/>
                      <a:gd name="T14" fmla="*/ 2147483647 w 1182"/>
                      <a:gd name="T15" fmla="*/ 2147483647 h 666"/>
                      <a:gd name="T16" fmla="*/ 2147483647 w 1182"/>
                      <a:gd name="T17" fmla="*/ 2147483647 h 666"/>
                      <a:gd name="T18" fmla="*/ 2147483647 w 1182"/>
                      <a:gd name="T19" fmla="*/ 2147483647 h 666"/>
                      <a:gd name="T20" fmla="*/ 2147483647 w 1182"/>
                      <a:gd name="T21" fmla="*/ 2147483647 h 666"/>
                      <a:gd name="T22" fmla="*/ 2147483647 w 1182"/>
                      <a:gd name="T23" fmla="*/ 2147483647 h 666"/>
                      <a:gd name="T24" fmla="*/ 2147483647 w 1182"/>
                      <a:gd name="T25" fmla="*/ 2147483647 h 666"/>
                      <a:gd name="T26" fmla="*/ 2147483647 w 1182"/>
                      <a:gd name="T27" fmla="*/ 2147483647 h 666"/>
                      <a:gd name="T28" fmla="*/ 2147483647 w 1182"/>
                      <a:gd name="T29" fmla="*/ 2147483647 h 666"/>
                      <a:gd name="T30" fmla="*/ 2147483647 w 1182"/>
                      <a:gd name="T31" fmla="*/ 2147483647 h 666"/>
                      <a:gd name="T32" fmla="*/ 2147483647 w 1182"/>
                      <a:gd name="T33" fmla="*/ 2147483647 h 666"/>
                      <a:gd name="T34" fmla="*/ 2147483647 w 1182"/>
                      <a:gd name="T35" fmla="*/ 2147483647 h 666"/>
                      <a:gd name="T36" fmla="*/ 2147483647 w 1182"/>
                      <a:gd name="T37" fmla="*/ 2147483647 h 666"/>
                      <a:gd name="T38" fmla="*/ 2147483647 w 1182"/>
                      <a:gd name="T39" fmla="*/ 2147483647 h 666"/>
                      <a:gd name="T40" fmla="*/ 2147483647 w 1182"/>
                      <a:gd name="T41" fmla="*/ 2147483647 h 666"/>
                      <a:gd name="T42" fmla="*/ 2147483647 w 1182"/>
                      <a:gd name="T43" fmla="*/ 2147483647 h 666"/>
                      <a:gd name="T44" fmla="*/ 2147483647 w 1182"/>
                      <a:gd name="T45" fmla="*/ 2147483647 h 666"/>
                      <a:gd name="T46" fmla="*/ 2147483647 w 1182"/>
                      <a:gd name="T47" fmla="*/ 2147483647 h 666"/>
                      <a:gd name="T48" fmla="*/ 2147483647 w 1182"/>
                      <a:gd name="T49" fmla="*/ 2147483647 h 666"/>
                      <a:gd name="T50" fmla="*/ 2147483647 w 1182"/>
                      <a:gd name="T51" fmla="*/ 2147483647 h 666"/>
                      <a:gd name="T52" fmla="*/ 2147483647 w 1182"/>
                      <a:gd name="T53" fmla="*/ 2147483647 h 666"/>
                      <a:gd name="T54" fmla="*/ 2147483647 w 1182"/>
                      <a:gd name="T55" fmla="*/ 2147483647 h 666"/>
                      <a:gd name="T56" fmla="*/ 2147483647 w 1182"/>
                      <a:gd name="T57" fmla="*/ 2147483647 h 666"/>
                      <a:gd name="T58" fmla="*/ 2147483647 w 1182"/>
                      <a:gd name="T59" fmla="*/ 2147483647 h 666"/>
                      <a:gd name="T60" fmla="*/ 2147483647 w 1182"/>
                      <a:gd name="T61" fmla="*/ 2147483647 h 666"/>
                      <a:gd name="T62" fmla="*/ 2147483647 w 1182"/>
                      <a:gd name="T63" fmla="*/ 2147483647 h 666"/>
                      <a:gd name="T64" fmla="*/ 2147483647 w 1182"/>
                      <a:gd name="T65" fmla="*/ 2147483647 h 666"/>
                      <a:gd name="T66" fmla="*/ 2147483647 w 1182"/>
                      <a:gd name="T67" fmla="*/ 2147483647 h 666"/>
                      <a:gd name="T68" fmla="*/ 2147483647 w 1182"/>
                      <a:gd name="T69" fmla="*/ 2147483647 h 666"/>
                      <a:gd name="T70" fmla="*/ 2147483647 w 1182"/>
                      <a:gd name="T71" fmla="*/ 2147483647 h 666"/>
                      <a:gd name="T72" fmla="*/ 2147483647 w 1182"/>
                      <a:gd name="T73" fmla="*/ 2147483647 h 666"/>
                      <a:gd name="T74" fmla="*/ 2147483647 w 1182"/>
                      <a:gd name="T75" fmla="*/ 2147483647 h 666"/>
                      <a:gd name="T76" fmla="*/ 2147483647 w 1182"/>
                      <a:gd name="T77" fmla="*/ 2147483647 h 666"/>
                      <a:gd name="T78" fmla="*/ 2147483647 w 1182"/>
                      <a:gd name="T79" fmla="*/ 2147483647 h 666"/>
                      <a:gd name="T80" fmla="*/ 2147483647 w 1182"/>
                      <a:gd name="T81" fmla="*/ 2147483647 h 666"/>
                      <a:gd name="T82" fmla="*/ 2147483647 w 1182"/>
                      <a:gd name="T83" fmla="*/ 2147483647 h 666"/>
                      <a:gd name="T84" fmla="*/ 2147483647 w 1182"/>
                      <a:gd name="T85" fmla="*/ 2147483647 h 666"/>
                      <a:gd name="T86" fmla="*/ 2147483647 w 1182"/>
                      <a:gd name="T87" fmla="*/ 2147483647 h 666"/>
                      <a:gd name="T88" fmla="*/ 2147483647 w 1182"/>
                      <a:gd name="T89" fmla="*/ 2147483647 h 666"/>
                      <a:gd name="T90" fmla="*/ 2147483647 w 1182"/>
                      <a:gd name="T91" fmla="*/ 2147483647 h 666"/>
                      <a:gd name="T92" fmla="*/ 2147483647 w 1182"/>
                      <a:gd name="T93" fmla="*/ 2147483647 h 666"/>
                      <a:gd name="T94" fmla="*/ 2147483647 w 1182"/>
                      <a:gd name="T95" fmla="*/ 2147483647 h 666"/>
                      <a:gd name="T96" fmla="*/ 2147483647 w 1182"/>
                      <a:gd name="T97" fmla="*/ 2147483647 h 666"/>
                      <a:gd name="T98" fmla="*/ 2147483647 w 1182"/>
                      <a:gd name="T99" fmla="*/ 2147483647 h 666"/>
                      <a:gd name="T100" fmla="*/ 2147483647 w 1182"/>
                      <a:gd name="T101" fmla="*/ 2147483647 h 666"/>
                      <a:gd name="T102" fmla="*/ 2147483647 w 1182"/>
                      <a:gd name="T103" fmla="*/ 2147483647 h 666"/>
                      <a:gd name="T104" fmla="*/ 2147483647 w 1182"/>
                      <a:gd name="T105" fmla="*/ 2147483647 h 666"/>
                      <a:gd name="T106" fmla="*/ 2147483647 w 1182"/>
                      <a:gd name="T107" fmla="*/ 2147483647 h 666"/>
                      <a:gd name="T108" fmla="*/ 2147483647 w 1182"/>
                      <a:gd name="T109" fmla="*/ 2147483647 h 666"/>
                      <a:gd name="T110" fmla="*/ 2147483647 w 1182"/>
                      <a:gd name="T111" fmla="*/ 2147483647 h 666"/>
                      <a:gd name="T112" fmla="*/ 2147483647 w 1182"/>
                      <a:gd name="T113" fmla="*/ 2147483647 h 666"/>
                      <a:gd name="T114" fmla="*/ 2147483647 w 1182"/>
                      <a:gd name="T115" fmla="*/ 2147483647 h 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2"/>
                      <a:gd name="T175" fmla="*/ 0 h 666"/>
                      <a:gd name="T176" fmla="*/ 1182 w 1182"/>
                      <a:gd name="T177" fmla="*/ 666 h 6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2" h="666">
                        <a:moveTo>
                          <a:pt x="1152" y="372"/>
                        </a:moveTo>
                        <a:lnTo>
                          <a:pt x="1146" y="360"/>
                        </a:lnTo>
                        <a:lnTo>
                          <a:pt x="1122" y="360"/>
                        </a:lnTo>
                        <a:lnTo>
                          <a:pt x="1116" y="342"/>
                        </a:lnTo>
                        <a:lnTo>
                          <a:pt x="1098" y="342"/>
                        </a:lnTo>
                        <a:lnTo>
                          <a:pt x="1080" y="318"/>
                        </a:lnTo>
                        <a:lnTo>
                          <a:pt x="1080" y="330"/>
                        </a:lnTo>
                        <a:lnTo>
                          <a:pt x="1068" y="330"/>
                        </a:lnTo>
                        <a:lnTo>
                          <a:pt x="1068" y="342"/>
                        </a:lnTo>
                        <a:lnTo>
                          <a:pt x="1032" y="342"/>
                        </a:lnTo>
                        <a:lnTo>
                          <a:pt x="1020" y="330"/>
                        </a:lnTo>
                        <a:lnTo>
                          <a:pt x="990" y="318"/>
                        </a:lnTo>
                        <a:lnTo>
                          <a:pt x="1038" y="270"/>
                        </a:lnTo>
                        <a:lnTo>
                          <a:pt x="1038" y="264"/>
                        </a:lnTo>
                        <a:lnTo>
                          <a:pt x="1032" y="264"/>
                        </a:lnTo>
                        <a:lnTo>
                          <a:pt x="1032" y="258"/>
                        </a:lnTo>
                        <a:lnTo>
                          <a:pt x="1002" y="276"/>
                        </a:lnTo>
                        <a:lnTo>
                          <a:pt x="978" y="276"/>
                        </a:lnTo>
                        <a:lnTo>
                          <a:pt x="966" y="300"/>
                        </a:lnTo>
                        <a:lnTo>
                          <a:pt x="960" y="300"/>
                        </a:lnTo>
                        <a:lnTo>
                          <a:pt x="954" y="306"/>
                        </a:lnTo>
                        <a:lnTo>
                          <a:pt x="942" y="306"/>
                        </a:lnTo>
                        <a:lnTo>
                          <a:pt x="930" y="312"/>
                        </a:lnTo>
                        <a:lnTo>
                          <a:pt x="918" y="324"/>
                        </a:lnTo>
                        <a:lnTo>
                          <a:pt x="918" y="342"/>
                        </a:lnTo>
                        <a:lnTo>
                          <a:pt x="912" y="342"/>
                        </a:lnTo>
                        <a:lnTo>
                          <a:pt x="906" y="348"/>
                        </a:lnTo>
                        <a:lnTo>
                          <a:pt x="894" y="354"/>
                        </a:lnTo>
                        <a:lnTo>
                          <a:pt x="882" y="366"/>
                        </a:lnTo>
                        <a:lnTo>
                          <a:pt x="882" y="378"/>
                        </a:lnTo>
                        <a:lnTo>
                          <a:pt x="888" y="384"/>
                        </a:lnTo>
                        <a:lnTo>
                          <a:pt x="888" y="396"/>
                        </a:lnTo>
                        <a:lnTo>
                          <a:pt x="882" y="390"/>
                        </a:lnTo>
                        <a:lnTo>
                          <a:pt x="870" y="390"/>
                        </a:lnTo>
                        <a:lnTo>
                          <a:pt x="858" y="384"/>
                        </a:lnTo>
                        <a:lnTo>
                          <a:pt x="852" y="384"/>
                        </a:lnTo>
                        <a:lnTo>
                          <a:pt x="852" y="372"/>
                        </a:lnTo>
                        <a:lnTo>
                          <a:pt x="858" y="366"/>
                        </a:lnTo>
                        <a:lnTo>
                          <a:pt x="858" y="348"/>
                        </a:lnTo>
                        <a:lnTo>
                          <a:pt x="840" y="342"/>
                        </a:lnTo>
                        <a:lnTo>
                          <a:pt x="762" y="342"/>
                        </a:lnTo>
                        <a:lnTo>
                          <a:pt x="732" y="282"/>
                        </a:lnTo>
                        <a:lnTo>
                          <a:pt x="726" y="276"/>
                        </a:lnTo>
                        <a:lnTo>
                          <a:pt x="714" y="276"/>
                        </a:lnTo>
                        <a:lnTo>
                          <a:pt x="708" y="282"/>
                        </a:lnTo>
                        <a:lnTo>
                          <a:pt x="702" y="282"/>
                        </a:lnTo>
                        <a:lnTo>
                          <a:pt x="696" y="276"/>
                        </a:lnTo>
                        <a:lnTo>
                          <a:pt x="696" y="234"/>
                        </a:lnTo>
                        <a:lnTo>
                          <a:pt x="690" y="216"/>
                        </a:lnTo>
                        <a:lnTo>
                          <a:pt x="690" y="204"/>
                        </a:lnTo>
                        <a:lnTo>
                          <a:pt x="660" y="204"/>
                        </a:lnTo>
                        <a:lnTo>
                          <a:pt x="654" y="192"/>
                        </a:lnTo>
                        <a:lnTo>
                          <a:pt x="642" y="186"/>
                        </a:lnTo>
                        <a:lnTo>
                          <a:pt x="636" y="168"/>
                        </a:lnTo>
                        <a:lnTo>
                          <a:pt x="618" y="150"/>
                        </a:lnTo>
                        <a:lnTo>
                          <a:pt x="612" y="138"/>
                        </a:lnTo>
                        <a:lnTo>
                          <a:pt x="600" y="138"/>
                        </a:lnTo>
                        <a:lnTo>
                          <a:pt x="576" y="150"/>
                        </a:lnTo>
                        <a:lnTo>
                          <a:pt x="570" y="156"/>
                        </a:lnTo>
                        <a:lnTo>
                          <a:pt x="552" y="156"/>
                        </a:lnTo>
                        <a:lnTo>
                          <a:pt x="534" y="150"/>
                        </a:lnTo>
                        <a:lnTo>
                          <a:pt x="474" y="150"/>
                        </a:lnTo>
                        <a:lnTo>
                          <a:pt x="456" y="156"/>
                        </a:lnTo>
                        <a:lnTo>
                          <a:pt x="420" y="156"/>
                        </a:lnTo>
                        <a:lnTo>
                          <a:pt x="414" y="162"/>
                        </a:lnTo>
                        <a:lnTo>
                          <a:pt x="408" y="162"/>
                        </a:lnTo>
                        <a:lnTo>
                          <a:pt x="330" y="90"/>
                        </a:lnTo>
                        <a:lnTo>
                          <a:pt x="264" y="54"/>
                        </a:lnTo>
                        <a:lnTo>
                          <a:pt x="270" y="66"/>
                        </a:lnTo>
                        <a:lnTo>
                          <a:pt x="270" y="90"/>
                        </a:lnTo>
                        <a:lnTo>
                          <a:pt x="264" y="102"/>
                        </a:lnTo>
                        <a:lnTo>
                          <a:pt x="258" y="108"/>
                        </a:lnTo>
                        <a:lnTo>
                          <a:pt x="240" y="108"/>
                        </a:lnTo>
                        <a:lnTo>
                          <a:pt x="228" y="102"/>
                        </a:lnTo>
                        <a:lnTo>
                          <a:pt x="222" y="96"/>
                        </a:lnTo>
                        <a:lnTo>
                          <a:pt x="222" y="78"/>
                        </a:lnTo>
                        <a:lnTo>
                          <a:pt x="210" y="54"/>
                        </a:lnTo>
                        <a:lnTo>
                          <a:pt x="216" y="36"/>
                        </a:lnTo>
                        <a:lnTo>
                          <a:pt x="162" y="12"/>
                        </a:lnTo>
                        <a:lnTo>
                          <a:pt x="156" y="30"/>
                        </a:lnTo>
                        <a:lnTo>
                          <a:pt x="168" y="36"/>
                        </a:lnTo>
                        <a:lnTo>
                          <a:pt x="174" y="48"/>
                        </a:lnTo>
                        <a:lnTo>
                          <a:pt x="174" y="72"/>
                        </a:lnTo>
                        <a:lnTo>
                          <a:pt x="168" y="78"/>
                        </a:lnTo>
                        <a:lnTo>
                          <a:pt x="156" y="84"/>
                        </a:lnTo>
                        <a:lnTo>
                          <a:pt x="150" y="84"/>
                        </a:lnTo>
                        <a:lnTo>
                          <a:pt x="144" y="78"/>
                        </a:lnTo>
                        <a:lnTo>
                          <a:pt x="144" y="60"/>
                        </a:lnTo>
                        <a:lnTo>
                          <a:pt x="132" y="48"/>
                        </a:lnTo>
                        <a:lnTo>
                          <a:pt x="132" y="42"/>
                        </a:lnTo>
                        <a:lnTo>
                          <a:pt x="144" y="30"/>
                        </a:lnTo>
                        <a:lnTo>
                          <a:pt x="150" y="6"/>
                        </a:lnTo>
                        <a:lnTo>
                          <a:pt x="144" y="0"/>
                        </a:lnTo>
                        <a:lnTo>
                          <a:pt x="0" y="42"/>
                        </a:lnTo>
                        <a:lnTo>
                          <a:pt x="48" y="324"/>
                        </a:lnTo>
                        <a:lnTo>
                          <a:pt x="60" y="324"/>
                        </a:lnTo>
                        <a:lnTo>
                          <a:pt x="72" y="336"/>
                        </a:lnTo>
                        <a:lnTo>
                          <a:pt x="138" y="336"/>
                        </a:lnTo>
                        <a:lnTo>
                          <a:pt x="132" y="324"/>
                        </a:lnTo>
                        <a:lnTo>
                          <a:pt x="120" y="318"/>
                        </a:lnTo>
                        <a:lnTo>
                          <a:pt x="114" y="300"/>
                        </a:lnTo>
                        <a:lnTo>
                          <a:pt x="114" y="288"/>
                        </a:lnTo>
                        <a:lnTo>
                          <a:pt x="132" y="270"/>
                        </a:lnTo>
                        <a:lnTo>
                          <a:pt x="144" y="264"/>
                        </a:lnTo>
                        <a:lnTo>
                          <a:pt x="156" y="264"/>
                        </a:lnTo>
                        <a:lnTo>
                          <a:pt x="162" y="258"/>
                        </a:lnTo>
                        <a:lnTo>
                          <a:pt x="168" y="258"/>
                        </a:lnTo>
                        <a:lnTo>
                          <a:pt x="168" y="246"/>
                        </a:lnTo>
                        <a:lnTo>
                          <a:pt x="174" y="240"/>
                        </a:lnTo>
                        <a:lnTo>
                          <a:pt x="180" y="240"/>
                        </a:lnTo>
                        <a:lnTo>
                          <a:pt x="186" y="246"/>
                        </a:lnTo>
                        <a:lnTo>
                          <a:pt x="198" y="246"/>
                        </a:lnTo>
                        <a:lnTo>
                          <a:pt x="204" y="252"/>
                        </a:lnTo>
                        <a:lnTo>
                          <a:pt x="174" y="222"/>
                        </a:lnTo>
                        <a:lnTo>
                          <a:pt x="204" y="228"/>
                        </a:lnTo>
                        <a:lnTo>
                          <a:pt x="210" y="216"/>
                        </a:lnTo>
                        <a:lnTo>
                          <a:pt x="228" y="240"/>
                        </a:lnTo>
                        <a:lnTo>
                          <a:pt x="252" y="240"/>
                        </a:lnTo>
                        <a:lnTo>
                          <a:pt x="252" y="252"/>
                        </a:lnTo>
                        <a:lnTo>
                          <a:pt x="264" y="258"/>
                        </a:lnTo>
                        <a:lnTo>
                          <a:pt x="300" y="258"/>
                        </a:lnTo>
                        <a:lnTo>
                          <a:pt x="306" y="264"/>
                        </a:lnTo>
                        <a:lnTo>
                          <a:pt x="312" y="276"/>
                        </a:lnTo>
                        <a:lnTo>
                          <a:pt x="312" y="288"/>
                        </a:lnTo>
                        <a:lnTo>
                          <a:pt x="324" y="294"/>
                        </a:lnTo>
                        <a:lnTo>
                          <a:pt x="312" y="306"/>
                        </a:lnTo>
                        <a:lnTo>
                          <a:pt x="312" y="318"/>
                        </a:lnTo>
                        <a:lnTo>
                          <a:pt x="330" y="336"/>
                        </a:lnTo>
                        <a:lnTo>
                          <a:pt x="360" y="336"/>
                        </a:lnTo>
                        <a:lnTo>
                          <a:pt x="414" y="342"/>
                        </a:lnTo>
                        <a:lnTo>
                          <a:pt x="414" y="336"/>
                        </a:lnTo>
                        <a:lnTo>
                          <a:pt x="450" y="354"/>
                        </a:lnTo>
                        <a:lnTo>
                          <a:pt x="468" y="384"/>
                        </a:lnTo>
                        <a:lnTo>
                          <a:pt x="486" y="402"/>
                        </a:lnTo>
                        <a:lnTo>
                          <a:pt x="486" y="408"/>
                        </a:lnTo>
                        <a:lnTo>
                          <a:pt x="492" y="414"/>
                        </a:lnTo>
                        <a:lnTo>
                          <a:pt x="510" y="450"/>
                        </a:lnTo>
                        <a:lnTo>
                          <a:pt x="522" y="462"/>
                        </a:lnTo>
                        <a:lnTo>
                          <a:pt x="534" y="468"/>
                        </a:lnTo>
                        <a:lnTo>
                          <a:pt x="552" y="468"/>
                        </a:lnTo>
                        <a:lnTo>
                          <a:pt x="564" y="474"/>
                        </a:lnTo>
                        <a:lnTo>
                          <a:pt x="570" y="474"/>
                        </a:lnTo>
                        <a:lnTo>
                          <a:pt x="582" y="486"/>
                        </a:lnTo>
                        <a:lnTo>
                          <a:pt x="588" y="498"/>
                        </a:lnTo>
                        <a:lnTo>
                          <a:pt x="594" y="504"/>
                        </a:lnTo>
                        <a:lnTo>
                          <a:pt x="624" y="522"/>
                        </a:lnTo>
                        <a:lnTo>
                          <a:pt x="648" y="522"/>
                        </a:lnTo>
                        <a:lnTo>
                          <a:pt x="666" y="534"/>
                        </a:lnTo>
                        <a:lnTo>
                          <a:pt x="690" y="546"/>
                        </a:lnTo>
                        <a:lnTo>
                          <a:pt x="696" y="552"/>
                        </a:lnTo>
                        <a:lnTo>
                          <a:pt x="708" y="558"/>
                        </a:lnTo>
                        <a:lnTo>
                          <a:pt x="720" y="570"/>
                        </a:lnTo>
                        <a:lnTo>
                          <a:pt x="732" y="570"/>
                        </a:lnTo>
                        <a:lnTo>
                          <a:pt x="744" y="582"/>
                        </a:lnTo>
                        <a:lnTo>
                          <a:pt x="750" y="582"/>
                        </a:lnTo>
                        <a:lnTo>
                          <a:pt x="774" y="576"/>
                        </a:lnTo>
                        <a:lnTo>
                          <a:pt x="822" y="606"/>
                        </a:lnTo>
                        <a:lnTo>
                          <a:pt x="816" y="612"/>
                        </a:lnTo>
                        <a:lnTo>
                          <a:pt x="816" y="630"/>
                        </a:lnTo>
                        <a:lnTo>
                          <a:pt x="828" y="642"/>
                        </a:lnTo>
                        <a:lnTo>
                          <a:pt x="828" y="654"/>
                        </a:lnTo>
                        <a:lnTo>
                          <a:pt x="840" y="654"/>
                        </a:lnTo>
                        <a:lnTo>
                          <a:pt x="852" y="642"/>
                        </a:lnTo>
                        <a:lnTo>
                          <a:pt x="870" y="666"/>
                        </a:lnTo>
                        <a:lnTo>
                          <a:pt x="882" y="660"/>
                        </a:lnTo>
                        <a:lnTo>
                          <a:pt x="894" y="660"/>
                        </a:lnTo>
                        <a:lnTo>
                          <a:pt x="900" y="666"/>
                        </a:lnTo>
                        <a:lnTo>
                          <a:pt x="906" y="666"/>
                        </a:lnTo>
                        <a:lnTo>
                          <a:pt x="900" y="666"/>
                        </a:lnTo>
                        <a:lnTo>
                          <a:pt x="900" y="642"/>
                        </a:lnTo>
                        <a:lnTo>
                          <a:pt x="906" y="636"/>
                        </a:lnTo>
                        <a:lnTo>
                          <a:pt x="912" y="624"/>
                        </a:lnTo>
                        <a:lnTo>
                          <a:pt x="924" y="618"/>
                        </a:lnTo>
                        <a:lnTo>
                          <a:pt x="930" y="606"/>
                        </a:lnTo>
                        <a:lnTo>
                          <a:pt x="930" y="588"/>
                        </a:lnTo>
                        <a:lnTo>
                          <a:pt x="918" y="576"/>
                        </a:lnTo>
                        <a:lnTo>
                          <a:pt x="906" y="570"/>
                        </a:lnTo>
                        <a:lnTo>
                          <a:pt x="900" y="564"/>
                        </a:lnTo>
                        <a:lnTo>
                          <a:pt x="900" y="546"/>
                        </a:lnTo>
                        <a:lnTo>
                          <a:pt x="906" y="540"/>
                        </a:lnTo>
                        <a:lnTo>
                          <a:pt x="906" y="534"/>
                        </a:lnTo>
                        <a:lnTo>
                          <a:pt x="894" y="522"/>
                        </a:lnTo>
                        <a:lnTo>
                          <a:pt x="882" y="522"/>
                        </a:lnTo>
                        <a:lnTo>
                          <a:pt x="876" y="516"/>
                        </a:lnTo>
                        <a:lnTo>
                          <a:pt x="870" y="516"/>
                        </a:lnTo>
                        <a:lnTo>
                          <a:pt x="858" y="504"/>
                        </a:lnTo>
                        <a:lnTo>
                          <a:pt x="840" y="504"/>
                        </a:lnTo>
                        <a:lnTo>
                          <a:pt x="840" y="486"/>
                        </a:lnTo>
                        <a:lnTo>
                          <a:pt x="846" y="480"/>
                        </a:lnTo>
                        <a:lnTo>
                          <a:pt x="894" y="480"/>
                        </a:lnTo>
                        <a:lnTo>
                          <a:pt x="918" y="468"/>
                        </a:lnTo>
                        <a:lnTo>
                          <a:pt x="918" y="456"/>
                        </a:lnTo>
                        <a:lnTo>
                          <a:pt x="912" y="456"/>
                        </a:lnTo>
                        <a:lnTo>
                          <a:pt x="930" y="444"/>
                        </a:lnTo>
                        <a:lnTo>
                          <a:pt x="906" y="420"/>
                        </a:lnTo>
                        <a:lnTo>
                          <a:pt x="948" y="420"/>
                        </a:lnTo>
                        <a:lnTo>
                          <a:pt x="948" y="414"/>
                        </a:lnTo>
                        <a:lnTo>
                          <a:pt x="936" y="402"/>
                        </a:lnTo>
                        <a:lnTo>
                          <a:pt x="936" y="390"/>
                        </a:lnTo>
                        <a:lnTo>
                          <a:pt x="942" y="384"/>
                        </a:lnTo>
                        <a:lnTo>
                          <a:pt x="942" y="372"/>
                        </a:lnTo>
                        <a:lnTo>
                          <a:pt x="954" y="372"/>
                        </a:lnTo>
                        <a:lnTo>
                          <a:pt x="972" y="390"/>
                        </a:lnTo>
                        <a:lnTo>
                          <a:pt x="978" y="390"/>
                        </a:lnTo>
                        <a:lnTo>
                          <a:pt x="984" y="378"/>
                        </a:lnTo>
                        <a:lnTo>
                          <a:pt x="996" y="372"/>
                        </a:lnTo>
                        <a:lnTo>
                          <a:pt x="1002" y="360"/>
                        </a:lnTo>
                        <a:lnTo>
                          <a:pt x="1020" y="360"/>
                        </a:lnTo>
                        <a:lnTo>
                          <a:pt x="1032" y="366"/>
                        </a:lnTo>
                        <a:lnTo>
                          <a:pt x="1038" y="372"/>
                        </a:lnTo>
                        <a:lnTo>
                          <a:pt x="1014" y="408"/>
                        </a:lnTo>
                        <a:lnTo>
                          <a:pt x="1026" y="408"/>
                        </a:lnTo>
                        <a:lnTo>
                          <a:pt x="1032" y="414"/>
                        </a:lnTo>
                        <a:lnTo>
                          <a:pt x="1044" y="414"/>
                        </a:lnTo>
                        <a:lnTo>
                          <a:pt x="1050" y="420"/>
                        </a:lnTo>
                        <a:lnTo>
                          <a:pt x="1056" y="420"/>
                        </a:lnTo>
                        <a:lnTo>
                          <a:pt x="1068" y="414"/>
                        </a:lnTo>
                        <a:lnTo>
                          <a:pt x="1086" y="414"/>
                        </a:lnTo>
                        <a:lnTo>
                          <a:pt x="1092" y="420"/>
                        </a:lnTo>
                        <a:lnTo>
                          <a:pt x="1098" y="420"/>
                        </a:lnTo>
                        <a:lnTo>
                          <a:pt x="1104" y="426"/>
                        </a:lnTo>
                        <a:lnTo>
                          <a:pt x="1110" y="426"/>
                        </a:lnTo>
                        <a:lnTo>
                          <a:pt x="1128" y="408"/>
                        </a:lnTo>
                        <a:lnTo>
                          <a:pt x="1146" y="402"/>
                        </a:lnTo>
                        <a:lnTo>
                          <a:pt x="1146" y="396"/>
                        </a:lnTo>
                        <a:lnTo>
                          <a:pt x="1158" y="396"/>
                        </a:lnTo>
                        <a:lnTo>
                          <a:pt x="1170" y="390"/>
                        </a:lnTo>
                        <a:lnTo>
                          <a:pt x="1182" y="378"/>
                        </a:lnTo>
                        <a:lnTo>
                          <a:pt x="1182" y="366"/>
                        </a:lnTo>
                        <a:lnTo>
                          <a:pt x="1170" y="366"/>
                        </a:lnTo>
                        <a:lnTo>
                          <a:pt x="1158" y="372"/>
                        </a:lnTo>
                        <a:lnTo>
                          <a:pt x="1152" y="372"/>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5" name="Turkmenistan">
                    <a:extLst>
                      <a:ext uri="{FF2B5EF4-FFF2-40B4-BE49-F238E27FC236}">
                        <a16:creationId xmlns:a16="http://schemas.microsoft.com/office/drawing/2014/main" id="{24B769E1-C378-4D72-8F51-97C6A3D8B725}"/>
                      </a:ext>
                    </a:extLst>
                  </p:cNvPr>
                  <p:cNvSpPr>
                    <a:spLocks/>
                  </p:cNvSpPr>
                  <p:nvPr/>
                </p:nvSpPr>
                <p:spPr bwMode="gray">
                  <a:xfrm>
                    <a:off x="7211345" y="2761488"/>
                    <a:ext cx="434401" cy="260629"/>
                  </a:xfrm>
                  <a:custGeom>
                    <a:avLst/>
                    <a:gdLst>
                      <a:gd name="T0" fmla="*/ 2147483647 w 1008"/>
                      <a:gd name="T1" fmla="*/ 2147483647 h 606"/>
                      <a:gd name="T2" fmla="*/ 2147483647 w 1008"/>
                      <a:gd name="T3" fmla="*/ 2147483647 h 606"/>
                      <a:gd name="T4" fmla="*/ 2147483647 w 1008"/>
                      <a:gd name="T5" fmla="*/ 2147483647 h 606"/>
                      <a:gd name="T6" fmla="*/ 2147483647 w 1008"/>
                      <a:gd name="T7" fmla="*/ 2147483647 h 606"/>
                      <a:gd name="T8" fmla="*/ 2147483647 w 1008"/>
                      <a:gd name="T9" fmla="*/ 2147483647 h 606"/>
                      <a:gd name="T10" fmla="*/ 2147483647 w 1008"/>
                      <a:gd name="T11" fmla="*/ 2147483647 h 606"/>
                      <a:gd name="T12" fmla="*/ 2147483647 w 1008"/>
                      <a:gd name="T13" fmla="*/ 2147483647 h 606"/>
                      <a:gd name="T14" fmla="*/ 2147483647 w 1008"/>
                      <a:gd name="T15" fmla="*/ 2147483647 h 606"/>
                      <a:gd name="T16" fmla="*/ 2147483647 w 1008"/>
                      <a:gd name="T17" fmla="*/ 2147483647 h 606"/>
                      <a:gd name="T18" fmla="*/ 2147483647 w 1008"/>
                      <a:gd name="T19" fmla="*/ 2147483647 h 606"/>
                      <a:gd name="T20" fmla="*/ 2147483647 w 1008"/>
                      <a:gd name="T21" fmla="*/ 2147483647 h 606"/>
                      <a:gd name="T22" fmla="*/ 2147483647 w 1008"/>
                      <a:gd name="T23" fmla="*/ 2147483647 h 606"/>
                      <a:gd name="T24" fmla="*/ 2147483647 w 1008"/>
                      <a:gd name="T25" fmla="*/ 2147483647 h 606"/>
                      <a:gd name="T26" fmla="*/ 2147483647 w 1008"/>
                      <a:gd name="T27" fmla="*/ 2147483647 h 606"/>
                      <a:gd name="T28" fmla="*/ 2147483647 w 1008"/>
                      <a:gd name="T29" fmla="*/ 2147483647 h 606"/>
                      <a:gd name="T30" fmla="*/ 2147483647 w 1008"/>
                      <a:gd name="T31" fmla="*/ 2147483647 h 606"/>
                      <a:gd name="T32" fmla="*/ 2147483647 w 1008"/>
                      <a:gd name="T33" fmla="*/ 2147483647 h 606"/>
                      <a:gd name="T34" fmla="*/ 2147483647 w 1008"/>
                      <a:gd name="T35" fmla="*/ 2147483647 h 606"/>
                      <a:gd name="T36" fmla="*/ 2147483647 w 1008"/>
                      <a:gd name="T37" fmla="*/ 2147483647 h 606"/>
                      <a:gd name="T38" fmla="*/ 2147483647 w 1008"/>
                      <a:gd name="T39" fmla="*/ 2147483647 h 606"/>
                      <a:gd name="T40" fmla="*/ 2147483647 w 1008"/>
                      <a:gd name="T41" fmla="*/ 2147483647 h 606"/>
                      <a:gd name="T42" fmla="*/ 2147483647 w 1008"/>
                      <a:gd name="T43" fmla="*/ 2147483647 h 606"/>
                      <a:gd name="T44" fmla="*/ 2147483647 w 1008"/>
                      <a:gd name="T45" fmla="*/ 2147483647 h 606"/>
                      <a:gd name="T46" fmla="*/ 2147483647 w 1008"/>
                      <a:gd name="T47" fmla="*/ 2147483647 h 606"/>
                      <a:gd name="T48" fmla="*/ 2147483647 w 1008"/>
                      <a:gd name="T49" fmla="*/ 2147483647 h 606"/>
                      <a:gd name="T50" fmla="*/ 2147483647 w 1008"/>
                      <a:gd name="T51" fmla="*/ 2147483647 h 606"/>
                      <a:gd name="T52" fmla="*/ 2147483647 w 1008"/>
                      <a:gd name="T53" fmla="*/ 2147483647 h 606"/>
                      <a:gd name="T54" fmla="*/ 2147483647 w 1008"/>
                      <a:gd name="T55" fmla="*/ 2147483647 h 606"/>
                      <a:gd name="T56" fmla="*/ 2147483647 w 1008"/>
                      <a:gd name="T57" fmla="*/ 2147483647 h 606"/>
                      <a:gd name="T58" fmla="*/ 2147483647 w 1008"/>
                      <a:gd name="T59" fmla="*/ 2147483647 h 606"/>
                      <a:gd name="T60" fmla="*/ 2147483647 w 1008"/>
                      <a:gd name="T61" fmla="*/ 2147483647 h 606"/>
                      <a:gd name="T62" fmla="*/ 2147483647 w 1008"/>
                      <a:gd name="T63" fmla="*/ 2147483647 h 606"/>
                      <a:gd name="T64" fmla="*/ 2147483647 w 1008"/>
                      <a:gd name="T65" fmla="*/ 2147483647 h 606"/>
                      <a:gd name="T66" fmla="*/ 2147483647 w 1008"/>
                      <a:gd name="T67" fmla="*/ 2147483647 h 606"/>
                      <a:gd name="T68" fmla="*/ 2147483647 w 1008"/>
                      <a:gd name="T69" fmla="*/ 2147483647 h 606"/>
                      <a:gd name="T70" fmla="*/ 2147483647 w 1008"/>
                      <a:gd name="T71" fmla="*/ 2147483647 h 606"/>
                      <a:gd name="T72" fmla="*/ 2147483647 w 1008"/>
                      <a:gd name="T73" fmla="*/ 2147483647 h 606"/>
                      <a:gd name="T74" fmla="*/ 2147483647 w 1008"/>
                      <a:gd name="T75" fmla="*/ 2147483647 h 606"/>
                      <a:gd name="T76" fmla="*/ 2147483647 w 1008"/>
                      <a:gd name="T77" fmla="*/ 2147483647 h 606"/>
                      <a:gd name="T78" fmla="*/ 2147483647 w 1008"/>
                      <a:gd name="T79" fmla="*/ 2147483647 h 606"/>
                      <a:gd name="T80" fmla="*/ 2147483647 w 1008"/>
                      <a:gd name="T81" fmla="*/ 2147483647 h 606"/>
                      <a:gd name="T82" fmla="*/ 2147483647 w 1008"/>
                      <a:gd name="T83" fmla="*/ 2147483647 h 606"/>
                      <a:gd name="T84" fmla="*/ 2147483647 w 1008"/>
                      <a:gd name="T85" fmla="*/ 2147483647 h 606"/>
                      <a:gd name="T86" fmla="*/ 2147483647 w 1008"/>
                      <a:gd name="T87" fmla="*/ 2147483647 h 606"/>
                      <a:gd name="T88" fmla="*/ 2147483647 w 1008"/>
                      <a:gd name="T89" fmla="*/ 2147483647 h 606"/>
                      <a:gd name="T90" fmla="*/ 2147483647 w 1008"/>
                      <a:gd name="T91" fmla="*/ 2147483647 h 606"/>
                      <a:gd name="T92" fmla="*/ 2147483647 w 1008"/>
                      <a:gd name="T93" fmla="*/ 2147483647 h 606"/>
                      <a:gd name="T94" fmla="*/ 2147483647 w 1008"/>
                      <a:gd name="T95" fmla="*/ 2147483647 h 606"/>
                      <a:gd name="T96" fmla="*/ 2147483647 w 1008"/>
                      <a:gd name="T97" fmla="*/ 2147483647 h 606"/>
                      <a:gd name="T98" fmla="*/ 2147483647 w 1008"/>
                      <a:gd name="T99" fmla="*/ 2147483647 h 606"/>
                      <a:gd name="T100" fmla="*/ 2147483647 w 1008"/>
                      <a:gd name="T101" fmla="*/ 2147483647 h 606"/>
                      <a:gd name="T102" fmla="*/ 2147483647 w 1008"/>
                      <a:gd name="T103" fmla="*/ 2147483647 h 606"/>
                      <a:gd name="T104" fmla="*/ 0 w 1008"/>
                      <a:gd name="T105" fmla="*/ 2147483647 h 606"/>
                      <a:gd name="T106" fmla="*/ 2147483647 w 1008"/>
                      <a:gd name="T107" fmla="*/ 2147483647 h 606"/>
                      <a:gd name="T108" fmla="*/ 2147483647 w 1008"/>
                      <a:gd name="T109" fmla="*/ 2147483647 h 6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08"/>
                      <a:gd name="T166" fmla="*/ 0 h 606"/>
                      <a:gd name="T167" fmla="*/ 1008 w 1008"/>
                      <a:gd name="T168" fmla="*/ 606 h 6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08" h="606">
                        <a:moveTo>
                          <a:pt x="48" y="150"/>
                        </a:moveTo>
                        <a:lnTo>
                          <a:pt x="48" y="156"/>
                        </a:lnTo>
                        <a:lnTo>
                          <a:pt x="42" y="162"/>
                        </a:lnTo>
                        <a:lnTo>
                          <a:pt x="36" y="174"/>
                        </a:lnTo>
                        <a:lnTo>
                          <a:pt x="36" y="186"/>
                        </a:lnTo>
                        <a:lnTo>
                          <a:pt x="42" y="198"/>
                        </a:lnTo>
                        <a:lnTo>
                          <a:pt x="48" y="204"/>
                        </a:lnTo>
                        <a:lnTo>
                          <a:pt x="54" y="216"/>
                        </a:lnTo>
                        <a:lnTo>
                          <a:pt x="60" y="222"/>
                        </a:lnTo>
                        <a:lnTo>
                          <a:pt x="60" y="228"/>
                        </a:lnTo>
                        <a:lnTo>
                          <a:pt x="90" y="222"/>
                        </a:lnTo>
                        <a:lnTo>
                          <a:pt x="90" y="246"/>
                        </a:lnTo>
                        <a:lnTo>
                          <a:pt x="114" y="258"/>
                        </a:lnTo>
                        <a:lnTo>
                          <a:pt x="90" y="258"/>
                        </a:lnTo>
                        <a:lnTo>
                          <a:pt x="78" y="264"/>
                        </a:lnTo>
                        <a:lnTo>
                          <a:pt x="72" y="264"/>
                        </a:lnTo>
                        <a:lnTo>
                          <a:pt x="72" y="270"/>
                        </a:lnTo>
                        <a:lnTo>
                          <a:pt x="78" y="276"/>
                        </a:lnTo>
                        <a:lnTo>
                          <a:pt x="90" y="276"/>
                        </a:lnTo>
                        <a:lnTo>
                          <a:pt x="96" y="282"/>
                        </a:lnTo>
                        <a:lnTo>
                          <a:pt x="114" y="282"/>
                        </a:lnTo>
                        <a:lnTo>
                          <a:pt x="120" y="288"/>
                        </a:lnTo>
                        <a:lnTo>
                          <a:pt x="126" y="300"/>
                        </a:lnTo>
                        <a:lnTo>
                          <a:pt x="132" y="306"/>
                        </a:lnTo>
                        <a:lnTo>
                          <a:pt x="138" y="354"/>
                        </a:lnTo>
                        <a:lnTo>
                          <a:pt x="150" y="360"/>
                        </a:lnTo>
                        <a:lnTo>
                          <a:pt x="150" y="372"/>
                        </a:lnTo>
                        <a:lnTo>
                          <a:pt x="144" y="378"/>
                        </a:lnTo>
                        <a:lnTo>
                          <a:pt x="144" y="402"/>
                        </a:lnTo>
                        <a:lnTo>
                          <a:pt x="150" y="414"/>
                        </a:lnTo>
                        <a:lnTo>
                          <a:pt x="150" y="426"/>
                        </a:lnTo>
                        <a:lnTo>
                          <a:pt x="156" y="432"/>
                        </a:lnTo>
                        <a:lnTo>
                          <a:pt x="156" y="438"/>
                        </a:lnTo>
                        <a:lnTo>
                          <a:pt x="186" y="438"/>
                        </a:lnTo>
                        <a:lnTo>
                          <a:pt x="198" y="426"/>
                        </a:lnTo>
                        <a:lnTo>
                          <a:pt x="210" y="420"/>
                        </a:lnTo>
                        <a:lnTo>
                          <a:pt x="210" y="408"/>
                        </a:lnTo>
                        <a:lnTo>
                          <a:pt x="216" y="402"/>
                        </a:lnTo>
                        <a:lnTo>
                          <a:pt x="228" y="396"/>
                        </a:lnTo>
                        <a:lnTo>
                          <a:pt x="246" y="378"/>
                        </a:lnTo>
                        <a:lnTo>
                          <a:pt x="258" y="372"/>
                        </a:lnTo>
                        <a:lnTo>
                          <a:pt x="294" y="372"/>
                        </a:lnTo>
                        <a:lnTo>
                          <a:pt x="306" y="378"/>
                        </a:lnTo>
                        <a:lnTo>
                          <a:pt x="312" y="372"/>
                        </a:lnTo>
                        <a:lnTo>
                          <a:pt x="312" y="366"/>
                        </a:lnTo>
                        <a:lnTo>
                          <a:pt x="372" y="366"/>
                        </a:lnTo>
                        <a:lnTo>
                          <a:pt x="384" y="378"/>
                        </a:lnTo>
                        <a:lnTo>
                          <a:pt x="384" y="390"/>
                        </a:lnTo>
                        <a:lnTo>
                          <a:pt x="414" y="390"/>
                        </a:lnTo>
                        <a:lnTo>
                          <a:pt x="420" y="396"/>
                        </a:lnTo>
                        <a:lnTo>
                          <a:pt x="432" y="402"/>
                        </a:lnTo>
                        <a:lnTo>
                          <a:pt x="438" y="408"/>
                        </a:lnTo>
                        <a:lnTo>
                          <a:pt x="450" y="414"/>
                        </a:lnTo>
                        <a:lnTo>
                          <a:pt x="450" y="408"/>
                        </a:lnTo>
                        <a:lnTo>
                          <a:pt x="468" y="408"/>
                        </a:lnTo>
                        <a:lnTo>
                          <a:pt x="480" y="414"/>
                        </a:lnTo>
                        <a:lnTo>
                          <a:pt x="498" y="414"/>
                        </a:lnTo>
                        <a:lnTo>
                          <a:pt x="510" y="420"/>
                        </a:lnTo>
                        <a:lnTo>
                          <a:pt x="516" y="420"/>
                        </a:lnTo>
                        <a:lnTo>
                          <a:pt x="522" y="426"/>
                        </a:lnTo>
                        <a:lnTo>
                          <a:pt x="522" y="432"/>
                        </a:lnTo>
                        <a:lnTo>
                          <a:pt x="528" y="444"/>
                        </a:lnTo>
                        <a:lnTo>
                          <a:pt x="534" y="450"/>
                        </a:lnTo>
                        <a:lnTo>
                          <a:pt x="540" y="450"/>
                        </a:lnTo>
                        <a:lnTo>
                          <a:pt x="546" y="456"/>
                        </a:lnTo>
                        <a:lnTo>
                          <a:pt x="558" y="456"/>
                        </a:lnTo>
                        <a:lnTo>
                          <a:pt x="570" y="468"/>
                        </a:lnTo>
                        <a:lnTo>
                          <a:pt x="582" y="474"/>
                        </a:lnTo>
                        <a:lnTo>
                          <a:pt x="588" y="486"/>
                        </a:lnTo>
                        <a:lnTo>
                          <a:pt x="594" y="492"/>
                        </a:lnTo>
                        <a:lnTo>
                          <a:pt x="660" y="486"/>
                        </a:lnTo>
                        <a:lnTo>
                          <a:pt x="660" y="522"/>
                        </a:lnTo>
                        <a:lnTo>
                          <a:pt x="672" y="522"/>
                        </a:lnTo>
                        <a:lnTo>
                          <a:pt x="666" y="546"/>
                        </a:lnTo>
                        <a:lnTo>
                          <a:pt x="678" y="576"/>
                        </a:lnTo>
                        <a:lnTo>
                          <a:pt x="684" y="582"/>
                        </a:lnTo>
                        <a:lnTo>
                          <a:pt x="696" y="582"/>
                        </a:lnTo>
                        <a:lnTo>
                          <a:pt x="702" y="588"/>
                        </a:lnTo>
                        <a:lnTo>
                          <a:pt x="714" y="588"/>
                        </a:lnTo>
                        <a:lnTo>
                          <a:pt x="720" y="582"/>
                        </a:lnTo>
                        <a:lnTo>
                          <a:pt x="726" y="582"/>
                        </a:lnTo>
                        <a:lnTo>
                          <a:pt x="750" y="606"/>
                        </a:lnTo>
                        <a:lnTo>
                          <a:pt x="774" y="606"/>
                        </a:lnTo>
                        <a:lnTo>
                          <a:pt x="786" y="600"/>
                        </a:lnTo>
                        <a:lnTo>
                          <a:pt x="792" y="594"/>
                        </a:lnTo>
                        <a:lnTo>
                          <a:pt x="804" y="570"/>
                        </a:lnTo>
                        <a:lnTo>
                          <a:pt x="804" y="558"/>
                        </a:lnTo>
                        <a:lnTo>
                          <a:pt x="816" y="558"/>
                        </a:lnTo>
                        <a:lnTo>
                          <a:pt x="852" y="540"/>
                        </a:lnTo>
                        <a:lnTo>
                          <a:pt x="858" y="528"/>
                        </a:lnTo>
                        <a:lnTo>
                          <a:pt x="870" y="522"/>
                        </a:lnTo>
                        <a:lnTo>
                          <a:pt x="882" y="522"/>
                        </a:lnTo>
                        <a:lnTo>
                          <a:pt x="882" y="462"/>
                        </a:lnTo>
                        <a:lnTo>
                          <a:pt x="888" y="450"/>
                        </a:lnTo>
                        <a:lnTo>
                          <a:pt x="900" y="444"/>
                        </a:lnTo>
                        <a:lnTo>
                          <a:pt x="936" y="444"/>
                        </a:lnTo>
                        <a:lnTo>
                          <a:pt x="936" y="420"/>
                        </a:lnTo>
                        <a:lnTo>
                          <a:pt x="948" y="420"/>
                        </a:lnTo>
                        <a:lnTo>
                          <a:pt x="960" y="426"/>
                        </a:lnTo>
                        <a:lnTo>
                          <a:pt x="966" y="432"/>
                        </a:lnTo>
                        <a:lnTo>
                          <a:pt x="978" y="438"/>
                        </a:lnTo>
                        <a:lnTo>
                          <a:pt x="1008" y="438"/>
                        </a:lnTo>
                        <a:lnTo>
                          <a:pt x="1008" y="426"/>
                        </a:lnTo>
                        <a:lnTo>
                          <a:pt x="996" y="414"/>
                        </a:lnTo>
                        <a:lnTo>
                          <a:pt x="996" y="396"/>
                        </a:lnTo>
                        <a:lnTo>
                          <a:pt x="1002" y="390"/>
                        </a:lnTo>
                        <a:lnTo>
                          <a:pt x="954" y="360"/>
                        </a:lnTo>
                        <a:lnTo>
                          <a:pt x="930" y="366"/>
                        </a:lnTo>
                        <a:lnTo>
                          <a:pt x="924" y="366"/>
                        </a:lnTo>
                        <a:lnTo>
                          <a:pt x="912" y="354"/>
                        </a:lnTo>
                        <a:lnTo>
                          <a:pt x="900" y="354"/>
                        </a:lnTo>
                        <a:lnTo>
                          <a:pt x="888" y="342"/>
                        </a:lnTo>
                        <a:lnTo>
                          <a:pt x="876" y="336"/>
                        </a:lnTo>
                        <a:lnTo>
                          <a:pt x="870" y="330"/>
                        </a:lnTo>
                        <a:lnTo>
                          <a:pt x="846" y="318"/>
                        </a:lnTo>
                        <a:lnTo>
                          <a:pt x="828" y="306"/>
                        </a:lnTo>
                        <a:lnTo>
                          <a:pt x="804" y="306"/>
                        </a:lnTo>
                        <a:lnTo>
                          <a:pt x="774" y="288"/>
                        </a:lnTo>
                        <a:lnTo>
                          <a:pt x="768" y="282"/>
                        </a:lnTo>
                        <a:lnTo>
                          <a:pt x="762" y="270"/>
                        </a:lnTo>
                        <a:lnTo>
                          <a:pt x="750" y="258"/>
                        </a:lnTo>
                        <a:lnTo>
                          <a:pt x="744" y="258"/>
                        </a:lnTo>
                        <a:lnTo>
                          <a:pt x="732" y="252"/>
                        </a:lnTo>
                        <a:lnTo>
                          <a:pt x="714" y="252"/>
                        </a:lnTo>
                        <a:lnTo>
                          <a:pt x="702" y="246"/>
                        </a:lnTo>
                        <a:lnTo>
                          <a:pt x="690" y="234"/>
                        </a:lnTo>
                        <a:lnTo>
                          <a:pt x="672" y="198"/>
                        </a:lnTo>
                        <a:lnTo>
                          <a:pt x="666" y="192"/>
                        </a:lnTo>
                        <a:lnTo>
                          <a:pt x="666" y="186"/>
                        </a:lnTo>
                        <a:lnTo>
                          <a:pt x="648" y="168"/>
                        </a:lnTo>
                        <a:lnTo>
                          <a:pt x="630" y="138"/>
                        </a:lnTo>
                        <a:lnTo>
                          <a:pt x="594" y="120"/>
                        </a:lnTo>
                        <a:lnTo>
                          <a:pt x="594" y="126"/>
                        </a:lnTo>
                        <a:lnTo>
                          <a:pt x="540" y="120"/>
                        </a:lnTo>
                        <a:lnTo>
                          <a:pt x="510" y="120"/>
                        </a:lnTo>
                        <a:lnTo>
                          <a:pt x="492" y="102"/>
                        </a:lnTo>
                        <a:lnTo>
                          <a:pt x="492" y="90"/>
                        </a:lnTo>
                        <a:lnTo>
                          <a:pt x="504" y="78"/>
                        </a:lnTo>
                        <a:lnTo>
                          <a:pt x="492" y="72"/>
                        </a:lnTo>
                        <a:lnTo>
                          <a:pt x="492" y="60"/>
                        </a:lnTo>
                        <a:lnTo>
                          <a:pt x="486" y="48"/>
                        </a:lnTo>
                        <a:lnTo>
                          <a:pt x="480" y="42"/>
                        </a:lnTo>
                        <a:lnTo>
                          <a:pt x="444" y="42"/>
                        </a:lnTo>
                        <a:lnTo>
                          <a:pt x="432" y="36"/>
                        </a:lnTo>
                        <a:lnTo>
                          <a:pt x="432" y="24"/>
                        </a:lnTo>
                        <a:lnTo>
                          <a:pt x="408" y="24"/>
                        </a:lnTo>
                        <a:lnTo>
                          <a:pt x="390" y="0"/>
                        </a:lnTo>
                        <a:lnTo>
                          <a:pt x="384" y="12"/>
                        </a:lnTo>
                        <a:lnTo>
                          <a:pt x="354" y="6"/>
                        </a:lnTo>
                        <a:lnTo>
                          <a:pt x="384" y="36"/>
                        </a:lnTo>
                        <a:lnTo>
                          <a:pt x="378" y="30"/>
                        </a:lnTo>
                        <a:lnTo>
                          <a:pt x="366" y="30"/>
                        </a:lnTo>
                        <a:lnTo>
                          <a:pt x="360" y="24"/>
                        </a:lnTo>
                        <a:lnTo>
                          <a:pt x="354" y="24"/>
                        </a:lnTo>
                        <a:lnTo>
                          <a:pt x="348" y="30"/>
                        </a:lnTo>
                        <a:lnTo>
                          <a:pt x="348" y="42"/>
                        </a:lnTo>
                        <a:lnTo>
                          <a:pt x="342" y="42"/>
                        </a:lnTo>
                        <a:lnTo>
                          <a:pt x="336" y="48"/>
                        </a:lnTo>
                        <a:lnTo>
                          <a:pt x="324" y="48"/>
                        </a:lnTo>
                        <a:lnTo>
                          <a:pt x="312" y="54"/>
                        </a:lnTo>
                        <a:lnTo>
                          <a:pt x="294" y="72"/>
                        </a:lnTo>
                        <a:lnTo>
                          <a:pt x="294" y="84"/>
                        </a:lnTo>
                        <a:lnTo>
                          <a:pt x="300" y="102"/>
                        </a:lnTo>
                        <a:lnTo>
                          <a:pt x="312" y="108"/>
                        </a:lnTo>
                        <a:lnTo>
                          <a:pt x="318" y="120"/>
                        </a:lnTo>
                        <a:lnTo>
                          <a:pt x="252" y="120"/>
                        </a:lnTo>
                        <a:lnTo>
                          <a:pt x="240" y="108"/>
                        </a:lnTo>
                        <a:lnTo>
                          <a:pt x="228" y="108"/>
                        </a:lnTo>
                        <a:lnTo>
                          <a:pt x="228" y="114"/>
                        </a:lnTo>
                        <a:lnTo>
                          <a:pt x="216" y="126"/>
                        </a:lnTo>
                        <a:lnTo>
                          <a:pt x="210" y="120"/>
                        </a:lnTo>
                        <a:lnTo>
                          <a:pt x="198" y="114"/>
                        </a:lnTo>
                        <a:lnTo>
                          <a:pt x="174" y="90"/>
                        </a:lnTo>
                        <a:lnTo>
                          <a:pt x="168" y="78"/>
                        </a:lnTo>
                        <a:lnTo>
                          <a:pt x="162" y="72"/>
                        </a:lnTo>
                        <a:lnTo>
                          <a:pt x="156" y="60"/>
                        </a:lnTo>
                        <a:lnTo>
                          <a:pt x="144" y="54"/>
                        </a:lnTo>
                        <a:lnTo>
                          <a:pt x="132" y="42"/>
                        </a:lnTo>
                        <a:lnTo>
                          <a:pt x="120" y="42"/>
                        </a:lnTo>
                        <a:lnTo>
                          <a:pt x="96" y="30"/>
                        </a:lnTo>
                        <a:lnTo>
                          <a:pt x="78" y="30"/>
                        </a:lnTo>
                        <a:lnTo>
                          <a:pt x="72" y="36"/>
                        </a:lnTo>
                        <a:lnTo>
                          <a:pt x="72" y="48"/>
                        </a:lnTo>
                        <a:lnTo>
                          <a:pt x="84" y="54"/>
                        </a:lnTo>
                        <a:lnTo>
                          <a:pt x="90" y="54"/>
                        </a:lnTo>
                        <a:lnTo>
                          <a:pt x="90" y="66"/>
                        </a:lnTo>
                        <a:lnTo>
                          <a:pt x="96" y="66"/>
                        </a:lnTo>
                        <a:lnTo>
                          <a:pt x="96" y="72"/>
                        </a:lnTo>
                        <a:lnTo>
                          <a:pt x="102" y="84"/>
                        </a:lnTo>
                        <a:lnTo>
                          <a:pt x="114" y="90"/>
                        </a:lnTo>
                        <a:lnTo>
                          <a:pt x="126" y="102"/>
                        </a:lnTo>
                        <a:lnTo>
                          <a:pt x="138" y="108"/>
                        </a:lnTo>
                        <a:lnTo>
                          <a:pt x="150" y="120"/>
                        </a:lnTo>
                        <a:lnTo>
                          <a:pt x="162" y="126"/>
                        </a:lnTo>
                        <a:lnTo>
                          <a:pt x="162" y="150"/>
                        </a:lnTo>
                        <a:lnTo>
                          <a:pt x="156" y="156"/>
                        </a:lnTo>
                        <a:lnTo>
                          <a:pt x="144" y="156"/>
                        </a:lnTo>
                        <a:lnTo>
                          <a:pt x="132" y="150"/>
                        </a:lnTo>
                        <a:lnTo>
                          <a:pt x="120" y="138"/>
                        </a:lnTo>
                        <a:lnTo>
                          <a:pt x="120" y="162"/>
                        </a:lnTo>
                        <a:lnTo>
                          <a:pt x="78" y="162"/>
                        </a:lnTo>
                        <a:lnTo>
                          <a:pt x="66" y="144"/>
                        </a:lnTo>
                        <a:lnTo>
                          <a:pt x="60" y="150"/>
                        </a:lnTo>
                        <a:lnTo>
                          <a:pt x="48" y="138"/>
                        </a:lnTo>
                        <a:lnTo>
                          <a:pt x="42" y="126"/>
                        </a:lnTo>
                        <a:lnTo>
                          <a:pt x="36" y="120"/>
                        </a:lnTo>
                        <a:lnTo>
                          <a:pt x="36" y="102"/>
                        </a:lnTo>
                        <a:lnTo>
                          <a:pt x="30" y="96"/>
                        </a:lnTo>
                        <a:lnTo>
                          <a:pt x="30" y="84"/>
                        </a:lnTo>
                        <a:lnTo>
                          <a:pt x="24" y="78"/>
                        </a:lnTo>
                        <a:lnTo>
                          <a:pt x="0" y="78"/>
                        </a:lnTo>
                        <a:lnTo>
                          <a:pt x="0" y="84"/>
                        </a:lnTo>
                        <a:lnTo>
                          <a:pt x="6" y="90"/>
                        </a:lnTo>
                        <a:lnTo>
                          <a:pt x="12" y="102"/>
                        </a:lnTo>
                        <a:lnTo>
                          <a:pt x="18" y="108"/>
                        </a:lnTo>
                        <a:lnTo>
                          <a:pt x="24" y="120"/>
                        </a:lnTo>
                        <a:lnTo>
                          <a:pt x="36" y="126"/>
                        </a:lnTo>
                        <a:lnTo>
                          <a:pt x="42" y="138"/>
                        </a:lnTo>
                        <a:lnTo>
                          <a:pt x="48" y="144"/>
                        </a:lnTo>
                        <a:lnTo>
                          <a:pt x="48" y="15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6" name="Tajikistan">
                    <a:extLst>
                      <a:ext uri="{FF2B5EF4-FFF2-40B4-BE49-F238E27FC236}">
                        <a16:creationId xmlns:a16="http://schemas.microsoft.com/office/drawing/2014/main" id="{30333CE7-F596-415E-B906-F9714BF3427A}"/>
                      </a:ext>
                    </a:extLst>
                  </p:cNvPr>
                  <p:cNvSpPr>
                    <a:spLocks/>
                  </p:cNvSpPr>
                  <p:nvPr/>
                </p:nvSpPr>
                <p:spPr bwMode="gray">
                  <a:xfrm>
                    <a:off x="7650856" y="2822812"/>
                    <a:ext cx="238494" cy="151608"/>
                  </a:xfrm>
                  <a:custGeom>
                    <a:avLst/>
                    <a:gdLst>
                      <a:gd name="T0" fmla="*/ 2147483647 w 552"/>
                      <a:gd name="T1" fmla="*/ 2147483647 h 348"/>
                      <a:gd name="T2" fmla="*/ 2147483647 w 552"/>
                      <a:gd name="T3" fmla="*/ 2147483647 h 348"/>
                      <a:gd name="T4" fmla="*/ 2147483647 w 552"/>
                      <a:gd name="T5" fmla="*/ 2147483647 h 348"/>
                      <a:gd name="T6" fmla="*/ 2147483647 w 552"/>
                      <a:gd name="T7" fmla="*/ 2147483647 h 348"/>
                      <a:gd name="T8" fmla="*/ 2147483647 w 552"/>
                      <a:gd name="T9" fmla="*/ 2147483647 h 348"/>
                      <a:gd name="T10" fmla="*/ 2147483647 w 552"/>
                      <a:gd name="T11" fmla="*/ 2147483647 h 348"/>
                      <a:gd name="T12" fmla="*/ 2147483647 w 552"/>
                      <a:gd name="T13" fmla="*/ 2147483647 h 348"/>
                      <a:gd name="T14" fmla="*/ 2147483647 w 552"/>
                      <a:gd name="T15" fmla="*/ 2147483647 h 348"/>
                      <a:gd name="T16" fmla="*/ 2147483647 w 552"/>
                      <a:gd name="T17" fmla="*/ 2147483647 h 348"/>
                      <a:gd name="T18" fmla="*/ 2147483647 w 552"/>
                      <a:gd name="T19" fmla="*/ 2147483647 h 348"/>
                      <a:gd name="T20" fmla="*/ 2147483647 w 552"/>
                      <a:gd name="T21" fmla="*/ 2147483647 h 348"/>
                      <a:gd name="T22" fmla="*/ 2147483647 w 552"/>
                      <a:gd name="T23" fmla="*/ 2147483647 h 348"/>
                      <a:gd name="T24" fmla="*/ 2147483647 w 552"/>
                      <a:gd name="T25" fmla="*/ 2147483647 h 348"/>
                      <a:gd name="T26" fmla="*/ 2147483647 w 552"/>
                      <a:gd name="T27" fmla="*/ 2147483647 h 348"/>
                      <a:gd name="T28" fmla="*/ 2147483647 w 552"/>
                      <a:gd name="T29" fmla="*/ 2147483647 h 348"/>
                      <a:gd name="T30" fmla="*/ 2147483647 w 552"/>
                      <a:gd name="T31" fmla="*/ 2147483647 h 348"/>
                      <a:gd name="T32" fmla="*/ 2147483647 w 552"/>
                      <a:gd name="T33" fmla="*/ 2147483647 h 348"/>
                      <a:gd name="T34" fmla="*/ 2147483647 w 552"/>
                      <a:gd name="T35" fmla="*/ 2147483647 h 348"/>
                      <a:gd name="T36" fmla="*/ 2147483647 w 552"/>
                      <a:gd name="T37" fmla="*/ 2147483647 h 348"/>
                      <a:gd name="T38" fmla="*/ 2147483647 w 552"/>
                      <a:gd name="T39" fmla="*/ 0 h 348"/>
                      <a:gd name="T40" fmla="*/ 2147483647 w 552"/>
                      <a:gd name="T41" fmla="*/ 2147483647 h 348"/>
                      <a:gd name="T42" fmla="*/ 2147483647 w 552"/>
                      <a:gd name="T43" fmla="*/ 2147483647 h 348"/>
                      <a:gd name="T44" fmla="*/ 2147483647 w 552"/>
                      <a:gd name="T45" fmla="*/ 2147483647 h 348"/>
                      <a:gd name="T46" fmla="*/ 2147483647 w 552"/>
                      <a:gd name="T47" fmla="*/ 2147483647 h 348"/>
                      <a:gd name="T48" fmla="*/ 2147483647 w 552"/>
                      <a:gd name="T49" fmla="*/ 2147483647 h 348"/>
                      <a:gd name="T50" fmla="*/ 2147483647 w 552"/>
                      <a:gd name="T51" fmla="*/ 2147483647 h 348"/>
                      <a:gd name="T52" fmla="*/ 2147483647 w 552"/>
                      <a:gd name="T53" fmla="*/ 2147483647 h 348"/>
                      <a:gd name="T54" fmla="*/ 2147483647 w 552"/>
                      <a:gd name="T55" fmla="*/ 2147483647 h 348"/>
                      <a:gd name="T56" fmla="*/ 2147483647 w 552"/>
                      <a:gd name="T57" fmla="*/ 2147483647 h 348"/>
                      <a:gd name="T58" fmla="*/ 2147483647 w 552"/>
                      <a:gd name="T59" fmla="*/ 2147483647 h 348"/>
                      <a:gd name="T60" fmla="*/ 2147483647 w 552"/>
                      <a:gd name="T61" fmla="*/ 2147483647 h 348"/>
                      <a:gd name="T62" fmla="*/ 2147483647 w 552"/>
                      <a:gd name="T63" fmla="*/ 2147483647 h 348"/>
                      <a:gd name="T64" fmla="*/ 2147483647 w 552"/>
                      <a:gd name="T65" fmla="*/ 2147483647 h 348"/>
                      <a:gd name="T66" fmla="*/ 2147483647 w 552"/>
                      <a:gd name="T67" fmla="*/ 2147483647 h 348"/>
                      <a:gd name="T68" fmla="*/ 2147483647 w 552"/>
                      <a:gd name="T69" fmla="*/ 2147483647 h 348"/>
                      <a:gd name="T70" fmla="*/ 2147483647 w 552"/>
                      <a:gd name="T71" fmla="*/ 2147483647 h 348"/>
                      <a:gd name="T72" fmla="*/ 2147483647 w 552"/>
                      <a:gd name="T73" fmla="*/ 2147483647 h 348"/>
                      <a:gd name="T74" fmla="*/ 2147483647 w 552"/>
                      <a:gd name="T75" fmla="*/ 2147483647 h 348"/>
                      <a:gd name="T76" fmla="*/ 2147483647 w 552"/>
                      <a:gd name="T77" fmla="*/ 2147483647 h 348"/>
                      <a:gd name="T78" fmla="*/ 2147483647 w 552"/>
                      <a:gd name="T79" fmla="*/ 2147483647 h 348"/>
                      <a:gd name="T80" fmla="*/ 2147483647 w 552"/>
                      <a:gd name="T81" fmla="*/ 2147483647 h 348"/>
                      <a:gd name="T82" fmla="*/ 2147483647 w 552"/>
                      <a:gd name="T83" fmla="*/ 2147483647 h 348"/>
                      <a:gd name="T84" fmla="*/ 2147483647 w 552"/>
                      <a:gd name="T85" fmla="*/ 2147483647 h 348"/>
                      <a:gd name="T86" fmla="*/ 2147483647 w 552"/>
                      <a:gd name="T87" fmla="*/ 2147483647 h 348"/>
                      <a:gd name="T88" fmla="*/ 2147483647 w 552"/>
                      <a:gd name="T89" fmla="*/ 2147483647 h 348"/>
                      <a:gd name="T90" fmla="*/ 2147483647 w 552"/>
                      <a:gd name="T91" fmla="*/ 2147483647 h 348"/>
                      <a:gd name="T92" fmla="*/ 2147483647 w 552"/>
                      <a:gd name="T93" fmla="*/ 2147483647 h 348"/>
                      <a:gd name="T94" fmla="*/ 2147483647 w 552"/>
                      <a:gd name="T95" fmla="*/ 2147483647 h 348"/>
                      <a:gd name="T96" fmla="*/ 2147483647 w 552"/>
                      <a:gd name="T97" fmla="*/ 2147483647 h 348"/>
                      <a:gd name="T98" fmla="*/ 2147483647 w 552"/>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2"/>
                      <a:gd name="T151" fmla="*/ 0 h 348"/>
                      <a:gd name="T152" fmla="*/ 552 w 552"/>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2" h="348">
                        <a:moveTo>
                          <a:pt x="528" y="270"/>
                        </a:moveTo>
                        <a:lnTo>
                          <a:pt x="516" y="246"/>
                        </a:lnTo>
                        <a:lnTo>
                          <a:pt x="516" y="204"/>
                        </a:lnTo>
                        <a:lnTo>
                          <a:pt x="510" y="198"/>
                        </a:lnTo>
                        <a:lnTo>
                          <a:pt x="498" y="192"/>
                        </a:lnTo>
                        <a:lnTo>
                          <a:pt x="492" y="192"/>
                        </a:lnTo>
                        <a:lnTo>
                          <a:pt x="480" y="186"/>
                        </a:lnTo>
                        <a:lnTo>
                          <a:pt x="456" y="186"/>
                        </a:lnTo>
                        <a:lnTo>
                          <a:pt x="450" y="192"/>
                        </a:lnTo>
                        <a:lnTo>
                          <a:pt x="438" y="192"/>
                        </a:lnTo>
                        <a:lnTo>
                          <a:pt x="426" y="180"/>
                        </a:lnTo>
                        <a:lnTo>
                          <a:pt x="426" y="168"/>
                        </a:lnTo>
                        <a:lnTo>
                          <a:pt x="432" y="156"/>
                        </a:lnTo>
                        <a:lnTo>
                          <a:pt x="432" y="144"/>
                        </a:lnTo>
                        <a:lnTo>
                          <a:pt x="414" y="144"/>
                        </a:lnTo>
                        <a:lnTo>
                          <a:pt x="414" y="120"/>
                        </a:lnTo>
                        <a:lnTo>
                          <a:pt x="396" y="114"/>
                        </a:lnTo>
                        <a:lnTo>
                          <a:pt x="384" y="126"/>
                        </a:lnTo>
                        <a:lnTo>
                          <a:pt x="342" y="126"/>
                        </a:lnTo>
                        <a:lnTo>
                          <a:pt x="336" y="132"/>
                        </a:lnTo>
                        <a:lnTo>
                          <a:pt x="324" y="138"/>
                        </a:lnTo>
                        <a:lnTo>
                          <a:pt x="312" y="138"/>
                        </a:lnTo>
                        <a:lnTo>
                          <a:pt x="312" y="132"/>
                        </a:lnTo>
                        <a:lnTo>
                          <a:pt x="306" y="132"/>
                        </a:lnTo>
                        <a:lnTo>
                          <a:pt x="294" y="138"/>
                        </a:lnTo>
                        <a:lnTo>
                          <a:pt x="264" y="108"/>
                        </a:lnTo>
                        <a:lnTo>
                          <a:pt x="258" y="114"/>
                        </a:lnTo>
                        <a:lnTo>
                          <a:pt x="246" y="120"/>
                        </a:lnTo>
                        <a:lnTo>
                          <a:pt x="240" y="126"/>
                        </a:lnTo>
                        <a:lnTo>
                          <a:pt x="222" y="126"/>
                        </a:lnTo>
                        <a:lnTo>
                          <a:pt x="210" y="114"/>
                        </a:lnTo>
                        <a:lnTo>
                          <a:pt x="186" y="114"/>
                        </a:lnTo>
                        <a:lnTo>
                          <a:pt x="174" y="108"/>
                        </a:lnTo>
                        <a:lnTo>
                          <a:pt x="156" y="108"/>
                        </a:lnTo>
                        <a:lnTo>
                          <a:pt x="150" y="114"/>
                        </a:lnTo>
                        <a:lnTo>
                          <a:pt x="138" y="114"/>
                        </a:lnTo>
                        <a:lnTo>
                          <a:pt x="126" y="120"/>
                        </a:lnTo>
                        <a:lnTo>
                          <a:pt x="120" y="114"/>
                        </a:lnTo>
                        <a:lnTo>
                          <a:pt x="120" y="108"/>
                        </a:lnTo>
                        <a:lnTo>
                          <a:pt x="114" y="102"/>
                        </a:lnTo>
                        <a:lnTo>
                          <a:pt x="114" y="90"/>
                        </a:lnTo>
                        <a:lnTo>
                          <a:pt x="126" y="84"/>
                        </a:lnTo>
                        <a:lnTo>
                          <a:pt x="132" y="78"/>
                        </a:lnTo>
                        <a:lnTo>
                          <a:pt x="132" y="66"/>
                        </a:lnTo>
                        <a:lnTo>
                          <a:pt x="138" y="60"/>
                        </a:lnTo>
                        <a:lnTo>
                          <a:pt x="150" y="60"/>
                        </a:lnTo>
                        <a:lnTo>
                          <a:pt x="186" y="72"/>
                        </a:lnTo>
                        <a:lnTo>
                          <a:pt x="198" y="78"/>
                        </a:lnTo>
                        <a:lnTo>
                          <a:pt x="204" y="78"/>
                        </a:lnTo>
                        <a:lnTo>
                          <a:pt x="210" y="72"/>
                        </a:lnTo>
                        <a:lnTo>
                          <a:pt x="210" y="66"/>
                        </a:lnTo>
                        <a:lnTo>
                          <a:pt x="204" y="60"/>
                        </a:lnTo>
                        <a:lnTo>
                          <a:pt x="198" y="60"/>
                        </a:lnTo>
                        <a:lnTo>
                          <a:pt x="186" y="54"/>
                        </a:lnTo>
                        <a:lnTo>
                          <a:pt x="180" y="48"/>
                        </a:lnTo>
                        <a:lnTo>
                          <a:pt x="174" y="48"/>
                        </a:lnTo>
                        <a:lnTo>
                          <a:pt x="198" y="12"/>
                        </a:lnTo>
                        <a:lnTo>
                          <a:pt x="192" y="6"/>
                        </a:lnTo>
                        <a:lnTo>
                          <a:pt x="180" y="0"/>
                        </a:lnTo>
                        <a:lnTo>
                          <a:pt x="162" y="0"/>
                        </a:lnTo>
                        <a:lnTo>
                          <a:pt x="156" y="12"/>
                        </a:lnTo>
                        <a:lnTo>
                          <a:pt x="144" y="18"/>
                        </a:lnTo>
                        <a:lnTo>
                          <a:pt x="138" y="30"/>
                        </a:lnTo>
                        <a:lnTo>
                          <a:pt x="132" y="30"/>
                        </a:lnTo>
                        <a:lnTo>
                          <a:pt x="114" y="12"/>
                        </a:lnTo>
                        <a:lnTo>
                          <a:pt x="102" y="12"/>
                        </a:lnTo>
                        <a:lnTo>
                          <a:pt x="102" y="24"/>
                        </a:lnTo>
                        <a:lnTo>
                          <a:pt x="96" y="30"/>
                        </a:lnTo>
                        <a:lnTo>
                          <a:pt x="96" y="42"/>
                        </a:lnTo>
                        <a:lnTo>
                          <a:pt x="108" y="54"/>
                        </a:lnTo>
                        <a:lnTo>
                          <a:pt x="108" y="60"/>
                        </a:lnTo>
                        <a:lnTo>
                          <a:pt x="66" y="60"/>
                        </a:lnTo>
                        <a:lnTo>
                          <a:pt x="90" y="84"/>
                        </a:lnTo>
                        <a:lnTo>
                          <a:pt x="72" y="96"/>
                        </a:lnTo>
                        <a:lnTo>
                          <a:pt x="78" y="96"/>
                        </a:lnTo>
                        <a:lnTo>
                          <a:pt x="78" y="108"/>
                        </a:lnTo>
                        <a:lnTo>
                          <a:pt x="54" y="120"/>
                        </a:lnTo>
                        <a:lnTo>
                          <a:pt x="6" y="120"/>
                        </a:lnTo>
                        <a:lnTo>
                          <a:pt x="0" y="126"/>
                        </a:lnTo>
                        <a:lnTo>
                          <a:pt x="0" y="144"/>
                        </a:lnTo>
                        <a:lnTo>
                          <a:pt x="18" y="144"/>
                        </a:lnTo>
                        <a:lnTo>
                          <a:pt x="30" y="156"/>
                        </a:lnTo>
                        <a:lnTo>
                          <a:pt x="36" y="156"/>
                        </a:lnTo>
                        <a:lnTo>
                          <a:pt x="42" y="162"/>
                        </a:lnTo>
                        <a:lnTo>
                          <a:pt x="54" y="162"/>
                        </a:lnTo>
                        <a:lnTo>
                          <a:pt x="66" y="174"/>
                        </a:lnTo>
                        <a:lnTo>
                          <a:pt x="66" y="180"/>
                        </a:lnTo>
                        <a:lnTo>
                          <a:pt x="60" y="186"/>
                        </a:lnTo>
                        <a:lnTo>
                          <a:pt x="60" y="204"/>
                        </a:lnTo>
                        <a:lnTo>
                          <a:pt x="66" y="210"/>
                        </a:lnTo>
                        <a:lnTo>
                          <a:pt x="78" y="216"/>
                        </a:lnTo>
                        <a:lnTo>
                          <a:pt x="90" y="228"/>
                        </a:lnTo>
                        <a:lnTo>
                          <a:pt x="90" y="246"/>
                        </a:lnTo>
                        <a:lnTo>
                          <a:pt x="84" y="258"/>
                        </a:lnTo>
                        <a:lnTo>
                          <a:pt x="72" y="264"/>
                        </a:lnTo>
                        <a:lnTo>
                          <a:pt x="66" y="276"/>
                        </a:lnTo>
                        <a:lnTo>
                          <a:pt x="60" y="282"/>
                        </a:lnTo>
                        <a:lnTo>
                          <a:pt x="60" y="306"/>
                        </a:lnTo>
                        <a:lnTo>
                          <a:pt x="66" y="312"/>
                        </a:lnTo>
                        <a:lnTo>
                          <a:pt x="78" y="318"/>
                        </a:lnTo>
                        <a:lnTo>
                          <a:pt x="84" y="324"/>
                        </a:lnTo>
                        <a:lnTo>
                          <a:pt x="90" y="324"/>
                        </a:lnTo>
                        <a:lnTo>
                          <a:pt x="108" y="306"/>
                        </a:lnTo>
                        <a:lnTo>
                          <a:pt x="120" y="300"/>
                        </a:lnTo>
                        <a:lnTo>
                          <a:pt x="126" y="294"/>
                        </a:lnTo>
                        <a:lnTo>
                          <a:pt x="138" y="294"/>
                        </a:lnTo>
                        <a:lnTo>
                          <a:pt x="144" y="300"/>
                        </a:lnTo>
                        <a:lnTo>
                          <a:pt x="150" y="312"/>
                        </a:lnTo>
                        <a:lnTo>
                          <a:pt x="156" y="318"/>
                        </a:lnTo>
                        <a:lnTo>
                          <a:pt x="162" y="318"/>
                        </a:lnTo>
                        <a:lnTo>
                          <a:pt x="162" y="288"/>
                        </a:lnTo>
                        <a:lnTo>
                          <a:pt x="174" y="276"/>
                        </a:lnTo>
                        <a:lnTo>
                          <a:pt x="186" y="270"/>
                        </a:lnTo>
                        <a:lnTo>
                          <a:pt x="204" y="270"/>
                        </a:lnTo>
                        <a:lnTo>
                          <a:pt x="216" y="282"/>
                        </a:lnTo>
                        <a:lnTo>
                          <a:pt x="222" y="258"/>
                        </a:lnTo>
                        <a:lnTo>
                          <a:pt x="216" y="258"/>
                        </a:lnTo>
                        <a:lnTo>
                          <a:pt x="210" y="252"/>
                        </a:lnTo>
                        <a:lnTo>
                          <a:pt x="210" y="246"/>
                        </a:lnTo>
                        <a:lnTo>
                          <a:pt x="222" y="234"/>
                        </a:lnTo>
                        <a:lnTo>
                          <a:pt x="228" y="234"/>
                        </a:lnTo>
                        <a:lnTo>
                          <a:pt x="234" y="228"/>
                        </a:lnTo>
                        <a:lnTo>
                          <a:pt x="234" y="204"/>
                        </a:lnTo>
                        <a:lnTo>
                          <a:pt x="240" y="198"/>
                        </a:lnTo>
                        <a:lnTo>
                          <a:pt x="258" y="198"/>
                        </a:lnTo>
                        <a:lnTo>
                          <a:pt x="276" y="216"/>
                        </a:lnTo>
                        <a:lnTo>
                          <a:pt x="276" y="246"/>
                        </a:lnTo>
                        <a:lnTo>
                          <a:pt x="294" y="246"/>
                        </a:lnTo>
                        <a:lnTo>
                          <a:pt x="306" y="312"/>
                        </a:lnTo>
                        <a:lnTo>
                          <a:pt x="306" y="318"/>
                        </a:lnTo>
                        <a:lnTo>
                          <a:pt x="336" y="348"/>
                        </a:lnTo>
                        <a:lnTo>
                          <a:pt x="342" y="348"/>
                        </a:lnTo>
                        <a:lnTo>
                          <a:pt x="348" y="342"/>
                        </a:lnTo>
                        <a:lnTo>
                          <a:pt x="360" y="336"/>
                        </a:lnTo>
                        <a:lnTo>
                          <a:pt x="366" y="324"/>
                        </a:lnTo>
                        <a:lnTo>
                          <a:pt x="372" y="318"/>
                        </a:lnTo>
                        <a:lnTo>
                          <a:pt x="390" y="318"/>
                        </a:lnTo>
                        <a:lnTo>
                          <a:pt x="396" y="312"/>
                        </a:lnTo>
                        <a:lnTo>
                          <a:pt x="402" y="300"/>
                        </a:lnTo>
                        <a:lnTo>
                          <a:pt x="408" y="294"/>
                        </a:lnTo>
                        <a:lnTo>
                          <a:pt x="432" y="282"/>
                        </a:lnTo>
                        <a:lnTo>
                          <a:pt x="456" y="282"/>
                        </a:lnTo>
                        <a:lnTo>
                          <a:pt x="456" y="300"/>
                        </a:lnTo>
                        <a:lnTo>
                          <a:pt x="492" y="288"/>
                        </a:lnTo>
                        <a:lnTo>
                          <a:pt x="516" y="288"/>
                        </a:lnTo>
                        <a:lnTo>
                          <a:pt x="522" y="294"/>
                        </a:lnTo>
                        <a:lnTo>
                          <a:pt x="546" y="294"/>
                        </a:lnTo>
                        <a:lnTo>
                          <a:pt x="552" y="288"/>
                        </a:lnTo>
                        <a:lnTo>
                          <a:pt x="540" y="276"/>
                        </a:lnTo>
                        <a:lnTo>
                          <a:pt x="534" y="276"/>
                        </a:lnTo>
                        <a:lnTo>
                          <a:pt x="528" y="27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7" name="Pakistan">
                    <a:extLst>
                      <a:ext uri="{FF2B5EF4-FFF2-40B4-BE49-F238E27FC236}">
                        <a16:creationId xmlns:a16="http://schemas.microsoft.com/office/drawing/2014/main" id="{734623CB-D04A-4B35-809C-B9CE71335666}"/>
                      </a:ext>
                    </a:extLst>
                  </p:cNvPr>
                  <p:cNvSpPr>
                    <a:spLocks/>
                  </p:cNvSpPr>
                  <p:nvPr/>
                </p:nvSpPr>
                <p:spPr bwMode="gray">
                  <a:xfrm>
                    <a:off x="7524795" y="2960792"/>
                    <a:ext cx="454843" cy="454822"/>
                  </a:xfrm>
                  <a:custGeom>
                    <a:avLst/>
                    <a:gdLst>
                      <a:gd name="T0" fmla="*/ 2147483647 w 1050"/>
                      <a:gd name="T1" fmla="*/ 2147483647 h 1056"/>
                      <a:gd name="T2" fmla="*/ 2147483647 w 1050"/>
                      <a:gd name="T3" fmla="*/ 2147483647 h 1056"/>
                      <a:gd name="T4" fmla="*/ 2147483647 w 1050"/>
                      <a:gd name="T5" fmla="*/ 2147483647 h 1056"/>
                      <a:gd name="T6" fmla="*/ 2147483647 w 1050"/>
                      <a:gd name="T7" fmla="*/ 2147483647 h 1056"/>
                      <a:gd name="T8" fmla="*/ 2147483647 w 1050"/>
                      <a:gd name="T9" fmla="*/ 2147483647 h 1056"/>
                      <a:gd name="T10" fmla="*/ 2147483647 w 1050"/>
                      <a:gd name="T11" fmla="*/ 2147483647 h 1056"/>
                      <a:gd name="T12" fmla="*/ 2147483647 w 1050"/>
                      <a:gd name="T13" fmla="*/ 2147483647 h 1056"/>
                      <a:gd name="T14" fmla="*/ 2147483647 w 1050"/>
                      <a:gd name="T15" fmla="*/ 2147483647 h 1056"/>
                      <a:gd name="T16" fmla="*/ 2147483647 w 1050"/>
                      <a:gd name="T17" fmla="*/ 2147483647 h 1056"/>
                      <a:gd name="T18" fmla="*/ 2147483647 w 1050"/>
                      <a:gd name="T19" fmla="*/ 2147483647 h 1056"/>
                      <a:gd name="T20" fmla="*/ 2147483647 w 1050"/>
                      <a:gd name="T21" fmla="*/ 2147483647 h 1056"/>
                      <a:gd name="T22" fmla="*/ 2147483647 w 1050"/>
                      <a:gd name="T23" fmla="*/ 2147483647 h 1056"/>
                      <a:gd name="T24" fmla="*/ 2147483647 w 1050"/>
                      <a:gd name="T25" fmla="*/ 2147483647 h 1056"/>
                      <a:gd name="T26" fmla="*/ 2147483647 w 1050"/>
                      <a:gd name="T27" fmla="*/ 2147483647 h 1056"/>
                      <a:gd name="T28" fmla="*/ 2147483647 w 1050"/>
                      <a:gd name="T29" fmla="*/ 2147483647 h 1056"/>
                      <a:gd name="T30" fmla="*/ 2147483647 w 1050"/>
                      <a:gd name="T31" fmla="*/ 2147483647 h 1056"/>
                      <a:gd name="T32" fmla="*/ 2147483647 w 1050"/>
                      <a:gd name="T33" fmla="*/ 2147483647 h 1056"/>
                      <a:gd name="T34" fmla="*/ 2147483647 w 1050"/>
                      <a:gd name="T35" fmla="*/ 2147483647 h 1056"/>
                      <a:gd name="T36" fmla="*/ 2147483647 w 1050"/>
                      <a:gd name="T37" fmla="*/ 2147483647 h 1056"/>
                      <a:gd name="T38" fmla="*/ 2147483647 w 1050"/>
                      <a:gd name="T39" fmla="*/ 2147483647 h 1056"/>
                      <a:gd name="T40" fmla="*/ 2147483647 w 1050"/>
                      <a:gd name="T41" fmla="*/ 2147483647 h 1056"/>
                      <a:gd name="T42" fmla="*/ 2147483647 w 1050"/>
                      <a:gd name="T43" fmla="*/ 2147483647 h 1056"/>
                      <a:gd name="T44" fmla="*/ 0 w 1050"/>
                      <a:gd name="T45" fmla="*/ 2147483647 h 1056"/>
                      <a:gd name="T46" fmla="*/ 2147483647 w 1050"/>
                      <a:gd name="T47" fmla="*/ 2147483647 h 1056"/>
                      <a:gd name="T48" fmla="*/ 2147483647 w 1050"/>
                      <a:gd name="T49" fmla="*/ 2147483647 h 1056"/>
                      <a:gd name="T50" fmla="*/ 2147483647 w 1050"/>
                      <a:gd name="T51" fmla="*/ 2147483647 h 1056"/>
                      <a:gd name="T52" fmla="*/ 2147483647 w 1050"/>
                      <a:gd name="T53" fmla="*/ 2147483647 h 1056"/>
                      <a:gd name="T54" fmla="*/ 2147483647 w 1050"/>
                      <a:gd name="T55" fmla="*/ 2147483647 h 1056"/>
                      <a:gd name="T56" fmla="*/ 2147483647 w 1050"/>
                      <a:gd name="T57" fmla="*/ 2147483647 h 1056"/>
                      <a:gd name="T58" fmla="*/ 2147483647 w 1050"/>
                      <a:gd name="T59" fmla="*/ 2147483647 h 1056"/>
                      <a:gd name="T60" fmla="*/ 2147483647 w 1050"/>
                      <a:gd name="T61" fmla="*/ 2147483647 h 1056"/>
                      <a:gd name="T62" fmla="*/ 2147483647 w 1050"/>
                      <a:gd name="T63" fmla="*/ 2147483647 h 1056"/>
                      <a:gd name="T64" fmla="*/ 2147483647 w 1050"/>
                      <a:gd name="T65" fmla="*/ 2147483647 h 1056"/>
                      <a:gd name="T66" fmla="*/ 2147483647 w 1050"/>
                      <a:gd name="T67" fmla="*/ 2147483647 h 1056"/>
                      <a:gd name="T68" fmla="*/ 2147483647 w 1050"/>
                      <a:gd name="T69" fmla="*/ 2147483647 h 1056"/>
                      <a:gd name="T70" fmla="*/ 2147483647 w 1050"/>
                      <a:gd name="T71" fmla="*/ 2147483647 h 1056"/>
                      <a:gd name="T72" fmla="*/ 2147483647 w 1050"/>
                      <a:gd name="T73" fmla="*/ 2147483647 h 1056"/>
                      <a:gd name="T74" fmla="*/ 2147483647 w 1050"/>
                      <a:gd name="T75" fmla="*/ 2147483647 h 1056"/>
                      <a:gd name="T76" fmla="*/ 2147483647 w 1050"/>
                      <a:gd name="T77" fmla="*/ 2147483647 h 1056"/>
                      <a:gd name="T78" fmla="*/ 2147483647 w 1050"/>
                      <a:gd name="T79" fmla="*/ 2147483647 h 1056"/>
                      <a:gd name="T80" fmla="*/ 2147483647 w 1050"/>
                      <a:gd name="T81" fmla="*/ 2147483647 h 1056"/>
                      <a:gd name="T82" fmla="*/ 2147483647 w 1050"/>
                      <a:gd name="T83" fmla="*/ 2147483647 h 1056"/>
                      <a:gd name="T84" fmla="*/ 2147483647 w 1050"/>
                      <a:gd name="T85" fmla="*/ 2147483647 h 1056"/>
                      <a:gd name="T86" fmla="*/ 2147483647 w 1050"/>
                      <a:gd name="T87" fmla="*/ 2147483647 h 1056"/>
                      <a:gd name="T88" fmla="*/ 2147483647 w 1050"/>
                      <a:gd name="T89" fmla="*/ 2147483647 h 1056"/>
                      <a:gd name="T90" fmla="*/ 2147483647 w 1050"/>
                      <a:gd name="T91" fmla="*/ 2147483647 h 1056"/>
                      <a:gd name="T92" fmla="*/ 2147483647 w 1050"/>
                      <a:gd name="T93" fmla="*/ 2147483647 h 1056"/>
                      <a:gd name="T94" fmla="*/ 2147483647 w 1050"/>
                      <a:gd name="T95" fmla="*/ 2147483647 h 1056"/>
                      <a:gd name="T96" fmla="*/ 2147483647 w 1050"/>
                      <a:gd name="T97" fmla="*/ 2147483647 h 1056"/>
                      <a:gd name="T98" fmla="*/ 2147483647 w 1050"/>
                      <a:gd name="T99" fmla="*/ 2147483647 h 1056"/>
                      <a:gd name="T100" fmla="*/ 2147483647 w 1050"/>
                      <a:gd name="T101" fmla="*/ 2147483647 h 1056"/>
                      <a:gd name="T102" fmla="*/ 2147483647 w 1050"/>
                      <a:gd name="T103" fmla="*/ 2147483647 h 1056"/>
                      <a:gd name="T104" fmla="*/ 2147483647 w 1050"/>
                      <a:gd name="T105" fmla="*/ 2147483647 h 1056"/>
                      <a:gd name="T106" fmla="*/ 2147483647 w 1050"/>
                      <a:gd name="T107" fmla="*/ 2147483647 h 1056"/>
                      <a:gd name="T108" fmla="*/ 2147483647 w 1050"/>
                      <a:gd name="T109" fmla="*/ 2147483647 h 1056"/>
                      <a:gd name="T110" fmla="*/ 2147483647 w 1050"/>
                      <a:gd name="T111" fmla="*/ 2147483647 h 1056"/>
                      <a:gd name="T112" fmla="*/ 2147483647 w 1050"/>
                      <a:gd name="T113" fmla="*/ 2147483647 h 1056"/>
                      <a:gd name="T114" fmla="*/ 2147483647 w 1050"/>
                      <a:gd name="T115" fmla="*/ 2147483647 h 1056"/>
                      <a:gd name="T116" fmla="*/ 2147483647 w 1050"/>
                      <a:gd name="T117" fmla="*/ 2147483647 h 1056"/>
                      <a:gd name="T118" fmla="*/ 2147483647 w 1050"/>
                      <a:gd name="T119" fmla="*/ 2147483647 h 1056"/>
                      <a:gd name="T120" fmla="*/ 2147483647 w 1050"/>
                      <a:gd name="T121" fmla="*/ 2147483647 h 1056"/>
                      <a:gd name="T122" fmla="*/ 2147483647 w 1050"/>
                      <a:gd name="T123" fmla="*/ 2147483647 h 10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1056"/>
                      <a:gd name="T188" fmla="*/ 1050 w 1050"/>
                      <a:gd name="T189" fmla="*/ 1056 h 10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1056">
                        <a:moveTo>
                          <a:pt x="1008" y="120"/>
                        </a:moveTo>
                        <a:lnTo>
                          <a:pt x="996" y="120"/>
                        </a:lnTo>
                        <a:lnTo>
                          <a:pt x="984" y="114"/>
                        </a:lnTo>
                        <a:lnTo>
                          <a:pt x="978" y="102"/>
                        </a:lnTo>
                        <a:lnTo>
                          <a:pt x="972" y="96"/>
                        </a:lnTo>
                        <a:lnTo>
                          <a:pt x="972" y="90"/>
                        </a:lnTo>
                        <a:lnTo>
                          <a:pt x="960" y="96"/>
                        </a:lnTo>
                        <a:lnTo>
                          <a:pt x="924" y="84"/>
                        </a:lnTo>
                        <a:lnTo>
                          <a:pt x="924" y="60"/>
                        </a:lnTo>
                        <a:lnTo>
                          <a:pt x="912" y="36"/>
                        </a:lnTo>
                        <a:lnTo>
                          <a:pt x="900" y="24"/>
                        </a:lnTo>
                        <a:lnTo>
                          <a:pt x="888" y="18"/>
                        </a:lnTo>
                        <a:lnTo>
                          <a:pt x="876" y="18"/>
                        </a:lnTo>
                        <a:lnTo>
                          <a:pt x="870" y="6"/>
                        </a:lnTo>
                        <a:lnTo>
                          <a:pt x="822" y="6"/>
                        </a:lnTo>
                        <a:lnTo>
                          <a:pt x="810" y="0"/>
                        </a:lnTo>
                        <a:lnTo>
                          <a:pt x="804" y="6"/>
                        </a:lnTo>
                        <a:lnTo>
                          <a:pt x="792" y="6"/>
                        </a:lnTo>
                        <a:lnTo>
                          <a:pt x="786" y="12"/>
                        </a:lnTo>
                        <a:lnTo>
                          <a:pt x="774" y="12"/>
                        </a:lnTo>
                        <a:lnTo>
                          <a:pt x="762" y="6"/>
                        </a:lnTo>
                        <a:lnTo>
                          <a:pt x="738" y="6"/>
                        </a:lnTo>
                        <a:lnTo>
                          <a:pt x="732" y="12"/>
                        </a:lnTo>
                        <a:lnTo>
                          <a:pt x="690" y="12"/>
                        </a:lnTo>
                        <a:lnTo>
                          <a:pt x="684" y="18"/>
                        </a:lnTo>
                        <a:lnTo>
                          <a:pt x="678" y="18"/>
                        </a:lnTo>
                        <a:lnTo>
                          <a:pt x="654" y="30"/>
                        </a:lnTo>
                        <a:lnTo>
                          <a:pt x="648" y="36"/>
                        </a:lnTo>
                        <a:lnTo>
                          <a:pt x="624" y="48"/>
                        </a:lnTo>
                        <a:lnTo>
                          <a:pt x="618" y="54"/>
                        </a:lnTo>
                        <a:lnTo>
                          <a:pt x="612" y="66"/>
                        </a:lnTo>
                        <a:lnTo>
                          <a:pt x="606" y="72"/>
                        </a:lnTo>
                        <a:lnTo>
                          <a:pt x="606" y="78"/>
                        </a:lnTo>
                        <a:lnTo>
                          <a:pt x="636" y="108"/>
                        </a:lnTo>
                        <a:lnTo>
                          <a:pt x="636" y="138"/>
                        </a:lnTo>
                        <a:lnTo>
                          <a:pt x="642" y="144"/>
                        </a:lnTo>
                        <a:lnTo>
                          <a:pt x="648" y="156"/>
                        </a:lnTo>
                        <a:lnTo>
                          <a:pt x="648" y="162"/>
                        </a:lnTo>
                        <a:lnTo>
                          <a:pt x="624" y="186"/>
                        </a:lnTo>
                        <a:lnTo>
                          <a:pt x="618" y="198"/>
                        </a:lnTo>
                        <a:lnTo>
                          <a:pt x="618" y="210"/>
                        </a:lnTo>
                        <a:lnTo>
                          <a:pt x="624" y="216"/>
                        </a:lnTo>
                        <a:lnTo>
                          <a:pt x="624" y="246"/>
                        </a:lnTo>
                        <a:lnTo>
                          <a:pt x="606" y="246"/>
                        </a:lnTo>
                        <a:lnTo>
                          <a:pt x="600" y="252"/>
                        </a:lnTo>
                        <a:lnTo>
                          <a:pt x="594" y="252"/>
                        </a:lnTo>
                        <a:lnTo>
                          <a:pt x="576" y="246"/>
                        </a:lnTo>
                        <a:lnTo>
                          <a:pt x="570" y="240"/>
                        </a:lnTo>
                        <a:lnTo>
                          <a:pt x="552" y="240"/>
                        </a:lnTo>
                        <a:lnTo>
                          <a:pt x="552" y="252"/>
                        </a:lnTo>
                        <a:lnTo>
                          <a:pt x="564" y="264"/>
                        </a:lnTo>
                        <a:lnTo>
                          <a:pt x="576" y="270"/>
                        </a:lnTo>
                        <a:lnTo>
                          <a:pt x="576" y="276"/>
                        </a:lnTo>
                        <a:lnTo>
                          <a:pt x="582" y="282"/>
                        </a:lnTo>
                        <a:lnTo>
                          <a:pt x="582" y="288"/>
                        </a:lnTo>
                        <a:lnTo>
                          <a:pt x="594" y="294"/>
                        </a:lnTo>
                        <a:lnTo>
                          <a:pt x="600" y="294"/>
                        </a:lnTo>
                        <a:lnTo>
                          <a:pt x="570" y="312"/>
                        </a:lnTo>
                        <a:lnTo>
                          <a:pt x="552" y="312"/>
                        </a:lnTo>
                        <a:lnTo>
                          <a:pt x="546" y="318"/>
                        </a:lnTo>
                        <a:lnTo>
                          <a:pt x="546" y="354"/>
                        </a:lnTo>
                        <a:lnTo>
                          <a:pt x="540" y="354"/>
                        </a:lnTo>
                        <a:lnTo>
                          <a:pt x="534" y="360"/>
                        </a:lnTo>
                        <a:lnTo>
                          <a:pt x="534" y="378"/>
                        </a:lnTo>
                        <a:lnTo>
                          <a:pt x="540" y="390"/>
                        </a:lnTo>
                        <a:lnTo>
                          <a:pt x="540" y="402"/>
                        </a:lnTo>
                        <a:lnTo>
                          <a:pt x="546" y="408"/>
                        </a:lnTo>
                        <a:lnTo>
                          <a:pt x="546" y="414"/>
                        </a:lnTo>
                        <a:lnTo>
                          <a:pt x="540" y="420"/>
                        </a:lnTo>
                        <a:lnTo>
                          <a:pt x="534" y="432"/>
                        </a:lnTo>
                        <a:lnTo>
                          <a:pt x="522" y="438"/>
                        </a:lnTo>
                        <a:lnTo>
                          <a:pt x="510" y="438"/>
                        </a:lnTo>
                        <a:lnTo>
                          <a:pt x="504" y="432"/>
                        </a:lnTo>
                        <a:lnTo>
                          <a:pt x="504" y="420"/>
                        </a:lnTo>
                        <a:lnTo>
                          <a:pt x="474" y="420"/>
                        </a:lnTo>
                        <a:lnTo>
                          <a:pt x="462" y="426"/>
                        </a:lnTo>
                        <a:lnTo>
                          <a:pt x="456" y="432"/>
                        </a:lnTo>
                        <a:lnTo>
                          <a:pt x="444" y="438"/>
                        </a:lnTo>
                        <a:lnTo>
                          <a:pt x="438" y="438"/>
                        </a:lnTo>
                        <a:lnTo>
                          <a:pt x="432" y="444"/>
                        </a:lnTo>
                        <a:lnTo>
                          <a:pt x="432" y="450"/>
                        </a:lnTo>
                        <a:lnTo>
                          <a:pt x="438" y="450"/>
                        </a:lnTo>
                        <a:lnTo>
                          <a:pt x="444" y="456"/>
                        </a:lnTo>
                        <a:lnTo>
                          <a:pt x="444" y="462"/>
                        </a:lnTo>
                        <a:lnTo>
                          <a:pt x="438" y="468"/>
                        </a:lnTo>
                        <a:lnTo>
                          <a:pt x="396" y="468"/>
                        </a:lnTo>
                        <a:lnTo>
                          <a:pt x="396" y="456"/>
                        </a:lnTo>
                        <a:lnTo>
                          <a:pt x="378" y="456"/>
                        </a:lnTo>
                        <a:lnTo>
                          <a:pt x="372" y="468"/>
                        </a:lnTo>
                        <a:lnTo>
                          <a:pt x="360" y="474"/>
                        </a:lnTo>
                        <a:lnTo>
                          <a:pt x="354" y="486"/>
                        </a:lnTo>
                        <a:lnTo>
                          <a:pt x="354" y="504"/>
                        </a:lnTo>
                        <a:lnTo>
                          <a:pt x="360" y="516"/>
                        </a:lnTo>
                        <a:lnTo>
                          <a:pt x="360" y="534"/>
                        </a:lnTo>
                        <a:lnTo>
                          <a:pt x="366" y="540"/>
                        </a:lnTo>
                        <a:lnTo>
                          <a:pt x="366" y="570"/>
                        </a:lnTo>
                        <a:lnTo>
                          <a:pt x="360" y="576"/>
                        </a:lnTo>
                        <a:lnTo>
                          <a:pt x="354" y="576"/>
                        </a:lnTo>
                        <a:lnTo>
                          <a:pt x="306" y="600"/>
                        </a:lnTo>
                        <a:lnTo>
                          <a:pt x="276" y="600"/>
                        </a:lnTo>
                        <a:lnTo>
                          <a:pt x="258" y="606"/>
                        </a:lnTo>
                        <a:lnTo>
                          <a:pt x="234" y="606"/>
                        </a:lnTo>
                        <a:lnTo>
                          <a:pt x="228" y="612"/>
                        </a:lnTo>
                        <a:lnTo>
                          <a:pt x="204" y="612"/>
                        </a:lnTo>
                        <a:lnTo>
                          <a:pt x="204" y="606"/>
                        </a:lnTo>
                        <a:lnTo>
                          <a:pt x="150" y="606"/>
                        </a:lnTo>
                        <a:lnTo>
                          <a:pt x="144" y="612"/>
                        </a:lnTo>
                        <a:lnTo>
                          <a:pt x="138" y="612"/>
                        </a:lnTo>
                        <a:lnTo>
                          <a:pt x="120" y="618"/>
                        </a:lnTo>
                        <a:lnTo>
                          <a:pt x="102" y="618"/>
                        </a:lnTo>
                        <a:lnTo>
                          <a:pt x="78" y="606"/>
                        </a:lnTo>
                        <a:lnTo>
                          <a:pt x="60" y="600"/>
                        </a:lnTo>
                        <a:lnTo>
                          <a:pt x="42" y="588"/>
                        </a:lnTo>
                        <a:lnTo>
                          <a:pt x="30" y="582"/>
                        </a:lnTo>
                        <a:lnTo>
                          <a:pt x="0" y="582"/>
                        </a:lnTo>
                        <a:lnTo>
                          <a:pt x="24" y="606"/>
                        </a:lnTo>
                        <a:lnTo>
                          <a:pt x="30" y="618"/>
                        </a:lnTo>
                        <a:lnTo>
                          <a:pt x="36" y="624"/>
                        </a:lnTo>
                        <a:lnTo>
                          <a:pt x="48" y="642"/>
                        </a:lnTo>
                        <a:lnTo>
                          <a:pt x="60" y="654"/>
                        </a:lnTo>
                        <a:lnTo>
                          <a:pt x="66" y="672"/>
                        </a:lnTo>
                        <a:lnTo>
                          <a:pt x="78" y="690"/>
                        </a:lnTo>
                        <a:lnTo>
                          <a:pt x="84" y="696"/>
                        </a:lnTo>
                        <a:lnTo>
                          <a:pt x="102" y="696"/>
                        </a:lnTo>
                        <a:lnTo>
                          <a:pt x="114" y="690"/>
                        </a:lnTo>
                        <a:lnTo>
                          <a:pt x="126" y="708"/>
                        </a:lnTo>
                        <a:lnTo>
                          <a:pt x="150" y="708"/>
                        </a:lnTo>
                        <a:lnTo>
                          <a:pt x="144" y="738"/>
                        </a:lnTo>
                        <a:lnTo>
                          <a:pt x="150" y="738"/>
                        </a:lnTo>
                        <a:lnTo>
                          <a:pt x="150" y="762"/>
                        </a:lnTo>
                        <a:lnTo>
                          <a:pt x="156" y="774"/>
                        </a:lnTo>
                        <a:lnTo>
                          <a:pt x="156" y="786"/>
                        </a:lnTo>
                        <a:lnTo>
                          <a:pt x="174" y="786"/>
                        </a:lnTo>
                        <a:lnTo>
                          <a:pt x="180" y="792"/>
                        </a:lnTo>
                        <a:lnTo>
                          <a:pt x="186" y="804"/>
                        </a:lnTo>
                        <a:lnTo>
                          <a:pt x="192" y="822"/>
                        </a:lnTo>
                        <a:lnTo>
                          <a:pt x="192" y="834"/>
                        </a:lnTo>
                        <a:lnTo>
                          <a:pt x="186" y="840"/>
                        </a:lnTo>
                        <a:lnTo>
                          <a:pt x="180" y="840"/>
                        </a:lnTo>
                        <a:lnTo>
                          <a:pt x="180" y="834"/>
                        </a:lnTo>
                        <a:lnTo>
                          <a:pt x="150" y="834"/>
                        </a:lnTo>
                        <a:lnTo>
                          <a:pt x="138" y="840"/>
                        </a:lnTo>
                        <a:lnTo>
                          <a:pt x="132" y="846"/>
                        </a:lnTo>
                        <a:lnTo>
                          <a:pt x="132" y="852"/>
                        </a:lnTo>
                        <a:lnTo>
                          <a:pt x="126" y="852"/>
                        </a:lnTo>
                        <a:lnTo>
                          <a:pt x="126" y="858"/>
                        </a:lnTo>
                        <a:lnTo>
                          <a:pt x="120" y="864"/>
                        </a:lnTo>
                        <a:lnTo>
                          <a:pt x="108" y="864"/>
                        </a:lnTo>
                        <a:lnTo>
                          <a:pt x="102" y="882"/>
                        </a:lnTo>
                        <a:lnTo>
                          <a:pt x="96" y="888"/>
                        </a:lnTo>
                        <a:lnTo>
                          <a:pt x="96" y="894"/>
                        </a:lnTo>
                        <a:lnTo>
                          <a:pt x="84" y="906"/>
                        </a:lnTo>
                        <a:lnTo>
                          <a:pt x="84" y="936"/>
                        </a:lnTo>
                        <a:lnTo>
                          <a:pt x="90" y="948"/>
                        </a:lnTo>
                        <a:lnTo>
                          <a:pt x="90" y="954"/>
                        </a:lnTo>
                        <a:lnTo>
                          <a:pt x="96" y="948"/>
                        </a:lnTo>
                        <a:lnTo>
                          <a:pt x="108" y="948"/>
                        </a:lnTo>
                        <a:lnTo>
                          <a:pt x="114" y="942"/>
                        </a:lnTo>
                        <a:lnTo>
                          <a:pt x="120" y="942"/>
                        </a:lnTo>
                        <a:lnTo>
                          <a:pt x="126" y="948"/>
                        </a:lnTo>
                        <a:lnTo>
                          <a:pt x="138" y="948"/>
                        </a:lnTo>
                        <a:lnTo>
                          <a:pt x="150" y="954"/>
                        </a:lnTo>
                        <a:lnTo>
                          <a:pt x="174" y="954"/>
                        </a:lnTo>
                        <a:lnTo>
                          <a:pt x="210" y="936"/>
                        </a:lnTo>
                        <a:lnTo>
                          <a:pt x="216" y="930"/>
                        </a:lnTo>
                        <a:lnTo>
                          <a:pt x="222" y="930"/>
                        </a:lnTo>
                        <a:lnTo>
                          <a:pt x="234" y="936"/>
                        </a:lnTo>
                        <a:lnTo>
                          <a:pt x="276" y="936"/>
                        </a:lnTo>
                        <a:lnTo>
                          <a:pt x="288" y="930"/>
                        </a:lnTo>
                        <a:lnTo>
                          <a:pt x="300" y="930"/>
                        </a:lnTo>
                        <a:lnTo>
                          <a:pt x="306" y="924"/>
                        </a:lnTo>
                        <a:lnTo>
                          <a:pt x="312" y="924"/>
                        </a:lnTo>
                        <a:lnTo>
                          <a:pt x="348" y="930"/>
                        </a:lnTo>
                        <a:lnTo>
                          <a:pt x="354" y="924"/>
                        </a:lnTo>
                        <a:lnTo>
                          <a:pt x="366" y="918"/>
                        </a:lnTo>
                        <a:lnTo>
                          <a:pt x="372" y="912"/>
                        </a:lnTo>
                        <a:lnTo>
                          <a:pt x="384" y="912"/>
                        </a:lnTo>
                        <a:lnTo>
                          <a:pt x="396" y="918"/>
                        </a:lnTo>
                        <a:lnTo>
                          <a:pt x="408" y="930"/>
                        </a:lnTo>
                        <a:lnTo>
                          <a:pt x="432" y="978"/>
                        </a:lnTo>
                        <a:lnTo>
                          <a:pt x="444" y="984"/>
                        </a:lnTo>
                        <a:lnTo>
                          <a:pt x="450" y="990"/>
                        </a:lnTo>
                        <a:lnTo>
                          <a:pt x="468" y="996"/>
                        </a:lnTo>
                        <a:lnTo>
                          <a:pt x="486" y="996"/>
                        </a:lnTo>
                        <a:lnTo>
                          <a:pt x="522" y="1008"/>
                        </a:lnTo>
                        <a:lnTo>
                          <a:pt x="540" y="1044"/>
                        </a:lnTo>
                        <a:lnTo>
                          <a:pt x="552" y="1056"/>
                        </a:lnTo>
                        <a:lnTo>
                          <a:pt x="570" y="1056"/>
                        </a:lnTo>
                        <a:lnTo>
                          <a:pt x="588" y="1050"/>
                        </a:lnTo>
                        <a:lnTo>
                          <a:pt x="582" y="1044"/>
                        </a:lnTo>
                        <a:lnTo>
                          <a:pt x="582" y="1032"/>
                        </a:lnTo>
                        <a:lnTo>
                          <a:pt x="594" y="1020"/>
                        </a:lnTo>
                        <a:lnTo>
                          <a:pt x="606" y="1020"/>
                        </a:lnTo>
                        <a:lnTo>
                          <a:pt x="618" y="1026"/>
                        </a:lnTo>
                        <a:lnTo>
                          <a:pt x="624" y="1032"/>
                        </a:lnTo>
                        <a:lnTo>
                          <a:pt x="648" y="1020"/>
                        </a:lnTo>
                        <a:lnTo>
                          <a:pt x="648" y="1026"/>
                        </a:lnTo>
                        <a:lnTo>
                          <a:pt x="654" y="1032"/>
                        </a:lnTo>
                        <a:lnTo>
                          <a:pt x="678" y="1032"/>
                        </a:lnTo>
                        <a:lnTo>
                          <a:pt x="690" y="1020"/>
                        </a:lnTo>
                        <a:lnTo>
                          <a:pt x="702" y="1014"/>
                        </a:lnTo>
                        <a:lnTo>
                          <a:pt x="708" y="1014"/>
                        </a:lnTo>
                        <a:lnTo>
                          <a:pt x="708" y="1026"/>
                        </a:lnTo>
                        <a:lnTo>
                          <a:pt x="714" y="1032"/>
                        </a:lnTo>
                        <a:lnTo>
                          <a:pt x="732" y="1032"/>
                        </a:lnTo>
                        <a:lnTo>
                          <a:pt x="738" y="1026"/>
                        </a:lnTo>
                        <a:lnTo>
                          <a:pt x="750" y="1020"/>
                        </a:lnTo>
                        <a:lnTo>
                          <a:pt x="750" y="996"/>
                        </a:lnTo>
                        <a:lnTo>
                          <a:pt x="744" y="990"/>
                        </a:lnTo>
                        <a:lnTo>
                          <a:pt x="738" y="978"/>
                        </a:lnTo>
                        <a:lnTo>
                          <a:pt x="714" y="936"/>
                        </a:lnTo>
                        <a:lnTo>
                          <a:pt x="714" y="912"/>
                        </a:lnTo>
                        <a:lnTo>
                          <a:pt x="690" y="912"/>
                        </a:lnTo>
                        <a:lnTo>
                          <a:pt x="678" y="900"/>
                        </a:lnTo>
                        <a:lnTo>
                          <a:pt x="672" y="888"/>
                        </a:lnTo>
                        <a:lnTo>
                          <a:pt x="666" y="882"/>
                        </a:lnTo>
                        <a:lnTo>
                          <a:pt x="672" y="852"/>
                        </a:lnTo>
                        <a:lnTo>
                          <a:pt x="672" y="834"/>
                        </a:lnTo>
                        <a:lnTo>
                          <a:pt x="642" y="840"/>
                        </a:lnTo>
                        <a:lnTo>
                          <a:pt x="636" y="840"/>
                        </a:lnTo>
                        <a:lnTo>
                          <a:pt x="624" y="834"/>
                        </a:lnTo>
                        <a:lnTo>
                          <a:pt x="618" y="828"/>
                        </a:lnTo>
                        <a:lnTo>
                          <a:pt x="618" y="804"/>
                        </a:lnTo>
                        <a:lnTo>
                          <a:pt x="624" y="792"/>
                        </a:lnTo>
                        <a:lnTo>
                          <a:pt x="636" y="780"/>
                        </a:lnTo>
                        <a:lnTo>
                          <a:pt x="642" y="768"/>
                        </a:lnTo>
                        <a:lnTo>
                          <a:pt x="648" y="762"/>
                        </a:lnTo>
                        <a:lnTo>
                          <a:pt x="654" y="750"/>
                        </a:lnTo>
                        <a:lnTo>
                          <a:pt x="654" y="744"/>
                        </a:lnTo>
                        <a:lnTo>
                          <a:pt x="666" y="732"/>
                        </a:lnTo>
                        <a:lnTo>
                          <a:pt x="678" y="726"/>
                        </a:lnTo>
                        <a:lnTo>
                          <a:pt x="684" y="726"/>
                        </a:lnTo>
                        <a:lnTo>
                          <a:pt x="690" y="732"/>
                        </a:lnTo>
                        <a:lnTo>
                          <a:pt x="690" y="744"/>
                        </a:lnTo>
                        <a:lnTo>
                          <a:pt x="696" y="750"/>
                        </a:lnTo>
                        <a:lnTo>
                          <a:pt x="702" y="750"/>
                        </a:lnTo>
                        <a:lnTo>
                          <a:pt x="726" y="738"/>
                        </a:lnTo>
                        <a:lnTo>
                          <a:pt x="732" y="732"/>
                        </a:lnTo>
                        <a:lnTo>
                          <a:pt x="738" y="738"/>
                        </a:lnTo>
                        <a:lnTo>
                          <a:pt x="756" y="738"/>
                        </a:lnTo>
                        <a:lnTo>
                          <a:pt x="762" y="732"/>
                        </a:lnTo>
                        <a:lnTo>
                          <a:pt x="768" y="720"/>
                        </a:lnTo>
                        <a:lnTo>
                          <a:pt x="774" y="714"/>
                        </a:lnTo>
                        <a:lnTo>
                          <a:pt x="774" y="708"/>
                        </a:lnTo>
                        <a:lnTo>
                          <a:pt x="792" y="696"/>
                        </a:lnTo>
                        <a:lnTo>
                          <a:pt x="792" y="678"/>
                        </a:lnTo>
                        <a:lnTo>
                          <a:pt x="798" y="672"/>
                        </a:lnTo>
                        <a:lnTo>
                          <a:pt x="798" y="666"/>
                        </a:lnTo>
                        <a:lnTo>
                          <a:pt x="804" y="660"/>
                        </a:lnTo>
                        <a:lnTo>
                          <a:pt x="828" y="648"/>
                        </a:lnTo>
                        <a:lnTo>
                          <a:pt x="840" y="636"/>
                        </a:lnTo>
                        <a:lnTo>
                          <a:pt x="846" y="618"/>
                        </a:lnTo>
                        <a:lnTo>
                          <a:pt x="846" y="606"/>
                        </a:lnTo>
                        <a:lnTo>
                          <a:pt x="852" y="588"/>
                        </a:lnTo>
                        <a:lnTo>
                          <a:pt x="852" y="576"/>
                        </a:lnTo>
                        <a:lnTo>
                          <a:pt x="858" y="570"/>
                        </a:lnTo>
                        <a:lnTo>
                          <a:pt x="870" y="564"/>
                        </a:lnTo>
                        <a:lnTo>
                          <a:pt x="876" y="558"/>
                        </a:lnTo>
                        <a:lnTo>
                          <a:pt x="888" y="558"/>
                        </a:lnTo>
                        <a:lnTo>
                          <a:pt x="870" y="534"/>
                        </a:lnTo>
                        <a:lnTo>
                          <a:pt x="894" y="498"/>
                        </a:lnTo>
                        <a:lnTo>
                          <a:pt x="924" y="480"/>
                        </a:lnTo>
                        <a:lnTo>
                          <a:pt x="924" y="474"/>
                        </a:lnTo>
                        <a:lnTo>
                          <a:pt x="912" y="462"/>
                        </a:lnTo>
                        <a:lnTo>
                          <a:pt x="906" y="450"/>
                        </a:lnTo>
                        <a:lnTo>
                          <a:pt x="906" y="414"/>
                        </a:lnTo>
                        <a:lnTo>
                          <a:pt x="912" y="408"/>
                        </a:lnTo>
                        <a:lnTo>
                          <a:pt x="924" y="408"/>
                        </a:lnTo>
                        <a:lnTo>
                          <a:pt x="948" y="396"/>
                        </a:lnTo>
                        <a:lnTo>
                          <a:pt x="954" y="390"/>
                        </a:lnTo>
                        <a:lnTo>
                          <a:pt x="954" y="384"/>
                        </a:lnTo>
                        <a:lnTo>
                          <a:pt x="948" y="378"/>
                        </a:lnTo>
                        <a:lnTo>
                          <a:pt x="936" y="372"/>
                        </a:lnTo>
                        <a:lnTo>
                          <a:pt x="900" y="372"/>
                        </a:lnTo>
                        <a:lnTo>
                          <a:pt x="894" y="336"/>
                        </a:lnTo>
                        <a:lnTo>
                          <a:pt x="876" y="336"/>
                        </a:lnTo>
                        <a:lnTo>
                          <a:pt x="864" y="318"/>
                        </a:lnTo>
                        <a:lnTo>
                          <a:pt x="846" y="318"/>
                        </a:lnTo>
                        <a:lnTo>
                          <a:pt x="846" y="306"/>
                        </a:lnTo>
                        <a:lnTo>
                          <a:pt x="852" y="294"/>
                        </a:lnTo>
                        <a:lnTo>
                          <a:pt x="852" y="288"/>
                        </a:lnTo>
                        <a:lnTo>
                          <a:pt x="846" y="288"/>
                        </a:lnTo>
                        <a:lnTo>
                          <a:pt x="834" y="276"/>
                        </a:lnTo>
                        <a:lnTo>
                          <a:pt x="834" y="270"/>
                        </a:lnTo>
                        <a:lnTo>
                          <a:pt x="840" y="264"/>
                        </a:lnTo>
                        <a:lnTo>
                          <a:pt x="846" y="252"/>
                        </a:lnTo>
                        <a:lnTo>
                          <a:pt x="852" y="246"/>
                        </a:lnTo>
                        <a:lnTo>
                          <a:pt x="822" y="240"/>
                        </a:lnTo>
                        <a:lnTo>
                          <a:pt x="828" y="228"/>
                        </a:lnTo>
                        <a:lnTo>
                          <a:pt x="804" y="210"/>
                        </a:lnTo>
                        <a:lnTo>
                          <a:pt x="804" y="204"/>
                        </a:lnTo>
                        <a:lnTo>
                          <a:pt x="810" y="192"/>
                        </a:lnTo>
                        <a:lnTo>
                          <a:pt x="834" y="180"/>
                        </a:lnTo>
                        <a:lnTo>
                          <a:pt x="876" y="180"/>
                        </a:lnTo>
                        <a:lnTo>
                          <a:pt x="894" y="186"/>
                        </a:lnTo>
                        <a:lnTo>
                          <a:pt x="912" y="186"/>
                        </a:lnTo>
                        <a:lnTo>
                          <a:pt x="918" y="192"/>
                        </a:lnTo>
                        <a:lnTo>
                          <a:pt x="918" y="204"/>
                        </a:lnTo>
                        <a:lnTo>
                          <a:pt x="930" y="204"/>
                        </a:lnTo>
                        <a:lnTo>
                          <a:pt x="942" y="198"/>
                        </a:lnTo>
                        <a:lnTo>
                          <a:pt x="948" y="192"/>
                        </a:lnTo>
                        <a:lnTo>
                          <a:pt x="960" y="186"/>
                        </a:lnTo>
                        <a:lnTo>
                          <a:pt x="966" y="180"/>
                        </a:lnTo>
                        <a:lnTo>
                          <a:pt x="972" y="186"/>
                        </a:lnTo>
                        <a:lnTo>
                          <a:pt x="978" y="180"/>
                        </a:lnTo>
                        <a:lnTo>
                          <a:pt x="1002" y="180"/>
                        </a:lnTo>
                        <a:lnTo>
                          <a:pt x="1002" y="162"/>
                        </a:lnTo>
                        <a:lnTo>
                          <a:pt x="1026" y="156"/>
                        </a:lnTo>
                        <a:lnTo>
                          <a:pt x="1050" y="120"/>
                        </a:lnTo>
                        <a:lnTo>
                          <a:pt x="1008" y="12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8" name="Kyrgyzstan">
                    <a:extLst>
                      <a:ext uri="{FF2B5EF4-FFF2-40B4-BE49-F238E27FC236}">
                        <a16:creationId xmlns:a16="http://schemas.microsoft.com/office/drawing/2014/main" id="{9B6CA91B-80A1-4254-9994-04C76F638D66}"/>
                      </a:ext>
                    </a:extLst>
                  </p:cNvPr>
                  <p:cNvSpPr>
                    <a:spLocks/>
                  </p:cNvSpPr>
                  <p:nvPr/>
                </p:nvSpPr>
                <p:spPr bwMode="gray">
                  <a:xfrm>
                    <a:off x="7700258" y="2747860"/>
                    <a:ext cx="291304" cy="134573"/>
                  </a:xfrm>
                  <a:custGeom>
                    <a:avLst/>
                    <a:gdLst>
                      <a:gd name="T0" fmla="*/ 2147483647 w 672"/>
                      <a:gd name="T1" fmla="*/ 2147483647 h 312"/>
                      <a:gd name="T2" fmla="*/ 2147483647 w 672"/>
                      <a:gd name="T3" fmla="*/ 2147483647 h 312"/>
                      <a:gd name="T4" fmla="*/ 2147483647 w 672"/>
                      <a:gd name="T5" fmla="*/ 2147483647 h 312"/>
                      <a:gd name="T6" fmla="*/ 2147483647 w 672"/>
                      <a:gd name="T7" fmla="*/ 2147483647 h 312"/>
                      <a:gd name="T8" fmla="*/ 2147483647 w 672"/>
                      <a:gd name="T9" fmla="*/ 2147483647 h 312"/>
                      <a:gd name="T10" fmla="*/ 2147483647 w 672"/>
                      <a:gd name="T11" fmla="*/ 2147483647 h 312"/>
                      <a:gd name="T12" fmla="*/ 2147483647 w 672"/>
                      <a:gd name="T13" fmla="*/ 2147483647 h 312"/>
                      <a:gd name="T14" fmla="*/ 2147483647 w 672"/>
                      <a:gd name="T15" fmla="*/ 2147483647 h 312"/>
                      <a:gd name="T16" fmla="*/ 2147483647 w 672"/>
                      <a:gd name="T17" fmla="*/ 2147483647 h 312"/>
                      <a:gd name="T18" fmla="*/ 2147483647 w 672"/>
                      <a:gd name="T19" fmla="*/ 2147483647 h 312"/>
                      <a:gd name="T20" fmla="*/ 2147483647 w 672"/>
                      <a:gd name="T21" fmla="*/ 2147483647 h 312"/>
                      <a:gd name="T22" fmla="*/ 2147483647 w 672"/>
                      <a:gd name="T23" fmla="*/ 2147483647 h 312"/>
                      <a:gd name="T24" fmla="*/ 0 w 672"/>
                      <a:gd name="T25" fmla="*/ 2147483647 h 312"/>
                      <a:gd name="T26" fmla="*/ 2147483647 w 672"/>
                      <a:gd name="T27" fmla="*/ 2147483647 h 312"/>
                      <a:gd name="T28" fmla="*/ 2147483647 w 672"/>
                      <a:gd name="T29" fmla="*/ 2147483647 h 312"/>
                      <a:gd name="T30" fmla="*/ 2147483647 w 672"/>
                      <a:gd name="T31" fmla="*/ 2147483647 h 312"/>
                      <a:gd name="T32" fmla="*/ 2147483647 w 672"/>
                      <a:gd name="T33" fmla="*/ 2147483647 h 312"/>
                      <a:gd name="T34" fmla="*/ 2147483647 w 672"/>
                      <a:gd name="T35" fmla="*/ 2147483647 h 312"/>
                      <a:gd name="T36" fmla="*/ 2147483647 w 672"/>
                      <a:gd name="T37" fmla="*/ 2147483647 h 312"/>
                      <a:gd name="T38" fmla="*/ 2147483647 w 672"/>
                      <a:gd name="T39" fmla="*/ 2147483647 h 312"/>
                      <a:gd name="T40" fmla="*/ 2147483647 w 672"/>
                      <a:gd name="T41" fmla="*/ 2147483647 h 312"/>
                      <a:gd name="T42" fmla="*/ 2147483647 w 672"/>
                      <a:gd name="T43" fmla="*/ 2147483647 h 312"/>
                      <a:gd name="T44" fmla="*/ 2147483647 w 672"/>
                      <a:gd name="T45" fmla="*/ 2147483647 h 312"/>
                      <a:gd name="T46" fmla="*/ 2147483647 w 672"/>
                      <a:gd name="T47" fmla="*/ 2147483647 h 312"/>
                      <a:gd name="T48" fmla="*/ 2147483647 w 672"/>
                      <a:gd name="T49" fmla="*/ 2147483647 h 312"/>
                      <a:gd name="T50" fmla="*/ 2147483647 w 672"/>
                      <a:gd name="T51" fmla="*/ 2147483647 h 312"/>
                      <a:gd name="T52" fmla="*/ 2147483647 w 672"/>
                      <a:gd name="T53" fmla="*/ 2147483647 h 312"/>
                      <a:gd name="T54" fmla="*/ 2147483647 w 672"/>
                      <a:gd name="T55" fmla="*/ 2147483647 h 312"/>
                      <a:gd name="T56" fmla="*/ 2147483647 w 672"/>
                      <a:gd name="T57" fmla="*/ 2147483647 h 312"/>
                      <a:gd name="T58" fmla="*/ 2147483647 w 672"/>
                      <a:gd name="T59" fmla="*/ 2147483647 h 312"/>
                      <a:gd name="T60" fmla="*/ 2147483647 w 672"/>
                      <a:gd name="T61" fmla="*/ 2147483647 h 312"/>
                      <a:gd name="T62" fmla="*/ 2147483647 w 672"/>
                      <a:gd name="T63" fmla="*/ 2147483647 h 312"/>
                      <a:gd name="T64" fmla="*/ 2147483647 w 672"/>
                      <a:gd name="T65" fmla="*/ 2147483647 h 312"/>
                      <a:gd name="T66" fmla="*/ 2147483647 w 672"/>
                      <a:gd name="T67" fmla="*/ 2147483647 h 312"/>
                      <a:gd name="T68" fmla="*/ 2147483647 w 672"/>
                      <a:gd name="T69" fmla="*/ 2147483647 h 312"/>
                      <a:gd name="T70" fmla="*/ 2147483647 w 672"/>
                      <a:gd name="T71" fmla="*/ 2147483647 h 312"/>
                      <a:gd name="T72" fmla="*/ 2147483647 w 672"/>
                      <a:gd name="T73" fmla="*/ 2147483647 h 312"/>
                      <a:gd name="T74" fmla="*/ 2147483647 w 672"/>
                      <a:gd name="T75" fmla="*/ 2147483647 h 312"/>
                      <a:gd name="T76" fmla="*/ 2147483647 w 672"/>
                      <a:gd name="T77" fmla="*/ 0 h 312"/>
                      <a:gd name="T78" fmla="*/ 2147483647 w 672"/>
                      <a:gd name="T79" fmla="*/ 2147483647 h 312"/>
                      <a:gd name="T80" fmla="*/ 2147483647 w 672"/>
                      <a:gd name="T81" fmla="*/ 2147483647 h 312"/>
                      <a:gd name="T82" fmla="*/ 2147483647 w 672"/>
                      <a:gd name="T83" fmla="*/ 2147483647 h 312"/>
                      <a:gd name="T84" fmla="*/ 2147483647 w 672"/>
                      <a:gd name="T85" fmla="*/ 2147483647 h 312"/>
                      <a:gd name="T86" fmla="*/ 2147483647 w 672"/>
                      <a:gd name="T87" fmla="*/ 2147483647 h 312"/>
                      <a:gd name="T88" fmla="*/ 2147483647 w 672"/>
                      <a:gd name="T89" fmla="*/ 2147483647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2"/>
                      <a:gd name="T136" fmla="*/ 0 h 312"/>
                      <a:gd name="T137" fmla="*/ 672 w 672"/>
                      <a:gd name="T138" fmla="*/ 312 h 3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2" h="312">
                        <a:moveTo>
                          <a:pt x="36" y="132"/>
                        </a:moveTo>
                        <a:lnTo>
                          <a:pt x="66" y="144"/>
                        </a:lnTo>
                        <a:lnTo>
                          <a:pt x="78" y="156"/>
                        </a:lnTo>
                        <a:lnTo>
                          <a:pt x="114" y="156"/>
                        </a:lnTo>
                        <a:lnTo>
                          <a:pt x="114" y="144"/>
                        </a:lnTo>
                        <a:lnTo>
                          <a:pt x="126" y="144"/>
                        </a:lnTo>
                        <a:lnTo>
                          <a:pt x="126" y="132"/>
                        </a:lnTo>
                        <a:lnTo>
                          <a:pt x="144" y="156"/>
                        </a:lnTo>
                        <a:lnTo>
                          <a:pt x="162" y="156"/>
                        </a:lnTo>
                        <a:lnTo>
                          <a:pt x="168" y="174"/>
                        </a:lnTo>
                        <a:lnTo>
                          <a:pt x="192" y="174"/>
                        </a:lnTo>
                        <a:lnTo>
                          <a:pt x="198" y="186"/>
                        </a:lnTo>
                        <a:lnTo>
                          <a:pt x="204" y="186"/>
                        </a:lnTo>
                        <a:lnTo>
                          <a:pt x="216" y="180"/>
                        </a:lnTo>
                        <a:lnTo>
                          <a:pt x="228" y="180"/>
                        </a:lnTo>
                        <a:lnTo>
                          <a:pt x="228" y="192"/>
                        </a:lnTo>
                        <a:lnTo>
                          <a:pt x="216" y="204"/>
                        </a:lnTo>
                        <a:lnTo>
                          <a:pt x="204" y="210"/>
                        </a:lnTo>
                        <a:lnTo>
                          <a:pt x="192" y="210"/>
                        </a:lnTo>
                        <a:lnTo>
                          <a:pt x="192" y="216"/>
                        </a:lnTo>
                        <a:lnTo>
                          <a:pt x="174" y="222"/>
                        </a:lnTo>
                        <a:lnTo>
                          <a:pt x="156" y="240"/>
                        </a:lnTo>
                        <a:lnTo>
                          <a:pt x="150" y="240"/>
                        </a:lnTo>
                        <a:lnTo>
                          <a:pt x="144" y="234"/>
                        </a:lnTo>
                        <a:lnTo>
                          <a:pt x="138" y="234"/>
                        </a:lnTo>
                        <a:lnTo>
                          <a:pt x="132" y="228"/>
                        </a:lnTo>
                        <a:lnTo>
                          <a:pt x="114" y="228"/>
                        </a:lnTo>
                        <a:lnTo>
                          <a:pt x="102" y="234"/>
                        </a:lnTo>
                        <a:lnTo>
                          <a:pt x="96" y="234"/>
                        </a:lnTo>
                        <a:lnTo>
                          <a:pt x="96" y="246"/>
                        </a:lnTo>
                        <a:lnTo>
                          <a:pt x="90" y="252"/>
                        </a:lnTo>
                        <a:lnTo>
                          <a:pt x="84" y="252"/>
                        </a:lnTo>
                        <a:lnTo>
                          <a:pt x="72" y="246"/>
                        </a:lnTo>
                        <a:lnTo>
                          <a:pt x="36" y="234"/>
                        </a:lnTo>
                        <a:lnTo>
                          <a:pt x="24" y="234"/>
                        </a:lnTo>
                        <a:lnTo>
                          <a:pt x="18" y="240"/>
                        </a:lnTo>
                        <a:lnTo>
                          <a:pt x="18" y="252"/>
                        </a:lnTo>
                        <a:lnTo>
                          <a:pt x="12" y="258"/>
                        </a:lnTo>
                        <a:lnTo>
                          <a:pt x="0" y="264"/>
                        </a:lnTo>
                        <a:lnTo>
                          <a:pt x="0" y="276"/>
                        </a:lnTo>
                        <a:lnTo>
                          <a:pt x="6" y="282"/>
                        </a:lnTo>
                        <a:lnTo>
                          <a:pt x="6" y="288"/>
                        </a:lnTo>
                        <a:lnTo>
                          <a:pt x="12" y="294"/>
                        </a:lnTo>
                        <a:lnTo>
                          <a:pt x="24" y="288"/>
                        </a:lnTo>
                        <a:lnTo>
                          <a:pt x="36" y="288"/>
                        </a:lnTo>
                        <a:lnTo>
                          <a:pt x="42" y="282"/>
                        </a:lnTo>
                        <a:lnTo>
                          <a:pt x="60" y="282"/>
                        </a:lnTo>
                        <a:lnTo>
                          <a:pt x="72" y="288"/>
                        </a:lnTo>
                        <a:lnTo>
                          <a:pt x="96" y="288"/>
                        </a:lnTo>
                        <a:lnTo>
                          <a:pt x="108" y="300"/>
                        </a:lnTo>
                        <a:lnTo>
                          <a:pt x="126" y="300"/>
                        </a:lnTo>
                        <a:lnTo>
                          <a:pt x="132" y="294"/>
                        </a:lnTo>
                        <a:lnTo>
                          <a:pt x="144" y="288"/>
                        </a:lnTo>
                        <a:lnTo>
                          <a:pt x="150" y="282"/>
                        </a:lnTo>
                        <a:lnTo>
                          <a:pt x="180" y="312"/>
                        </a:lnTo>
                        <a:lnTo>
                          <a:pt x="192" y="306"/>
                        </a:lnTo>
                        <a:lnTo>
                          <a:pt x="198" y="306"/>
                        </a:lnTo>
                        <a:lnTo>
                          <a:pt x="198" y="312"/>
                        </a:lnTo>
                        <a:lnTo>
                          <a:pt x="210" y="312"/>
                        </a:lnTo>
                        <a:lnTo>
                          <a:pt x="222" y="306"/>
                        </a:lnTo>
                        <a:lnTo>
                          <a:pt x="228" y="300"/>
                        </a:lnTo>
                        <a:lnTo>
                          <a:pt x="270" y="300"/>
                        </a:lnTo>
                        <a:lnTo>
                          <a:pt x="282" y="288"/>
                        </a:lnTo>
                        <a:lnTo>
                          <a:pt x="300" y="294"/>
                        </a:lnTo>
                        <a:lnTo>
                          <a:pt x="318" y="294"/>
                        </a:lnTo>
                        <a:lnTo>
                          <a:pt x="318" y="282"/>
                        </a:lnTo>
                        <a:lnTo>
                          <a:pt x="312" y="270"/>
                        </a:lnTo>
                        <a:lnTo>
                          <a:pt x="300" y="264"/>
                        </a:lnTo>
                        <a:lnTo>
                          <a:pt x="300" y="258"/>
                        </a:lnTo>
                        <a:lnTo>
                          <a:pt x="306" y="252"/>
                        </a:lnTo>
                        <a:lnTo>
                          <a:pt x="318" y="246"/>
                        </a:lnTo>
                        <a:lnTo>
                          <a:pt x="330" y="246"/>
                        </a:lnTo>
                        <a:lnTo>
                          <a:pt x="336" y="240"/>
                        </a:lnTo>
                        <a:lnTo>
                          <a:pt x="348" y="234"/>
                        </a:lnTo>
                        <a:lnTo>
                          <a:pt x="348" y="216"/>
                        </a:lnTo>
                        <a:lnTo>
                          <a:pt x="372" y="216"/>
                        </a:lnTo>
                        <a:lnTo>
                          <a:pt x="384" y="204"/>
                        </a:lnTo>
                        <a:lnTo>
                          <a:pt x="396" y="204"/>
                        </a:lnTo>
                        <a:lnTo>
                          <a:pt x="402" y="210"/>
                        </a:lnTo>
                        <a:lnTo>
                          <a:pt x="408" y="222"/>
                        </a:lnTo>
                        <a:lnTo>
                          <a:pt x="414" y="228"/>
                        </a:lnTo>
                        <a:lnTo>
                          <a:pt x="426" y="222"/>
                        </a:lnTo>
                        <a:lnTo>
                          <a:pt x="456" y="228"/>
                        </a:lnTo>
                        <a:lnTo>
                          <a:pt x="462" y="222"/>
                        </a:lnTo>
                        <a:lnTo>
                          <a:pt x="462" y="198"/>
                        </a:lnTo>
                        <a:lnTo>
                          <a:pt x="468" y="186"/>
                        </a:lnTo>
                        <a:lnTo>
                          <a:pt x="486" y="168"/>
                        </a:lnTo>
                        <a:lnTo>
                          <a:pt x="516" y="168"/>
                        </a:lnTo>
                        <a:lnTo>
                          <a:pt x="534" y="174"/>
                        </a:lnTo>
                        <a:lnTo>
                          <a:pt x="552" y="174"/>
                        </a:lnTo>
                        <a:lnTo>
                          <a:pt x="558" y="168"/>
                        </a:lnTo>
                        <a:lnTo>
                          <a:pt x="564" y="156"/>
                        </a:lnTo>
                        <a:lnTo>
                          <a:pt x="564" y="138"/>
                        </a:lnTo>
                        <a:lnTo>
                          <a:pt x="570" y="132"/>
                        </a:lnTo>
                        <a:lnTo>
                          <a:pt x="582" y="126"/>
                        </a:lnTo>
                        <a:lnTo>
                          <a:pt x="594" y="114"/>
                        </a:lnTo>
                        <a:lnTo>
                          <a:pt x="642" y="96"/>
                        </a:lnTo>
                        <a:lnTo>
                          <a:pt x="666" y="96"/>
                        </a:lnTo>
                        <a:lnTo>
                          <a:pt x="672" y="90"/>
                        </a:lnTo>
                        <a:lnTo>
                          <a:pt x="672" y="78"/>
                        </a:lnTo>
                        <a:lnTo>
                          <a:pt x="660" y="66"/>
                        </a:lnTo>
                        <a:lnTo>
                          <a:pt x="642" y="60"/>
                        </a:lnTo>
                        <a:lnTo>
                          <a:pt x="600" y="60"/>
                        </a:lnTo>
                        <a:lnTo>
                          <a:pt x="576" y="30"/>
                        </a:lnTo>
                        <a:lnTo>
                          <a:pt x="558" y="30"/>
                        </a:lnTo>
                        <a:lnTo>
                          <a:pt x="546" y="18"/>
                        </a:lnTo>
                        <a:lnTo>
                          <a:pt x="498" y="24"/>
                        </a:lnTo>
                        <a:lnTo>
                          <a:pt x="486" y="24"/>
                        </a:lnTo>
                        <a:lnTo>
                          <a:pt x="474" y="18"/>
                        </a:lnTo>
                        <a:lnTo>
                          <a:pt x="354" y="18"/>
                        </a:lnTo>
                        <a:lnTo>
                          <a:pt x="336" y="24"/>
                        </a:lnTo>
                        <a:lnTo>
                          <a:pt x="318" y="24"/>
                        </a:lnTo>
                        <a:lnTo>
                          <a:pt x="306" y="18"/>
                        </a:lnTo>
                        <a:lnTo>
                          <a:pt x="282" y="18"/>
                        </a:lnTo>
                        <a:lnTo>
                          <a:pt x="276" y="6"/>
                        </a:lnTo>
                        <a:lnTo>
                          <a:pt x="264" y="0"/>
                        </a:lnTo>
                        <a:lnTo>
                          <a:pt x="222" y="0"/>
                        </a:lnTo>
                        <a:lnTo>
                          <a:pt x="216" y="6"/>
                        </a:lnTo>
                        <a:lnTo>
                          <a:pt x="216" y="36"/>
                        </a:lnTo>
                        <a:lnTo>
                          <a:pt x="222" y="48"/>
                        </a:lnTo>
                        <a:lnTo>
                          <a:pt x="222" y="60"/>
                        </a:lnTo>
                        <a:lnTo>
                          <a:pt x="204" y="54"/>
                        </a:lnTo>
                        <a:lnTo>
                          <a:pt x="174" y="54"/>
                        </a:lnTo>
                        <a:lnTo>
                          <a:pt x="138" y="36"/>
                        </a:lnTo>
                        <a:lnTo>
                          <a:pt x="120" y="30"/>
                        </a:lnTo>
                        <a:lnTo>
                          <a:pt x="108" y="24"/>
                        </a:lnTo>
                        <a:lnTo>
                          <a:pt x="78" y="24"/>
                        </a:lnTo>
                        <a:lnTo>
                          <a:pt x="60" y="42"/>
                        </a:lnTo>
                        <a:lnTo>
                          <a:pt x="54" y="54"/>
                        </a:lnTo>
                        <a:lnTo>
                          <a:pt x="54" y="72"/>
                        </a:lnTo>
                        <a:lnTo>
                          <a:pt x="72" y="72"/>
                        </a:lnTo>
                        <a:lnTo>
                          <a:pt x="78" y="78"/>
                        </a:lnTo>
                        <a:lnTo>
                          <a:pt x="84" y="78"/>
                        </a:lnTo>
                        <a:lnTo>
                          <a:pt x="84" y="84"/>
                        </a:lnTo>
                        <a:lnTo>
                          <a:pt x="36" y="132"/>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9" name="Georgia">
                    <a:extLst>
                      <a:ext uri="{FF2B5EF4-FFF2-40B4-BE49-F238E27FC236}">
                        <a16:creationId xmlns:a16="http://schemas.microsoft.com/office/drawing/2014/main" id="{3065339D-F6FB-4980-AB1F-E82CE90B272E}"/>
                      </a:ext>
                    </a:extLst>
                  </p:cNvPr>
                  <p:cNvSpPr>
                    <a:spLocks/>
                  </p:cNvSpPr>
                  <p:nvPr/>
                </p:nvSpPr>
                <p:spPr bwMode="gray">
                  <a:xfrm>
                    <a:off x="6855307" y="2732529"/>
                    <a:ext cx="199314" cy="90284"/>
                  </a:xfrm>
                  <a:custGeom>
                    <a:avLst/>
                    <a:gdLst>
                      <a:gd name="T0" fmla="*/ 2147483647 w 462"/>
                      <a:gd name="T1" fmla="*/ 2147483647 h 210"/>
                      <a:gd name="T2" fmla="*/ 2147483647 w 462"/>
                      <a:gd name="T3" fmla="*/ 2147483647 h 210"/>
                      <a:gd name="T4" fmla="*/ 2147483647 w 462"/>
                      <a:gd name="T5" fmla="*/ 2147483647 h 210"/>
                      <a:gd name="T6" fmla="*/ 2147483647 w 462"/>
                      <a:gd name="T7" fmla="*/ 2147483647 h 210"/>
                      <a:gd name="T8" fmla="*/ 2147483647 w 462"/>
                      <a:gd name="T9" fmla="*/ 2147483647 h 210"/>
                      <a:gd name="T10" fmla="*/ 2147483647 w 462"/>
                      <a:gd name="T11" fmla="*/ 2147483647 h 210"/>
                      <a:gd name="T12" fmla="*/ 2147483647 w 462"/>
                      <a:gd name="T13" fmla="*/ 2147483647 h 210"/>
                      <a:gd name="T14" fmla="*/ 2147483647 w 462"/>
                      <a:gd name="T15" fmla="*/ 2147483647 h 210"/>
                      <a:gd name="T16" fmla="*/ 2147483647 w 462"/>
                      <a:gd name="T17" fmla="*/ 2147483647 h 210"/>
                      <a:gd name="T18" fmla="*/ 2147483647 w 462"/>
                      <a:gd name="T19" fmla="*/ 2147483647 h 210"/>
                      <a:gd name="T20" fmla="*/ 2147483647 w 462"/>
                      <a:gd name="T21" fmla="*/ 2147483647 h 210"/>
                      <a:gd name="T22" fmla="*/ 2147483647 w 462"/>
                      <a:gd name="T23" fmla="*/ 2147483647 h 210"/>
                      <a:gd name="T24" fmla="*/ 2147483647 w 462"/>
                      <a:gd name="T25" fmla="*/ 2147483647 h 210"/>
                      <a:gd name="T26" fmla="*/ 2147483647 w 462"/>
                      <a:gd name="T27" fmla="*/ 2147483647 h 210"/>
                      <a:gd name="T28" fmla="*/ 2147483647 w 462"/>
                      <a:gd name="T29" fmla="*/ 2147483647 h 210"/>
                      <a:gd name="T30" fmla="*/ 2147483647 w 462"/>
                      <a:gd name="T31" fmla="*/ 2147483647 h 210"/>
                      <a:gd name="T32" fmla="*/ 2147483647 w 462"/>
                      <a:gd name="T33" fmla="*/ 2147483647 h 210"/>
                      <a:gd name="T34" fmla="*/ 2147483647 w 462"/>
                      <a:gd name="T35" fmla="*/ 2147483647 h 210"/>
                      <a:gd name="T36" fmla="*/ 2147483647 w 462"/>
                      <a:gd name="T37" fmla="*/ 2147483647 h 210"/>
                      <a:gd name="T38" fmla="*/ 2147483647 w 462"/>
                      <a:gd name="T39" fmla="*/ 2147483647 h 210"/>
                      <a:gd name="T40" fmla="*/ 2147483647 w 462"/>
                      <a:gd name="T41" fmla="*/ 2147483647 h 210"/>
                      <a:gd name="T42" fmla="*/ 2147483647 w 462"/>
                      <a:gd name="T43" fmla="*/ 2147483647 h 210"/>
                      <a:gd name="T44" fmla="*/ 2147483647 w 462"/>
                      <a:gd name="T45" fmla="*/ 2147483647 h 210"/>
                      <a:gd name="T46" fmla="*/ 2147483647 w 462"/>
                      <a:gd name="T47" fmla="*/ 2147483647 h 210"/>
                      <a:gd name="T48" fmla="*/ 2147483647 w 462"/>
                      <a:gd name="T49" fmla="*/ 2147483647 h 210"/>
                      <a:gd name="T50" fmla="*/ 2147483647 w 462"/>
                      <a:gd name="T51" fmla="*/ 2147483647 h 210"/>
                      <a:gd name="T52" fmla="*/ 2147483647 w 462"/>
                      <a:gd name="T53" fmla="*/ 2147483647 h 210"/>
                      <a:gd name="T54" fmla="*/ 2147483647 w 462"/>
                      <a:gd name="T55" fmla="*/ 2147483647 h 210"/>
                      <a:gd name="T56" fmla="*/ 2147483647 w 462"/>
                      <a:gd name="T57" fmla="*/ 2147483647 h 210"/>
                      <a:gd name="T58" fmla="*/ 2147483647 w 462"/>
                      <a:gd name="T59" fmla="*/ 2147483647 h 210"/>
                      <a:gd name="T60" fmla="*/ 2147483647 w 462"/>
                      <a:gd name="T61" fmla="*/ 2147483647 h 210"/>
                      <a:gd name="T62" fmla="*/ 2147483647 w 462"/>
                      <a:gd name="T63" fmla="*/ 2147483647 h 210"/>
                      <a:gd name="T64" fmla="*/ 2147483647 w 462"/>
                      <a:gd name="T65" fmla="*/ 2147483647 h 210"/>
                      <a:gd name="T66" fmla="*/ 2147483647 w 462"/>
                      <a:gd name="T67" fmla="*/ 2147483647 h 210"/>
                      <a:gd name="T68" fmla="*/ 2147483647 w 462"/>
                      <a:gd name="T69" fmla="*/ 2147483647 h 210"/>
                      <a:gd name="T70" fmla="*/ 2147483647 w 462"/>
                      <a:gd name="T71" fmla="*/ 2147483647 h 210"/>
                      <a:gd name="T72" fmla="*/ 2147483647 w 462"/>
                      <a:gd name="T73" fmla="*/ 2147483647 h 210"/>
                      <a:gd name="T74" fmla="*/ 2147483647 w 462"/>
                      <a:gd name="T75" fmla="*/ 2147483647 h 210"/>
                      <a:gd name="T76" fmla="*/ 2147483647 w 462"/>
                      <a:gd name="T77" fmla="*/ 2147483647 h 210"/>
                      <a:gd name="T78" fmla="*/ 2147483647 w 462"/>
                      <a:gd name="T79" fmla="*/ 2147483647 h 210"/>
                      <a:gd name="T80" fmla="*/ 2147483647 w 462"/>
                      <a:gd name="T81" fmla="*/ 0 h 210"/>
                      <a:gd name="T82" fmla="*/ 0 w 462"/>
                      <a:gd name="T83" fmla="*/ 2147483647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2"/>
                      <a:gd name="T127" fmla="*/ 0 h 210"/>
                      <a:gd name="T128" fmla="*/ 462 w 462"/>
                      <a:gd name="T129" fmla="*/ 210 h 2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2" h="210">
                        <a:moveTo>
                          <a:pt x="6" y="18"/>
                        </a:moveTo>
                        <a:lnTo>
                          <a:pt x="12" y="18"/>
                        </a:lnTo>
                        <a:lnTo>
                          <a:pt x="18" y="24"/>
                        </a:lnTo>
                        <a:lnTo>
                          <a:pt x="30" y="30"/>
                        </a:lnTo>
                        <a:lnTo>
                          <a:pt x="42" y="42"/>
                        </a:lnTo>
                        <a:lnTo>
                          <a:pt x="60" y="48"/>
                        </a:lnTo>
                        <a:lnTo>
                          <a:pt x="72" y="54"/>
                        </a:lnTo>
                        <a:lnTo>
                          <a:pt x="78" y="54"/>
                        </a:lnTo>
                        <a:lnTo>
                          <a:pt x="84" y="60"/>
                        </a:lnTo>
                        <a:lnTo>
                          <a:pt x="96" y="66"/>
                        </a:lnTo>
                        <a:lnTo>
                          <a:pt x="102" y="78"/>
                        </a:lnTo>
                        <a:lnTo>
                          <a:pt x="114" y="84"/>
                        </a:lnTo>
                        <a:lnTo>
                          <a:pt x="114" y="96"/>
                        </a:lnTo>
                        <a:lnTo>
                          <a:pt x="120" y="114"/>
                        </a:lnTo>
                        <a:lnTo>
                          <a:pt x="120" y="132"/>
                        </a:lnTo>
                        <a:lnTo>
                          <a:pt x="126" y="138"/>
                        </a:lnTo>
                        <a:lnTo>
                          <a:pt x="132" y="150"/>
                        </a:lnTo>
                        <a:lnTo>
                          <a:pt x="138" y="156"/>
                        </a:lnTo>
                        <a:lnTo>
                          <a:pt x="138" y="162"/>
                        </a:lnTo>
                        <a:lnTo>
                          <a:pt x="132" y="168"/>
                        </a:lnTo>
                        <a:lnTo>
                          <a:pt x="168" y="174"/>
                        </a:lnTo>
                        <a:lnTo>
                          <a:pt x="174" y="168"/>
                        </a:lnTo>
                        <a:lnTo>
                          <a:pt x="186" y="162"/>
                        </a:lnTo>
                        <a:lnTo>
                          <a:pt x="198" y="162"/>
                        </a:lnTo>
                        <a:lnTo>
                          <a:pt x="210" y="168"/>
                        </a:lnTo>
                        <a:lnTo>
                          <a:pt x="216" y="174"/>
                        </a:lnTo>
                        <a:lnTo>
                          <a:pt x="222" y="186"/>
                        </a:lnTo>
                        <a:lnTo>
                          <a:pt x="222" y="192"/>
                        </a:lnTo>
                        <a:lnTo>
                          <a:pt x="246" y="192"/>
                        </a:lnTo>
                        <a:lnTo>
                          <a:pt x="246" y="198"/>
                        </a:lnTo>
                        <a:lnTo>
                          <a:pt x="252" y="204"/>
                        </a:lnTo>
                        <a:lnTo>
                          <a:pt x="276" y="198"/>
                        </a:lnTo>
                        <a:lnTo>
                          <a:pt x="282" y="192"/>
                        </a:lnTo>
                        <a:lnTo>
                          <a:pt x="336" y="198"/>
                        </a:lnTo>
                        <a:lnTo>
                          <a:pt x="336" y="180"/>
                        </a:lnTo>
                        <a:lnTo>
                          <a:pt x="342" y="180"/>
                        </a:lnTo>
                        <a:lnTo>
                          <a:pt x="348" y="186"/>
                        </a:lnTo>
                        <a:lnTo>
                          <a:pt x="354" y="186"/>
                        </a:lnTo>
                        <a:lnTo>
                          <a:pt x="354" y="180"/>
                        </a:lnTo>
                        <a:lnTo>
                          <a:pt x="366" y="168"/>
                        </a:lnTo>
                        <a:lnTo>
                          <a:pt x="390" y="168"/>
                        </a:lnTo>
                        <a:lnTo>
                          <a:pt x="396" y="174"/>
                        </a:lnTo>
                        <a:lnTo>
                          <a:pt x="396" y="180"/>
                        </a:lnTo>
                        <a:lnTo>
                          <a:pt x="414" y="198"/>
                        </a:lnTo>
                        <a:lnTo>
                          <a:pt x="426" y="192"/>
                        </a:lnTo>
                        <a:lnTo>
                          <a:pt x="438" y="192"/>
                        </a:lnTo>
                        <a:lnTo>
                          <a:pt x="456" y="210"/>
                        </a:lnTo>
                        <a:lnTo>
                          <a:pt x="462" y="204"/>
                        </a:lnTo>
                        <a:lnTo>
                          <a:pt x="456" y="192"/>
                        </a:lnTo>
                        <a:lnTo>
                          <a:pt x="450" y="186"/>
                        </a:lnTo>
                        <a:lnTo>
                          <a:pt x="444" y="174"/>
                        </a:lnTo>
                        <a:lnTo>
                          <a:pt x="438" y="168"/>
                        </a:lnTo>
                        <a:lnTo>
                          <a:pt x="432" y="168"/>
                        </a:lnTo>
                        <a:lnTo>
                          <a:pt x="414" y="150"/>
                        </a:lnTo>
                        <a:lnTo>
                          <a:pt x="420" y="144"/>
                        </a:lnTo>
                        <a:lnTo>
                          <a:pt x="432" y="144"/>
                        </a:lnTo>
                        <a:lnTo>
                          <a:pt x="420" y="132"/>
                        </a:lnTo>
                        <a:lnTo>
                          <a:pt x="408" y="126"/>
                        </a:lnTo>
                        <a:lnTo>
                          <a:pt x="396" y="114"/>
                        </a:lnTo>
                        <a:lnTo>
                          <a:pt x="378" y="114"/>
                        </a:lnTo>
                        <a:lnTo>
                          <a:pt x="378" y="108"/>
                        </a:lnTo>
                        <a:lnTo>
                          <a:pt x="384" y="102"/>
                        </a:lnTo>
                        <a:lnTo>
                          <a:pt x="384" y="90"/>
                        </a:lnTo>
                        <a:lnTo>
                          <a:pt x="354" y="84"/>
                        </a:lnTo>
                        <a:lnTo>
                          <a:pt x="342" y="72"/>
                        </a:lnTo>
                        <a:lnTo>
                          <a:pt x="330" y="66"/>
                        </a:lnTo>
                        <a:lnTo>
                          <a:pt x="300" y="66"/>
                        </a:lnTo>
                        <a:lnTo>
                          <a:pt x="300" y="72"/>
                        </a:lnTo>
                        <a:lnTo>
                          <a:pt x="288" y="72"/>
                        </a:lnTo>
                        <a:lnTo>
                          <a:pt x="282" y="78"/>
                        </a:lnTo>
                        <a:lnTo>
                          <a:pt x="258" y="78"/>
                        </a:lnTo>
                        <a:lnTo>
                          <a:pt x="246" y="72"/>
                        </a:lnTo>
                        <a:lnTo>
                          <a:pt x="240" y="72"/>
                        </a:lnTo>
                        <a:lnTo>
                          <a:pt x="240" y="66"/>
                        </a:lnTo>
                        <a:lnTo>
                          <a:pt x="192" y="36"/>
                        </a:lnTo>
                        <a:lnTo>
                          <a:pt x="186" y="36"/>
                        </a:lnTo>
                        <a:lnTo>
                          <a:pt x="180" y="30"/>
                        </a:lnTo>
                        <a:lnTo>
                          <a:pt x="144" y="30"/>
                        </a:lnTo>
                        <a:lnTo>
                          <a:pt x="84" y="18"/>
                        </a:lnTo>
                        <a:lnTo>
                          <a:pt x="66" y="12"/>
                        </a:lnTo>
                        <a:lnTo>
                          <a:pt x="54" y="6"/>
                        </a:lnTo>
                        <a:lnTo>
                          <a:pt x="36" y="0"/>
                        </a:lnTo>
                        <a:lnTo>
                          <a:pt x="24" y="0"/>
                        </a:lnTo>
                        <a:lnTo>
                          <a:pt x="0" y="18"/>
                        </a:lnTo>
                        <a:lnTo>
                          <a:pt x="6" y="1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0" name="Azerbaijan">
                    <a:extLst>
                      <a:ext uri="{FF2B5EF4-FFF2-40B4-BE49-F238E27FC236}">
                        <a16:creationId xmlns:a16="http://schemas.microsoft.com/office/drawing/2014/main" id="{EAC67F19-FFD3-4359-9FFF-09E3ED079A75}"/>
                      </a:ext>
                    </a:extLst>
                  </p:cNvPr>
                  <p:cNvSpPr>
                    <a:spLocks noEditPoints="1"/>
                  </p:cNvSpPr>
                  <p:nvPr/>
                </p:nvSpPr>
                <p:spPr bwMode="gray">
                  <a:xfrm>
                    <a:off x="7006921" y="2790447"/>
                    <a:ext cx="155022" cy="126055"/>
                  </a:xfrm>
                  <a:custGeom>
                    <a:avLst/>
                    <a:gdLst>
                      <a:gd name="T0" fmla="*/ 2147483647 w 360"/>
                      <a:gd name="T1" fmla="*/ 2147483647 h 288"/>
                      <a:gd name="T2" fmla="*/ 2147483647 w 360"/>
                      <a:gd name="T3" fmla="*/ 2147483647 h 288"/>
                      <a:gd name="T4" fmla="*/ 2147483647 w 360"/>
                      <a:gd name="T5" fmla="*/ 2147483647 h 288"/>
                      <a:gd name="T6" fmla="*/ 2147483647 w 360"/>
                      <a:gd name="T7" fmla="*/ 2147483647 h 288"/>
                      <a:gd name="T8" fmla="*/ 2147483647 w 360"/>
                      <a:gd name="T9" fmla="*/ 2147483647 h 288"/>
                      <a:gd name="T10" fmla="*/ 2147483647 w 360"/>
                      <a:gd name="T11" fmla="*/ 2147483647 h 288"/>
                      <a:gd name="T12" fmla="*/ 2147483647 w 360"/>
                      <a:gd name="T13" fmla="*/ 2147483647 h 288"/>
                      <a:gd name="T14" fmla="*/ 2147483647 w 360"/>
                      <a:gd name="T15" fmla="*/ 2147483647 h 288"/>
                      <a:gd name="T16" fmla="*/ 2147483647 w 360"/>
                      <a:gd name="T17" fmla="*/ 2147483647 h 288"/>
                      <a:gd name="T18" fmla="*/ 2147483647 w 360"/>
                      <a:gd name="T19" fmla="*/ 2147483647 h 288"/>
                      <a:gd name="T20" fmla="*/ 2147483647 w 360"/>
                      <a:gd name="T21" fmla="*/ 2147483647 h 288"/>
                      <a:gd name="T22" fmla="*/ 2147483647 w 360"/>
                      <a:gd name="T23" fmla="*/ 2147483647 h 288"/>
                      <a:gd name="T24" fmla="*/ 2147483647 w 360"/>
                      <a:gd name="T25" fmla="*/ 2147483647 h 288"/>
                      <a:gd name="T26" fmla="*/ 2147483647 w 360"/>
                      <a:gd name="T27" fmla="*/ 0 h 288"/>
                      <a:gd name="T28" fmla="*/ 2147483647 w 360"/>
                      <a:gd name="T29" fmla="*/ 2147483647 h 288"/>
                      <a:gd name="T30" fmla="*/ 2147483647 w 360"/>
                      <a:gd name="T31" fmla="*/ 2147483647 h 288"/>
                      <a:gd name="T32" fmla="*/ 2147483647 w 360"/>
                      <a:gd name="T33" fmla="*/ 2147483647 h 288"/>
                      <a:gd name="T34" fmla="*/ 2147483647 w 360"/>
                      <a:gd name="T35" fmla="*/ 2147483647 h 288"/>
                      <a:gd name="T36" fmla="*/ 2147483647 w 360"/>
                      <a:gd name="T37" fmla="*/ 2147483647 h 288"/>
                      <a:gd name="T38" fmla="*/ 2147483647 w 360"/>
                      <a:gd name="T39" fmla="*/ 0 h 288"/>
                      <a:gd name="T40" fmla="*/ 2147483647 w 360"/>
                      <a:gd name="T41" fmla="*/ 2147483647 h 288"/>
                      <a:gd name="T42" fmla="*/ 2147483647 w 360"/>
                      <a:gd name="T43" fmla="*/ 2147483647 h 288"/>
                      <a:gd name="T44" fmla="*/ 2147483647 w 360"/>
                      <a:gd name="T45" fmla="*/ 2147483647 h 288"/>
                      <a:gd name="T46" fmla="*/ 2147483647 w 360"/>
                      <a:gd name="T47" fmla="*/ 2147483647 h 288"/>
                      <a:gd name="T48" fmla="*/ 2147483647 w 360"/>
                      <a:gd name="T49" fmla="*/ 2147483647 h 288"/>
                      <a:gd name="T50" fmla="*/ 2147483647 w 360"/>
                      <a:gd name="T51" fmla="*/ 2147483647 h 288"/>
                      <a:gd name="T52" fmla="*/ 2147483647 w 360"/>
                      <a:gd name="T53" fmla="*/ 2147483647 h 288"/>
                      <a:gd name="T54" fmla="*/ 0 w 360"/>
                      <a:gd name="T55" fmla="*/ 2147483647 h 288"/>
                      <a:gd name="T56" fmla="*/ 2147483647 w 360"/>
                      <a:gd name="T57" fmla="*/ 2147483647 h 288"/>
                      <a:gd name="T58" fmla="*/ 2147483647 w 360"/>
                      <a:gd name="T59" fmla="*/ 2147483647 h 288"/>
                      <a:gd name="T60" fmla="*/ 2147483647 w 360"/>
                      <a:gd name="T61" fmla="*/ 2147483647 h 288"/>
                      <a:gd name="T62" fmla="*/ 2147483647 w 360"/>
                      <a:gd name="T63" fmla="*/ 2147483647 h 288"/>
                      <a:gd name="T64" fmla="*/ 2147483647 w 360"/>
                      <a:gd name="T65" fmla="*/ 2147483647 h 288"/>
                      <a:gd name="T66" fmla="*/ 2147483647 w 360"/>
                      <a:gd name="T67" fmla="*/ 2147483647 h 288"/>
                      <a:gd name="T68" fmla="*/ 2147483647 w 360"/>
                      <a:gd name="T69" fmla="*/ 2147483647 h 288"/>
                      <a:gd name="T70" fmla="*/ 2147483647 w 360"/>
                      <a:gd name="T71" fmla="*/ 2147483647 h 288"/>
                      <a:gd name="T72" fmla="*/ 2147483647 w 360"/>
                      <a:gd name="T73" fmla="*/ 2147483647 h 288"/>
                      <a:gd name="T74" fmla="*/ 2147483647 w 360"/>
                      <a:gd name="T75" fmla="*/ 2147483647 h 288"/>
                      <a:gd name="T76" fmla="*/ 2147483647 w 360"/>
                      <a:gd name="T77" fmla="*/ 2147483647 h 288"/>
                      <a:gd name="T78" fmla="*/ 2147483647 w 360"/>
                      <a:gd name="T79" fmla="*/ 2147483647 h 288"/>
                      <a:gd name="T80" fmla="*/ 2147483647 w 360"/>
                      <a:gd name="T81" fmla="*/ 2147483647 h 288"/>
                      <a:gd name="T82" fmla="*/ 2147483647 w 360"/>
                      <a:gd name="T83" fmla="*/ 2147483647 h 288"/>
                      <a:gd name="T84" fmla="*/ 2147483647 w 360"/>
                      <a:gd name="T85" fmla="*/ 2147483647 h 288"/>
                      <a:gd name="T86" fmla="*/ 2147483647 w 360"/>
                      <a:gd name="T87" fmla="*/ 2147483647 h 288"/>
                      <a:gd name="T88" fmla="*/ 2147483647 w 360"/>
                      <a:gd name="T89" fmla="*/ 2147483647 h 288"/>
                      <a:gd name="T90" fmla="*/ 2147483647 w 360"/>
                      <a:gd name="T91" fmla="*/ 2147483647 h 288"/>
                      <a:gd name="T92" fmla="*/ 2147483647 w 360"/>
                      <a:gd name="T93" fmla="*/ 2147483647 h 288"/>
                      <a:gd name="T94" fmla="*/ 2147483647 w 360"/>
                      <a:gd name="T95" fmla="*/ 2147483647 h 288"/>
                      <a:gd name="T96" fmla="*/ 2147483647 w 360"/>
                      <a:gd name="T97" fmla="*/ 2147483647 h 288"/>
                      <a:gd name="T98" fmla="*/ 2147483647 w 360"/>
                      <a:gd name="T99" fmla="*/ 2147483647 h 288"/>
                      <a:gd name="T100" fmla="*/ 2147483647 w 360"/>
                      <a:gd name="T101" fmla="*/ 2147483647 h 288"/>
                      <a:gd name="T102" fmla="*/ 2147483647 w 360"/>
                      <a:gd name="T103" fmla="*/ 2147483647 h 288"/>
                      <a:gd name="T104" fmla="*/ 2147483647 w 360"/>
                      <a:gd name="T105" fmla="*/ 2147483647 h 288"/>
                      <a:gd name="T106" fmla="*/ 2147483647 w 360"/>
                      <a:gd name="T107" fmla="*/ 2147483647 h 288"/>
                      <a:gd name="T108" fmla="*/ 2147483647 w 360"/>
                      <a:gd name="T109" fmla="*/ 2147483647 h 288"/>
                      <a:gd name="T110" fmla="*/ 2147483647 w 360"/>
                      <a:gd name="T111" fmla="*/ 2147483647 h 288"/>
                      <a:gd name="T112" fmla="*/ 2147483647 w 360"/>
                      <a:gd name="T113" fmla="*/ 2147483647 h 288"/>
                      <a:gd name="T114" fmla="*/ 2147483647 w 360"/>
                      <a:gd name="T115" fmla="*/ 2147483647 h 288"/>
                      <a:gd name="T116" fmla="*/ 2147483647 w 360"/>
                      <a:gd name="T117" fmla="*/ 2147483647 h 288"/>
                      <a:gd name="T118" fmla="*/ 2147483647 w 360"/>
                      <a:gd name="T119" fmla="*/ 2147483647 h 288"/>
                      <a:gd name="T120" fmla="*/ 2147483647 w 360"/>
                      <a:gd name="T121" fmla="*/ 2147483647 h 2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0"/>
                      <a:gd name="T184" fmla="*/ 0 h 288"/>
                      <a:gd name="T185" fmla="*/ 360 w 360"/>
                      <a:gd name="T186" fmla="*/ 288 h 2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0" h="288">
                        <a:moveTo>
                          <a:pt x="66" y="186"/>
                        </a:moveTo>
                        <a:lnTo>
                          <a:pt x="36" y="186"/>
                        </a:lnTo>
                        <a:lnTo>
                          <a:pt x="24" y="174"/>
                        </a:lnTo>
                        <a:lnTo>
                          <a:pt x="6" y="174"/>
                        </a:lnTo>
                        <a:lnTo>
                          <a:pt x="12" y="186"/>
                        </a:lnTo>
                        <a:lnTo>
                          <a:pt x="12" y="192"/>
                        </a:lnTo>
                        <a:lnTo>
                          <a:pt x="18" y="204"/>
                        </a:lnTo>
                        <a:lnTo>
                          <a:pt x="36" y="222"/>
                        </a:lnTo>
                        <a:lnTo>
                          <a:pt x="48" y="228"/>
                        </a:lnTo>
                        <a:lnTo>
                          <a:pt x="84" y="240"/>
                        </a:lnTo>
                        <a:lnTo>
                          <a:pt x="90" y="240"/>
                        </a:lnTo>
                        <a:lnTo>
                          <a:pt x="84" y="234"/>
                        </a:lnTo>
                        <a:lnTo>
                          <a:pt x="84" y="222"/>
                        </a:lnTo>
                        <a:lnTo>
                          <a:pt x="78" y="216"/>
                        </a:lnTo>
                        <a:lnTo>
                          <a:pt x="78" y="204"/>
                        </a:lnTo>
                        <a:lnTo>
                          <a:pt x="72" y="198"/>
                        </a:lnTo>
                        <a:lnTo>
                          <a:pt x="72" y="186"/>
                        </a:lnTo>
                        <a:lnTo>
                          <a:pt x="66" y="186"/>
                        </a:lnTo>
                        <a:close/>
                        <a:moveTo>
                          <a:pt x="354" y="108"/>
                        </a:moveTo>
                        <a:lnTo>
                          <a:pt x="348" y="102"/>
                        </a:lnTo>
                        <a:lnTo>
                          <a:pt x="330" y="102"/>
                        </a:lnTo>
                        <a:lnTo>
                          <a:pt x="318" y="108"/>
                        </a:lnTo>
                        <a:lnTo>
                          <a:pt x="306" y="108"/>
                        </a:lnTo>
                        <a:lnTo>
                          <a:pt x="288" y="90"/>
                        </a:lnTo>
                        <a:lnTo>
                          <a:pt x="288" y="84"/>
                        </a:lnTo>
                        <a:lnTo>
                          <a:pt x="264" y="54"/>
                        </a:lnTo>
                        <a:lnTo>
                          <a:pt x="264" y="42"/>
                        </a:lnTo>
                        <a:lnTo>
                          <a:pt x="216" y="0"/>
                        </a:lnTo>
                        <a:lnTo>
                          <a:pt x="216" y="30"/>
                        </a:lnTo>
                        <a:lnTo>
                          <a:pt x="210" y="36"/>
                        </a:lnTo>
                        <a:lnTo>
                          <a:pt x="192" y="36"/>
                        </a:lnTo>
                        <a:lnTo>
                          <a:pt x="192" y="48"/>
                        </a:lnTo>
                        <a:lnTo>
                          <a:pt x="186" y="54"/>
                        </a:lnTo>
                        <a:lnTo>
                          <a:pt x="162" y="54"/>
                        </a:lnTo>
                        <a:lnTo>
                          <a:pt x="156" y="48"/>
                        </a:lnTo>
                        <a:lnTo>
                          <a:pt x="144" y="42"/>
                        </a:lnTo>
                        <a:lnTo>
                          <a:pt x="138" y="30"/>
                        </a:lnTo>
                        <a:lnTo>
                          <a:pt x="120" y="12"/>
                        </a:lnTo>
                        <a:lnTo>
                          <a:pt x="84" y="0"/>
                        </a:lnTo>
                        <a:lnTo>
                          <a:pt x="72" y="0"/>
                        </a:lnTo>
                        <a:lnTo>
                          <a:pt x="60" y="12"/>
                        </a:lnTo>
                        <a:lnTo>
                          <a:pt x="78" y="30"/>
                        </a:lnTo>
                        <a:lnTo>
                          <a:pt x="84" y="30"/>
                        </a:lnTo>
                        <a:lnTo>
                          <a:pt x="90" y="36"/>
                        </a:lnTo>
                        <a:lnTo>
                          <a:pt x="96" y="48"/>
                        </a:lnTo>
                        <a:lnTo>
                          <a:pt x="102" y="54"/>
                        </a:lnTo>
                        <a:lnTo>
                          <a:pt x="108" y="66"/>
                        </a:lnTo>
                        <a:lnTo>
                          <a:pt x="102" y="72"/>
                        </a:lnTo>
                        <a:lnTo>
                          <a:pt x="84" y="54"/>
                        </a:lnTo>
                        <a:lnTo>
                          <a:pt x="72" y="54"/>
                        </a:lnTo>
                        <a:lnTo>
                          <a:pt x="60" y="60"/>
                        </a:lnTo>
                        <a:lnTo>
                          <a:pt x="42" y="42"/>
                        </a:lnTo>
                        <a:lnTo>
                          <a:pt x="42" y="36"/>
                        </a:lnTo>
                        <a:lnTo>
                          <a:pt x="36" y="30"/>
                        </a:lnTo>
                        <a:lnTo>
                          <a:pt x="12" y="30"/>
                        </a:lnTo>
                        <a:lnTo>
                          <a:pt x="0" y="42"/>
                        </a:lnTo>
                        <a:lnTo>
                          <a:pt x="0" y="48"/>
                        </a:lnTo>
                        <a:lnTo>
                          <a:pt x="6" y="48"/>
                        </a:lnTo>
                        <a:lnTo>
                          <a:pt x="12" y="54"/>
                        </a:lnTo>
                        <a:lnTo>
                          <a:pt x="12" y="66"/>
                        </a:lnTo>
                        <a:lnTo>
                          <a:pt x="30" y="66"/>
                        </a:lnTo>
                        <a:lnTo>
                          <a:pt x="36" y="72"/>
                        </a:lnTo>
                        <a:lnTo>
                          <a:pt x="36" y="96"/>
                        </a:lnTo>
                        <a:lnTo>
                          <a:pt x="30" y="102"/>
                        </a:lnTo>
                        <a:lnTo>
                          <a:pt x="36" y="102"/>
                        </a:lnTo>
                        <a:lnTo>
                          <a:pt x="42" y="108"/>
                        </a:lnTo>
                        <a:lnTo>
                          <a:pt x="66" y="120"/>
                        </a:lnTo>
                        <a:lnTo>
                          <a:pt x="72" y="126"/>
                        </a:lnTo>
                        <a:lnTo>
                          <a:pt x="72" y="132"/>
                        </a:lnTo>
                        <a:lnTo>
                          <a:pt x="54" y="150"/>
                        </a:lnTo>
                        <a:lnTo>
                          <a:pt x="42" y="150"/>
                        </a:lnTo>
                        <a:lnTo>
                          <a:pt x="72" y="162"/>
                        </a:lnTo>
                        <a:lnTo>
                          <a:pt x="84" y="180"/>
                        </a:lnTo>
                        <a:lnTo>
                          <a:pt x="114" y="186"/>
                        </a:lnTo>
                        <a:lnTo>
                          <a:pt x="114" y="198"/>
                        </a:lnTo>
                        <a:lnTo>
                          <a:pt x="120" y="210"/>
                        </a:lnTo>
                        <a:lnTo>
                          <a:pt x="120" y="240"/>
                        </a:lnTo>
                        <a:lnTo>
                          <a:pt x="132" y="240"/>
                        </a:lnTo>
                        <a:lnTo>
                          <a:pt x="138" y="228"/>
                        </a:lnTo>
                        <a:lnTo>
                          <a:pt x="144" y="222"/>
                        </a:lnTo>
                        <a:lnTo>
                          <a:pt x="144" y="216"/>
                        </a:lnTo>
                        <a:lnTo>
                          <a:pt x="156" y="204"/>
                        </a:lnTo>
                        <a:lnTo>
                          <a:pt x="174" y="192"/>
                        </a:lnTo>
                        <a:lnTo>
                          <a:pt x="186" y="186"/>
                        </a:lnTo>
                        <a:lnTo>
                          <a:pt x="198" y="174"/>
                        </a:lnTo>
                        <a:lnTo>
                          <a:pt x="210" y="168"/>
                        </a:lnTo>
                        <a:lnTo>
                          <a:pt x="222" y="168"/>
                        </a:lnTo>
                        <a:lnTo>
                          <a:pt x="228" y="180"/>
                        </a:lnTo>
                        <a:lnTo>
                          <a:pt x="234" y="186"/>
                        </a:lnTo>
                        <a:lnTo>
                          <a:pt x="234" y="204"/>
                        </a:lnTo>
                        <a:lnTo>
                          <a:pt x="228" y="210"/>
                        </a:lnTo>
                        <a:lnTo>
                          <a:pt x="228" y="222"/>
                        </a:lnTo>
                        <a:lnTo>
                          <a:pt x="234" y="222"/>
                        </a:lnTo>
                        <a:lnTo>
                          <a:pt x="240" y="228"/>
                        </a:lnTo>
                        <a:lnTo>
                          <a:pt x="240" y="234"/>
                        </a:lnTo>
                        <a:lnTo>
                          <a:pt x="234" y="240"/>
                        </a:lnTo>
                        <a:lnTo>
                          <a:pt x="222" y="240"/>
                        </a:lnTo>
                        <a:lnTo>
                          <a:pt x="222" y="246"/>
                        </a:lnTo>
                        <a:lnTo>
                          <a:pt x="234" y="258"/>
                        </a:lnTo>
                        <a:lnTo>
                          <a:pt x="246" y="264"/>
                        </a:lnTo>
                        <a:lnTo>
                          <a:pt x="252" y="270"/>
                        </a:lnTo>
                        <a:lnTo>
                          <a:pt x="258" y="270"/>
                        </a:lnTo>
                        <a:lnTo>
                          <a:pt x="264" y="276"/>
                        </a:lnTo>
                        <a:lnTo>
                          <a:pt x="264" y="282"/>
                        </a:lnTo>
                        <a:lnTo>
                          <a:pt x="282" y="282"/>
                        </a:lnTo>
                        <a:lnTo>
                          <a:pt x="282" y="288"/>
                        </a:lnTo>
                        <a:lnTo>
                          <a:pt x="288" y="282"/>
                        </a:lnTo>
                        <a:lnTo>
                          <a:pt x="288" y="258"/>
                        </a:lnTo>
                        <a:lnTo>
                          <a:pt x="282" y="252"/>
                        </a:lnTo>
                        <a:lnTo>
                          <a:pt x="276" y="252"/>
                        </a:lnTo>
                        <a:lnTo>
                          <a:pt x="270" y="246"/>
                        </a:lnTo>
                        <a:lnTo>
                          <a:pt x="288" y="240"/>
                        </a:lnTo>
                        <a:lnTo>
                          <a:pt x="288" y="210"/>
                        </a:lnTo>
                        <a:lnTo>
                          <a:pt x="300" y="222"/>
                        </a:lnTo>
                        <a:lnTo>
                          <a:pt x="306" y="222"/>
                        </a:lnTo>
                        <a:lnTo>
                          <a:pt x="318" y="210"/>
                        </a:lnTo>
                        <a:lnTo>
                          <a:pt x="300" y="192"/>
                        </a:lnTo>
                        <a:lnTo>
                          <a:pt x="300" y="138"/>
                        </a:lnTo>
                        <a:lnTo>
                          <a:pt x="318" y="138"/>
                        </a:lnTo>
                        <a:lnTo>
                          <a:pt x="330" y="126"/>
                        </a:lnTo>
                        <a:lnTo>
                          <a:pt x="360" y="132"/>
                        </a:lnTo>
                        <a:lnTo>
                          <a:pt x="360" y="120"/>
                        </a:lnTo>
                        <a:lnTo>
                          <a:pt x="354" y="10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1" name="Armenia">
                    <a:extLst>
                      <a:ext uri="{FF2B5EF4-FFF2-40B4-BE49-F238E27FC236}">
                        <a16:creationId xmlns:a16="http://schemas.microsoft.com/office/drawing/2014/main" id="{653A40F7-6E18-4E5C-8FDA-632EA0A71A04}"/>
                      </a:ext>
                    </a:extLst>
                  </p:cNvPr>
                  <p:cNvSpPr>
                    <a:spLocks/>
                  </p:cNvSpPr>
                  <p:nvPr/>
                </p:nvSpPr>
                <p:spPr bwMode="gray">
                  <a:xfrm>
                    <a:off x="6962630" y="2809184"/>
                    <a:ext cx="97102" cy="91986"/>
                  </a:xfrm>
                  <a:custGeom>
                    <a:avLst/>
                    <a:gdLst>
                      <a:gd name="T0" fmla="*/ 2147483647 w 222"/>
                      <a:gd name="T1" fmla="*/ 2147483647 h 210"/>
                      <a:gd name="T2" fmla="*/ 2147483647 w 222"/>
                      <a:gd name="T3" fmla="*/ 2147483647 h 210"/>
                      <a:gd name="T4" fmla="*/ 2147483647 w 222"/>
                      <a:gd name="T5" fmla="*/ 2147483647 h 210"/>
                      <a:gd name="T6" fmla="*/ 2147483647 w 222"/>
                      <a:gd name="T7" fmla="*/ 2147483647 h 210"/>
                      <a:gd name="T8" fmla="*/ 2147483647 w 222"/>
                      <a:gd name="T9" fmla="*/ 2147483647 h 210"/>
                      <a:gd name="T10" fmla="*/ 2147483647 w 222"/>
                      <a:gd name="T11" fmla="*/ 2147483647 h 210"/>
                      <a:gd name="T12" fmla="*/ 2147483647 w 222"/>
                      <a:gd name="T13" fmla="*/ 2147483647 h 210"/>
                      <a:gd name="T14" fmla="*/ 2147483647 w 222"/>
                      <a:gd name="T15" fmla="*/ 2147483647 h 210"/>
                      <a:gd name="T16" fmla="*/ 2147483647 w 222"/>
                      <a:gd name="T17" fmla="*/ 2147483647 h 210"/>
                      <a:gd name="T18" fmla="*/ 2147483647 w 222"/>
                      <a:gd name="T19" fmla="*/ 2147483647 h 210"/>
                      <a:gd name="T20" fmla="*/ 2147483647 w 222"/>
                      <a:gd name="T21" fmla="*/ 2147483647 h 210"/>
                      <a:gd name="T22" fmla="*/ 2147483647 w 222"/>
                      <a:gd name="T23" fmla="*/ 2147483647 h 210"/>
                      <a:gd name="T24" fmla="*/ 2147483647 w 222"/>
                      <a:gd name="T25" fmla="*/ 2147483647 h 210"/>
                      <a:gd name="T26" fmla="*/ 2147483647 w 222"/>
                      <a:gd name="T27" fmla="*/ 2147483647 h 210"/>
                      <a:gd name="T28" fmla="*/ 2147483647 w 222"/>
                      <a:gd name="T29" fmla="*/ 2147483647 h 210"/>
                      <a:gd name="T30" fmla="*/ 2147483647 w 222"/>
                      <a:gd name="T31" fmla="*/ 2147483647 h 210"/>
                      <a:gd name="T32" fmla="*/ 2147483647 w 222"/>
                      <a:gd name="T33" fmla="*/ 2147483647 h 210"/>
                      <a:gd name="T34" fmla="*/ 2147483647 w 222"/>
                      <a:gd name="T35" fmla="*/ 2147483647 h 210"/>
                      <a:gd name="T36" fmla="*/ 2147483647 w 222"/>
                      <a:gd name="T37" fmla="*/ 2147483647 h 210"/>
                      <a:gd name="T38" fmla="*/ 2147483647 w 222"/>
                      <a:gd name="T39" fmla="*/ 0 h 210"/>
                      <a:gd name="T40" fmla="*/ 2147483647 w 222"/>
                      <a:gd name="T41" fmla="*/ 0 h 210"/>
                      <a:gd name="T42" fmla="*/ 2147483647 w 222"/>
                      <a:gd name="T43" fmla="*/ 2147483647 h 210"/>
                      <a:gd name="T44" fmla="*/ 2147483647 w 222"/>
                      <a:gd name="T45" fmla="*/ 2147483647 h 210"/>
                      <a:gd name="T46" fmla="*/ 2147483647 w 222"/>
                      <a:gd name="T47" fmla="*/ 2147483647 h 210"/>
                      <a:gd name="T48" fmla="*/ 0 w 222"/>
                      <a:gd name="T49" fmla="*/ 2147483647 h 210"/>
                      <a:gd name="T50" fmla="*/ 2147483647 w 222"/>
                      <a:gd name="T51" fmla="*/ 2147483647 h 210"/>
                      <a:gd name="T52" fmla="*/ 2147483647 w 222"/>
                      <a:gd name="T53" fmla="*/ 2147483647 h 210"/>
                      <a:gd name="T54" fmla="*/ 2147483647 w 222"/>
                      <a:gd name="T55" fmla="*/ 2147483647 h 210"/>
                      <a:gd name="T56" fmla="*/ 2147483647 w 222"/>
                      <a:gd name="T57" fmla="*/ 2147483647 h 210"/>
                      <a:gd name="T58" fmla="*/ 2147483647 w 222"/>
                      <a:gd name="T59" fmla="*/ 2147483647 h 210"/>
                      <a:gd name="T60" fmla="*/ 2147483647 w 222"/>
                      <a:gd name="T61" fmla="*/ 2147483647 h 210"/>
                      <a:gd name="T62" fmla="*/ 2147483647 w 222"/>
                      <a:gd name="T63" fmla="*/ 2147483647 h 210"/>
                      <a:gd name="T64" fmla="*/ 2147483647 w 222"/>
                      <a:gd name="T65" fmla="*/ 2147483647 h 210"/>
                      <a:gd name="T66" fmla="*/ 2147483647 w 222"/>
                      <a:gd name="T67" fmla="*/ 2147483647 h 210"/>
                      <a:gd name="T68" fmla="*/ 2147483647 w 222"/>
                      <a:gd name="T69" fmla="*/ 2147483647 h 210"/>
                      <a:gd name="T70" fmla="*/ 2147483647 w 222"/>
                      <a:gd name="T71" fmla="*/ 2147483647 h 210"/>
                      <a:gd name="T72" fmla="*/ 2147483647 w 222"/>
                      <a:gd name="T73" fmla="*/ 2147483647 h 210"/>
                      <a:gd name="T74" fmla="*/ 2147483647 w 222"/>
                      <a:gd name="T75" fmla="*/ 2147483647 h 210"/>
                      <a:gd name="T76" fmla="*/ 2147483647 w 222"/>
                      <a:gd name="T77" fmla="*/ 2147483647 h 210"/>
                      <a:gd name="T78" fmla="*/ 2147483647 w 222"/>
                      <a:gd name="T79" fmla="*/ 2147483647 h 210"/>
                      <a:gd name="T80" fmla="*/ 2147483647 w 222"/>
                      <a:gd name="T81" fmla="*/ 2147483647 h 210"/>
                      <a:gd name="T82" fmla="*/ 2147483647 w 222"/>
                      <a:gd name="T83" fmla="*/ 2147483647 h 210"/>
                      <a:gd name="T84" fmla="*/ 2147483647 w 222"/>
                      <a:gd name="T85" fmla="*/ 2147483647 h 210"/>
                      <a:gd name="T86" fmla="*/ 2147483647 w 222"/>
                      <a:gd name="T87" fmla="*/ 2147483647 h 210"/>
                      <a:gd name="T88" fmla="*/ 2147483647 w 222"/>
                      <a:gd name="T89" fmla="*/ 2147483647 h 210"/>
                      <a:gd name="T90" fmla="*/ 2147483647 w 222"/>
                      <a:gd name="T91" fmla="*/ 2147483647 h 210"/>
                      <a:gd name="T92" fmla="*/ 2147483647 w 222"/>
                      <a:gd name="T93" fmla="*/ 2147483647 h 210"/>
                      <a:gd name="T94" fmla="*/ 2147483647 w 222"/>
                      <a:gd name="T95" fmla="*/ 2147483647 h 210"/>
                      <a:gd name="T96" fmla="*/ 2147483647 w 222"/>
                      <a:gd name="T97" fmla="*/ 2147483647 h 210"/>
                      <a:gd name="T98" fmla="*/ 2147483647 w 222"/>
                      <a:gd name="T99" fmla="*/ 2147483647 h 210"/>
                      <a:gd name="T100" fmla="*/ 2147483647 w 222"/>
                      <a:gd name="T101" fmla="*/ 2147483647 h 210"/>
                      <a:gd name="T102" fmla="*/ 2147483647 w 222"/>
                      <a:gd name="T103" fmla="*/ 2147483647 h 210"/>
                      <a:gd name="T104" fmla="*/ 2147483647 w 222"/>
                      <a:gd name="T105" fmla="*/ 2147483647 h 210"/>
                      <a:gd name="T106" fmla="*/ 2147483647 w 222"/>
                      <a:gd name="T107" fmla="*/ 2147483647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10"/>
                      <a:gd name="T164" fmla="*/ 222 w 222"/>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10">
                        <a:moveTo>
                          <a:pt x="222" y="168"/>
                        </a:moveTo>
                        <a:lnTo>
                          <a:pt x="216" y="156"/>
                        </a:lnTo>
                        <a:lnTo>
                          <a:pt x="216" y="144"/>
                        </a:lnTo>
                        <a:lnTo>
                          <a:pt x="186" y="138"/>
                        </a:lnTo>
                        <a:lnTo>
                          <a:pt x="174" y="120"/>
                        </a:lnTo>
                        <a:lnTo>
                          <a:pt x="144" y="108"/>
                        </a:lnTo>
                        <a:lnTo>
                          <a:pt x="156" y="108"/>
                        </a:lnTo>
                        <a:lnTo>
                          <a:pt x="174" y="90"/>
                        </a:lnTo>
                        <a:lnTo>
                          <a:pt x="174" y="84"/>
                        </a:lnTo>
                        <a:lnTo>
                          <a:pt x="168" y="78"/>
                        </a:lnTo>
                        <a:lnTo>
                          <a:pt x="144" y="66"/>
                        </a:lnTo>
                        <a:lnTo>
                          <a:pt x="138" y="60"/>
                        </a:lnTo>
                        <a:lnTo>
                          <a:pt x="132" y="60"/>
                        </a:lnTo>
                        <a:lnTo>
                          <a:pt x="138" y="54"/>
                        </a:lnTo>
                        <a:lnTo>
                          <a:pt x="138" y="30"/>
                        </a:lnTo>
                        <a:lnTo>
                          <a:pt x="132" y="24"/>
                        </a:lnTo>
                        <a:lnTo>
                          <a:pt x="114" y="24"/>
                        </a:lnTo>
                        <a:lnTo>
                          <a:pt x="114" y="12"/>
                        </a:lnTo>
                        <a:lnTo>
                          <a:pt x="102" y="6"/>
                        </a:lnTo>
                        <a:lnTo>
                          <a:pt x="96" y="0"/>
                        </a:lnTo>
                        <a:lnTo>
                          <a:pt x="84" y="0"/>
                        </a:lnTo>
                        <a:lnTo>
                          <a:pt x="84" y="18"/>
                        </a:lnTo>
                        <a:lnTo>
                          <a:pt x="30" y="12"/>
                        </a:lnTo>
                        <a:lnTo>
                          <a:pt x="24" y="18"/>
                        </a:lnTo>
                        <a:lnTo>
                          <a:pt x="0" y="24"/>
                        </a:lnTo>
                        <a:lnTo>
                          <a:pt x="6" y="30"/>
                        </a:lnTo>
                        <a:lnTo>
                          <a:pt x="6" y="42"/>
                        </a:lnTo>
                        <a:lnTo>
                          <a:pt x="18" y="78"/>
                        </a:lnTo>
                        <a:lnTo>
                          <a:pt x="18" y="90"/>
                        </a:lnTo>
                        <a:lnTo>
                          <a:pt x="24" y="102"/>
                        </a:lnTo>
                        <a:lnTo>
                          <a:pt x="30" y="108"/>
                        </a:lnTo>
                        <a:lnTo>
                          <a:pt x="42" y="114"/>
                        </a:lnTo>
                        <a:lnTo>
                          <a:pt x="54" y="114"/>
                        </a:lnTo>
                        <a:lnTo>
                          <a:pt x="66" y="108"/>
                        </a:lnTo>
                        <a:lnTo>
                          <a:pt x="72" y="108"/>
                        </a:lnTo>
                        <a:lnTo>
                          <a:pt x="72" y="114"/>
                        </a:lnTo>
                        <a:lnTo>
                          <a:pt x="78" y="120"/>
                        </a:lnTo>
                        <a:lnTo>
                          <a:pt x="78" y="132"/>
                        </a:lnTo>
                        <a:lnTo>
                          <a:pt x="84" y="144"/>
                        </a:lnTo>
                        <a:lnTo>
                          <a:pt x="84" y="150"/>
                        </a:lnTo>
                        <a:lnTo>
                          <a:pt x="90" y="156"/>
                        </a:lnTo>
                        <a:lnTo>
                          <a:pt x="108" y="132"/>
                        </a:lnTo>
                        <a:lnTo>
                          <a:pt x="126" y="132"/>
                        </a:lnTo>
                        <a:lnTo>
                          <a:pt x="138" y="144"/>
                        </a:lnTo>
                        <a:lnTo>
                          <a:pt x="174" y="144"/>
                        </a:lnTo>
                        <a:lnTo>
                          <a:pt x="174" y="156"/>
                        </a:lnTo>
                        <a:lnTo>
                          <a:pt x="180" y="162"/>
                        </a:lnTo>
                        <a:lnTo>
                          <a:pt x="180" y="174"/>
                        </a:lnTo>
                        <a:lnTo>
                          <a:pt x="186" y="186"/>
                        </a:lnTo>
                        <a:lnTo>
                          <a:pt x="186" y="198"/>
                        </a:lnTo>
                        <a:lnTo>
                          <a:pt x="192" y="204"/>
                        </a:lnTo>
                        <a:lnTo>
                          <a:pt x="192" y="210"/>
                        </a:lnTo>
                        <a:lnTo>
                          <a:pt x="222" y="210"/>
                        </a:lnTo>
                        <a:lnTo>
                          <a:pt x="222" y="16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2" name="Afghanistan">
                    <a:extLst>
                      <a:ext uri="{FF2B5EF4-FFF2-40B4-BE49-F238E27FC236}">
                        <a16:creationId xmlns:a16="http://schemas.microsoft.com/office/drawing/2014/main" id="{D5FF47AA-95C7-407C-99B8-9104DCC659E5}"/>
                      </a:ext>
                    </a:extLst>
                  </p:cNvPr>
                  <p:cNvSpPr>
                    <a:spLocks/>
                  </p:cNvSpPr>
                  <p:nvPr/>
                </p:nvSpPr>
                <p:spPr bwMode="gray">
                  <a:xfrm>
                    <a:off x="7485613" y="2907984"/>
                    <a:ext cx="391812" cy="318546"/>
                  </a:xfrm>
                  <a:custGeom>
                    <a:avLst/>
                    <a:gdLst>
                      <a:gd name="T0" fmla="*/ 2147483647 w 906"/>
                      <a:gd name="T1" fmla="*/ 2147483647 h 738"/>
                      <a:gd name="T2" fmla="*/ 2147483647 w 906"/>
                      <a:gd name="T3" fmla="*/ 2147483647 h 738"/>
                      <a:gd name="T4" fmla="*/ 2147483647 w 906"/>
                      <a:gd name="T5" fmla="*/ 2147483647 h 738"/>
                      <a:gd name="T6" fmla="*/ 2147483647 w 906"/>
                      <a:gd name="T7" fmla="*/ 2147483647 h 738"/>
                      <a:gd name="T8" fmla="*/ 2147483647 w 906"/>
                      <a:gd name="T9" fmla="*/ 2147483647 h 738"/>
                      <a:gd name="T10" fmla="*/ 2147483647 w 906"/>
                      <a:gd name="T11" fmla="*/ 0 h 738"/>
                      <a:gd name="T12" fmla="*/ 2147483647 w 906"/>
                      <a:gd name="T13" fmla="*/ 2147483647 h 738"/>
                      <a:gd name="T14" fmla="*/ 2147483647 w 906"/>
                      <a:gd name="T15" fmla="*/ 2147483647 h 738"/>
                      <a:gd name="T16" fmla="*/ 2147483647 w 906"/>
                      <a:gd name="T17" fmla="*/ 2147483647 h 738"/>
                      <a:gd name="T18" fmla="*/ 2147483647 w 906"/>
                      <a:gd name="T19" fmla="*/ 2147483647 h 738"/>
                      <a:gd name="T20" fmla="*/ 2147483647 w 906"/>
                      <a:gd name="T21" fmla="*/ 2147483647 h 738"/>
                      <a:gd name="T22" fmla="*/ 2147483647 w 906"/>
                      <a:gd name="T23" fmla="*/ 2147483647 h 738"/>
                      <a:gd name="T24" fmla="*/ 2147483647 w 906"/>
                      <a:gd name="T25" fmla="*/ 2147483647 h 738"/>
                      <a:gd name="T26" fmla="*/ 2147483647 w 906"/>
                      <a:gd name="T27" fmla="*/ 2147483647 h 738"/>
                      <a:gd name="T28" fmla="*/ 2147483647 w 906"/>
                      <a:gd name="T29" fmla="*/ 2147483647 h 738"/>
                      <a:gd name="T30" fmla="*/ 2147483647 w 906"/>
                      <a:gd name="T31" fmla="*/ 2147483647 h 738"/>
                      <a:gd name="T32" fmla="*/ 2147483647 w 906"/>
                      <a:gd name="T33" fmla="*/ 2147483647 h 738"/>
                      <a:gd name="T34" fmla="*/ 2147483647 w 906"/>
                      <a:gd name="T35" fmla="*/ 2147483647 h 738"/>
                      <a:gd name="T36" fmla="*/ 2147483647 w 906"/>
                      <a:gd name="T37" fmla="*/ 2147483647 h 738"/>
                      <a:gd name="T38" fmla="*/ 2147483647 w 906"/>
                      <a:gd name="T39" fmla="*/ 2147483647 h 738"/>
                      <a:gd name="T40" fmla="*/ 2147483647 w 906"/>
                      <a:gd name="T41" fmla="*/ 2147483647 h 738"/>
                      <a:gd name="T42" fmla="*/ 2147483647 w 906"/>
                      <a:gd name="T43" fmla="*/ 2147483647 h 738"/>
                      <a:gd name="T44" fmla="*/ 2147483647 w 906"/>
                      <a:gd name="T45" fmla="*/ 2147483647 h 738"/>
                      <a:gd name="T46" fmla="*/ 0 w 906"/>
                      <a:gd name="T47" fmla="*/ 2147483647 h 738"/>
                      <a:gd name="T48" fmla="*/ 2147483647 w 906"/>
                      <a:gd name="T49" fmla="*/ 2147483647 h 738"/>
                      <a:gd name="T50" fmla="*/ 2147483647 w 906"/>
                      <a:gd name="T51" fmla="*/ 2147483647 h 738"/>
                      <a:gd name="T52" fmla="*/ 2147483647 w 906"/>
                      <a:gd name="T53" fmla="*/ 2147483647 h 738"/>
                      <a:gd name="T54" fmla="*/ 2147483647 w 906"/>
                      <a:gd name="T55" fmla="*/ 2147483647 h 738"/>
                      <a:gd name="T56" fmla="*/ 2147483647 w 906"/>
                      <a:gd name="T57" fmla="*/ 2147483647 h 738"/>
                      <a:gd name="T58" fmla="*/ 2147483647 w 906"/>
                      <a:gd name="T59" fmla="*/ 2147483647 h 738"/>
                      <a:gd name="T60" fmla="*/ 2147483647 w 906"/>
                      <a:gd name="T61" fmla="*/ 2147483647 h 738"/>
                      <a:gd name="T62" fmla="*/ 2147483647 w 906"/>
                      <a:gd name="T63" fmla="*/ 2147483647 h 738"/>
                      <a:gd name="T64" fmla="*/ 2147483647 w 906"/>
                      <a:gd name="T65" fmla="*/ 2147483647 h 738"/>
                      <a:gd name="T66" fmla="*/ 2147483647 w 906"/>
                      <a:gd name="T67" fmla="*/ 2147483647 h 738"/>
                      <a:gd name="T68" fmla="*/ 2147483647 w 906"/>
                      <a:gd name="T69" fmla="*/ 2147483647 h 738"/>
                      <a:gd name="T70" fmla="*/ 2147483647 w 906"/>
                      <a:gd name="T71" fmla="*/ 2147483647 h 738"/>
                      <a:gd name="T72" fmla="*/ 2147483647 w 906"/>
                      <a:gd name="T73" fmla="*/ 2147483647 h 738"/>
                      <a:gd name="T74" fmla="*/ 2147483647 w 906"/>
                      <a:gd name="T75" fmla="*/ 2147483647 h 738"/>
                      <a:gd name="T76" fmla="*/ 2147483647 w 906"/>
                      <a:gd name="T77" fmla="*/ 2147483647 h 738"/>
                      <a:gd name="T78" fmla="*/ 2147483647 w 906"/>
                      <a:gd name="T79" fmla="*/ 2147483647 h 738"/>
                      <a:gd name="T80" fmla="*/ 2147483647 w 906"/>
                      <a:gd name="T81" fmla="*/ 2147483647 h 738"/>
                      <a:gd name="T82" fmla="*/ 2147483647 w 906"/>
                      <a:gd name="T83" fmla="*/ 2147483647 h 738"/>
                      <a:gd name="T84" fmla="*/ 2147483647 w 906"/>
                      <a:gd name="T85" fmla="*/ 2147483647 h 738"/>
                      <a:gd name="T86" fmla="*/ 2147483647 w 906"/>
                      <a:gd name="T87" fmla="*/ 2147483647 h 738"/>
                      <a:gd name="T88" fmla="*/ 2147483647 w 906"/>
                      <a:gd name="T89" fmla="*/ 2147483647 h 738"/>
                      <a:gd name="T90" fmla="*/ 2147483647 w 906"/>
                      <a:gd name="T91" fmla="*/ 2147483647 h 738"/>
                      <a:gd name="T92" fmla="*/ 2147483647 w 906"/>
                      <a:gd name="T93" fmla="*/ 2147483647 h 738"/>
                      <a:gd name="T94" fmla="*/ 2147483647 w 906"/>
                      <a:gd name="T95" fmla="*/ 2147483647 h 738"/>
                      <a:gd name="T96" fmla="*/ 2147483647 w 906"/>
                      <a:gd name="T97" fmla="*/ 2147483647 h 738"/>
                      <a:gd name="T98" fmla="*/ 2147483647 w 906"/>
                      <a:gd name="T99" fmla="*/ 2147483647 h 738"/>
                      <a:gd name="T100" fmla="*/ 2147483647 w 906"/>
                      <a:gd name="T101" fmla="*/ 2147483647 h 738"/>
                      <a:gd name="T102" fmla="*/ 2147483647 w 906"/>
                      <a:gd name="T103" fmla="*/ 2147483647 h 738"/>
                      <a:gd name="T104" fmla="*/ 2147483647 w 906"/>
                      <a:gd name="T105" fmla="*/ 2147483647 h 738"/>
                      <a:gd name="T106" fmla="*/ 2147483647 w 906"/>
                      <a:gd name="T107" fmla="*/ 2147483647 h 738"/>
                      <a:gd name="T108" fmla="*/ 2147483647 w 906"/>
                      <a:gd name="T109" fmla="*/ 21474836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6"/>
                      <a:gd name="T166" fmla="*/ 0 h 738"/>
                      <a:gd name="T167" fmla="*/ 906 w 906"/>
                      <a:gd name="T168" fmla="*/ 738 h 7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6" h="738">
                        <a:moveTo>
                          <a:pt x="894" y="108"/>
                        </a:moveTo>
                        <a:lnTo>
                          <a:pt x="894" y="96"/>
                        </a:lnTo>
                        <a:lnTo>
                          <a:pt x="906" y="96"/>
                        </a:lnTo>
                        <a:lnTo>
                          <a:pt x="900" y="90"/>
                        </a:lnTo>
                        <a:lnTo>
                          <a:pt x="876" y="90"/>
                        </a:lnTo>
                        <a:lnTo>
                          <a:pt x="840" y="102"/>
                        </a:lnTo>
                        <a:lnTo>
                          <a:pt x="840" y="84"/>
                        </a:lnTo>
                        <a:lnTo>
                          <a:pt x="816" y="84"/>
                        </a:lnTo>
                        <a:lnTo>
                          <a:pt x="792" y="96"/>
                        </a:lnTo>
                        <a:lnTo>
                          <a:pt x="786" y="102"/>
                        </a:lnTo>
                        <a:lnTo>
                          <a:pt x="780" y="114"/>
                        </a:lnTo>
                        <a:lnTo>
                          <a:pt x="774" y="120"/>
                        </a:lnTo>
                        <a:lnTo>
                          <a:pt x="756" y="120"/>
                        </a:lnTo>
                        <a:lnTo>
                          <a:pt x="750" y="126"/>
                        </a:lnTo>
                        <a:lnTo>
                          <a:pt x="744" y="138"/>
                        </a:lnTo>
                        <a:lnTo>
                          <a:pt x="732" y="144"/>
                        </a:lnTo>
                        <a:lnTo>
                          <a:pt x="726" y="150"/>
                        </a:lnTo>
                        <a:lnTo>
                          <a:pt x="720" y="150"/>
                        </a:lnTo>
                        <a:lnTo>
                          <a:pt x="690" y="120"/>
                        </a:lnTo>
                        <a:lnTo>
                          <a:pt x="690" y="114"/>
                        </a:lnTo>
                        <a:lnTo>
                          <a:pt x="678" y="48"/>
                        </a:lnTo>
                        <a:lnTo>
                          <a:pt x="660" y="48"/>
                        </a:lnTo>
                        <a:lnTo>
                          <a:pt x="660" y="18"/>
                        </a:lnTo>
                        <a:lnTo>
                          <a:pt x="642" y="0"/>
                        </a:lnTo>
                        <a:lnTo>
                          <a:pt x="624" y="0"/>
                        </a:lnTo>
                        <a:lnTo>
                          <a:pt x="618" y="6"/>
                        </a:lnTo>
                        <a:lnTo>
                          <a:pt x="618" y="30"/>
                        </a:lnTo>
                        <a:lnTo>
                          <a:pt x="612" y="36"/>
                        </a:lnTo>
                        <a:lnTo>
                          <a:pt x="606" y="36"/>
                        </a:lnTo>
                        <a:lnTo>
                          <a:pt x="594" y="48"/>
                        </a:lnTo>
                        <a:lnTo>
                          <a:pt x="594" y="54"/>
                        </a:lnTo>
                        <a:lnTo>
                          <a:pt x="600" y="60"/>
                        </a:lnTo>
                        <a:lnTo>
                          <a:pt x="606" y="60"/>
                        </a:lnTo>
                        <a:lnTo>
                          <a:pt x="600" y="84"/>
                        </a:lnTo>
                        <a:lnTo>
                          <a:pt x="588" y="72"/>
                        </a:lnTo>
                        <a:lnTo>
                          <a:pt x="570" y="72"/>
                        </a:lnTo>
                        <a:lnTo>
                          <a:pt x="558" y="78"/>
                        </a:lnTo>
                        <a:lnTo>
                          <a:pt x="546" y="90"/>
                        </a:lnTo>
                        <a:lnTo>
                          <a:pt x="546" y="120"/>
                        </a:lnTo>
                        <a:lnTo>
                          <a:pt x="540" y="120"/>
                        </a:lnTo>
                        <a:lnTo>
                          <a:pt x="534" y="114"/>
                        </a:lnTo>
                        <a:lnTo>
                          <a:pt x="528" y="102"/>
                        </a:lnTo>
                        <a:lnTo>
                          <a:pt x="522" y="96"/>
                        </a:lnTo>
                        <a:lnTo>
                          <a:pt x="510" y="96"/>
                        </a:lnTo>
                        <a:lnTo>
                          <a:pt x="504" y="102"/>
                        </a:lnTo>
                        <a:lnTo>
                          <a:pt x="492" y="108"/>
                        </a:lnTo>
                        <a:lnTo>
                          <a:pt x="474" y="126"/>
                        </a:lnTo>
                        <a:lnTo>
                          <a:pt x="468" y="126"/>
                        </a:lnTo>
                        <a:lnTo>
                          <a:pt x="456" y="114"/>
                        </a:lnTo>
                        <a:lnTo>
                          <a:pt x="444" y="108"/>
                        </a:lnTo>
                        <a:lnTo>
                          <a:pt x="438" y="102"/>
                        </a:lnTo>
                        <a:lnTo>
                          <a:pt x="426" y="102"/>
                        </a:lnTo>
                        <a:lnTo>
                          <a:pt x="414" y="108"/>
                        </a:lnTo>
                        <a:lnTo>
                          <a:pt x="396" y="84"/>
                        </a:lnTo>
                        <a:lnTo>
                          <a:pt x="384" y="96"/>
                        </a:lnTo>
                        <a:lnTo>
                          <a:pt x="342" y="96"/>
                        </a:lnTo>
                        <a:lnTo>
                          <a:pt x="330" y="90"/>
                        </a:lnTo>
                        <a:lnTo>
                          <a:pt x="324" y="84"/>
                        </a:lnTo>
                        <a:lnTo>
                          <a:pt x="312" y="78"/>
                        </a:lnTo>
                        <a:lnTo>
                          <a:pt x="300" y="78"/>
                        </a:lnTo>
                        <a:lnTo>
                          <a:pt x="300" y="102"/>
                        </a:lnTo>
                        <a:lnTo>
                          <a:pt x="264" y="102"/>
                        </a:lnTo>
                        <a:lnTo>
                          <a:pt x="252" y="108"/>
                        </a:lnTo>
                        <a:lnTo>
                          <a:pt x="246" y="120"/>
                        </a:lnTo>
                        <a:lnTo>
                          <a:pt x="246" y="180"/>
                        </a:lnTo>
                        <a:lnTo>
                          <a:pt x="234" y="180"/>
                        </a:lnTo>
                        <a:lnTo>
                          <a:pt x="222" y="186"/>
                        </a:lnTo>
                        <a:lnTo>
                          <a:pt x="216" y="198"/>
                        </a:lnTo>
                        <a:lnTo>
                          <a:pt x="180" y="216"/>
                        </a:lnTo>
                        <a:lnTo>
                          <a:pt x="168" y="216"/>
                        </a:lnTo>
                        <a:lnTo>
                          <a:pt x="168" y="228"/>
                        </a:lnTo>
                        <a:lnTo>
                          <a:pt x="156" y="252"/>
                        </a:lnTo>
                        <a:lnTo>
                          <a:pt x="150" y="258"/>
                        </a:lnTo>
                        <a:lnTo>
                          <a:pt x="138" y="264"/>
                        </a:lnTo>
                        <a:lnTo>
                          <a:pt x="114" y="264"/>
                        </a:lnTo>
                        <a:lnTo>
                          <a:pt x="90" y="240"/>
                        </a:lnTo>
                        <a:lnTo>
                          <a:pt x="84" y="240"/>
                        </a:lnTo>
                        <a:lnTo>
                          <a:pt x="78" y="246"/>
                        </a:lnTo>
                        <a:lnTo>
                          <a:pt x="66" y="246"/>
                        </a:lnTo>
                        <a:lnTo>
                          <a:pt x="60" y="240"/>
                        </a:lnTo>
                        <a:lnTo>
                          <a:pt x="48" y="240"/>
                        </a:lnTo>
                        <a:lnTo>
                          <a:pt x="42" y="234"/>
                        </a:lnTo>
                        <a:lnTo>
                          <a:pt x="36" y="240"/>
                        </a:lnTo>
                        <a:lnTo>
                          <a:pt x="30" y="252"/>
                        </a:lnTo>
                        <a:lnTo>
                          <a:pt x="30" y="258"/>
                        </a:lnTo>
                        <a:lnTo>
                          <a:pt x="36" y="270"/>
                        </a:lnTo>
                        <a:lnTo>
                          <a:pt x="36" y="294"/>
                        </a:lnTo>
                        <a:lnTo>
                          <a:pt x="42" y="300"/>
                        </a:lnTo>
                        <a:lnTo>
                          <a:pt x="42" y="306"/>
                        </a:lnTo>
                        <a:lnTo>
                          <a:pt x="18" y="312"/>
                        </a:lnTo>
                        <a:lnTo>
                          <a:pt x="30" y="330"/>
                        </a:lnTo>
                        <a:lnTo>
                          <a:pt x="24" y="330"/>
                        </a:lnTo>
                        <a:lnTo>
                          <a:pt x="18" y="336"/>
                        </a:lnTo>
                        <a:lnTo>
                          <a:pt x="6" y="342"/>
                        </a:lnTo>
                        <a:lnTo>
                          <a:pt x="0" y="348"/>
                        </a:lnTo>
                        <a:lnTo>
                          <a:pt x="0" y="354"/>
                        </a:lnTo>
                        <a:lnTo>
                          <a:pt x="12" y="366"/>
                        </a:lnTo>
                        <a:lnTo>
                          <a:pt x="12" y="396"/>
                        </a:lnTo>
                        <a:lnTo>
                          <a:pt x="36" y="396"/>
                        </a:lnTo>
                        <a:lnTo>
                          <a:pt x="42" y="402"/>
                        </a:lnTo>
                        <a:lnTo>
                          <a:pt x="42" y="408"/>
                        </a:lnTo>
                        <a:lnTo>
                          <a:pt x="24" y="426"/>
                        </a:lnTo>
                        <a:lnTo>
                          <a:pt x="18" y="438"/>
                        </a:lnTo>
                        <a:lnTo>
                          <a:pt x="30" y="462"/>
                        </a:lnTo>
                        <a:lnTo>
                          <a:pt x="42" y="480"/>
                        </a:lnTo>
                        <a:lnTo>
                          <a:pt x="54" y="504"/>
                        </a:lnTo>
                        <a:lnTo>
                          <a:pt x="60" y="510"/>
                        </a:lnTo>
                        <a:lnTo>
                          <a:pt x="60" y="564"/>
                        </a:lnTo>
                        <a:lnTo>
                          <a:pt x="66" y="570"/>
                        </a:lnTo>
                        <a:lnTo>
                          <a:pt x="72" y="570"/>
                        </a:lnTo>
                        <a:lnTo>
                          <a:pt x="84" y="576"/>
                        </a:lnTo>
                        <a:lnTo>
                          <a:pt x="120" y="576"/>
                        </a:lnTo>
                        <a:lnTo>
                          <a:pt x="126" y="582"/>
                        </a:lnTo>
                        <a:lnTo>
                          <a:pt x="138" y="606"/>
                        </a:lnTo>
                        <a:lnTo>
                          <a:pt x="114" y="654"/>
                        </a:lnTo>
                        <a:lnTo>
                          <a:pt x="108" y="660"/>
                        </a:lnTo>
                        <a:lnTo>
                          <a:pt x="102" y="672"/>
                        </a:lnTo>
                        <a:lnTo>
                          <a:pt x="84" y="690"/>
                        </a:lnTo>
                        <a:lnTo>
                          <a:pt x="84" y="702"/>
                        </a:lnTo>
                        <a:lnTo>
                          <a:pt x="120" y="702"/>
                        </a:lnTo>
                        <a:lnTo>
                          <a:pt x="132" y="708"/>
                        </a:lnTo>
                        <a:lnTo>
                          <a:pt x="150" y="720"/>
                        </a:lnTo>
                        <a:lnTo>
                          <a:pt x="168" y="726"/>
                        </a:lnTo>
                        <a:lnTo>
                          <a:pt x="192" y="738"/>
                        </a:lnTo>
                        <a:lnTo>
                          <a:pt x="210" y="738"/>
                        </a:lnTo>
                        <a:lnTo>
                          <a:pt x="228" y="732"/>
                        </a:lnTo>
                        <a:lnTo>
                          <a:pt x="234" y="732"/>
                        </a:lnTo>
                        <a:lnTo>
                          <a:pt x="240" y="726"/>
                        </a:lnTo>
                        <a:lnTo>
                          <a:pt x="294" y="726"/>
                        </a:lnTo>
                        <a:lnTo>
                          <a:pt x="294" y="732"/>
                        </a:lnTo>
                        <a:lnTo>
                          <a:pt x="318" y="732"/>
                        </a:lnTo>
                        <a:lnTo>
                          <a:pt x="324" y="726"/>
                        </a:lnTo>
                        <a:lnTo>
                          <a:pt x="348" y="726"/>
                        </a:lnTo>
                        <a:lnTo>
                          <a:pt x="366" y="720"/>
                        </a:lnTo>
                        <a:lnTo>
                          <a:pt x="396" y="720"/>
                        </a:lnTo>
                        <a:lnTo>
                          <a:pt x="444" y="696"/>
                        </a:lnTo>
                        <a:lnTo>
                          <a:pt x="450" y="696"/>
                        </a:lnTo>
                        <a:lnTo>
                          <a:pt x="456" y="690"/>
                        </a:lnTo>
                        <a:lnTo>
                          <a:pt x="456" y="660"/>
                        </a:lnTo>
                        <a:lnTo>
                          <a:pt x="450" y="654"/>
                        </a:lnTo>
                        <a:lnTo>
                          <a:pt x="450" y="636"/>
                        </a:lnTo>
                        <a:lnTo>
                          <a:pt x="444" y="624"/>
                        </a:lnTo>
                        <a:lnTo>
                          <a:pt x="444" y="606"/>
                        </a:lnTo>
                        <a:lnTo>
                          <a:pt x="450" y="594"/>
                        </a:lnTo>
                        <a:lnTo>
                          <a:pt x="462" y="588"/>
                        </a:lnTo>
                        <a:lnTo>
                          <a:pt x="468" y="576"/>
                        </a:lnTo>
                        <a:lnTo>
                          <a:pt x="486" y="576"/>
                        </a:lnTo>
                        <a:lnTo>
                          <a:pt x="486" y="588"/>
                        </a:lnTo>
                        <a:lnTo>
                          <a:pt x="528" y="588"/>
                        </a:lnTo>
                        <a:lnTo>
                          <a:pt x="534" y="582"/>
                        </a:lnTo>
                        <a:lnTo>
                          <a:pt x="534" y="576"/>
                        </a:lnTo>
                        <a:lnTo>
                          <a:pt x="528" y="570"/>
                        </a:lnTo>
                        <a:lnTo>
                          <a:pt x="522" y="570"/>
                        </a:lnTo>
                        <a:lnTo>
                          <a:pt x="522" y="564"/>
                        </a:lnTo>
                        <a:lnTo>
                          <a:pt x="528" y="558"/>
                        </a:lnTo>
                        <a:lnTo>
                          <a:pt x="534" y="558"/>
                        </a:lnTo>
                        <a:lnTo>
                          <a:pt x="546" y="552"/>
                        </a:lnTo>
                        <a:lnTo>
                          <a:pt x="552" y="546"/>
                        </a:lnTo>
                        <a:lnTo>
                          <a:pt x="564" y="540"/>
                        </a:lnTo>
                        <a:lnTo>
                          <a:pt x="594" y="540"/>
                        </a:lnTo>
                        <a:lnTo>
                          <a:pt x="594" y="552"/>
                        </a:lnTo>
                        <a:lnTo>
                          <a:pt x="600" y="558"/>
                        </a:lnTo>
                        <a:lnTo>
                          <a:pt x="612" y="558"/>
                        </a:lnTo>
                        <a:lnTo>
                          <a:pt x="624" y="552"/>
                        </a:lnTo>
                        <a:lnTo>
                          <a:pt x="630" y="540"/>
                        </a:lnTo>
                        <a:lnTo>
                          <a:pt x="636" y="534"/>
                        </a:lnTo>
                        <a:lnTo>
                          <a:pt x="636" y="528"/>
                        </a:lnTo>
                        <a:lnTo>
                          <a:pt x="630" y="522"/>
                        </a:lnTo>
                        <a:lnTo>
                          <a:pt x="630" y="510"/>
                        </a:lnTo>
                        <a:lnTo>
                          <a:pt x="624" y="498"/>
                        </a:lnTo>
                        <a:lnTo>
                          <a:pt x="624" y="480"/>
                        </a:lnTo>
                        <a:lnTo>
                          <a:pt x="630" y="474"/>
                        </a:lnTo>
                        <a:lnTo>
                          <a:pt x="636" y="474"/>
                        </a:lnTo>
                        <a:lnTo>
                          <a:pt x="636" y="438"/>
                        </a:lnTo>
                        <a:lnTo>
                          <a:pt x="642" y="432"/>
                        </a:lnTo>
                        <a:lnTo>
                          <a:pt x="660" y="432"/>
                        </a:lnTo>
                        <a:lnTo>
                          <a:pt x="690" y="414"/>
                        </a:lnTo>
                        <a:lnTo>
                          <a:pt x="684" y="414"/>
                        </a:lnTo>
                        <a:lnTo>
                          <a:pt x="672" y="408"/>
                        </a:lnTo>
                        <a:lnTo>
                          <a:pt x="672" y="402"/>
                        </a:lnTo>
                        <a:lnTo>
                          <a:pt x="666" y="396"/>
                        </a:lnTo>
                        <a:lnTo>
                          <a:pt x="666" y="390"/>
                        </a:lnTo>
                        <a:lnTo>
                          <a:pt x="654" y="384"/>
                        </a:lnTo>
                        <a:lnTo>
                          <a:pt x="642" y="372"/>
                        </a:lnTo>
                        <a:lnTo>
                          <a:pt x="642" y="360"/>
                        </a:lnTo>
                        <a:lnTo>
                          <a:pt x="660" y="360"/>
                        </a:lnTo>
                        <a:lnTo>
                          <a:pt x="666" y="366"/>
                        </a:lnTo>
                        <a:lnTo>
                          <a:pt x="684" y="372"/>
                        </a:lnTo>
                        <a:lnTo>
                          <a:pt x="690" y="372"/>
                        </a:lnTo>
                        <a:lnTo>
                          <a:pt x="696" y="366"/>
                        </a:lnTo>
                        <a:lnTo>
                          <a:pt x="714" y="366"/>
                        </a:lnTo>
                        <a:lnTo>
                          <a:pt x="714" y="336"/>
                        </a:lnTo>
                        <a:lnTo>
                          <a:pt x="708" y="330"/>
                        </a:lnTo>
                        <a:lnTo>
                          <a:pt x="708" y="318"/>
                        </a:lnTo>
                        <a:lnTo>
                          <a:pt x="714" y="306"/>
                        </a:lnTo>
                        <a:lnTo>
                          <a:pt x="738" y="282"/>
                        </a:lnTo>
                        <a:lnTo>
                          <a:pt x="738" y="276"/>
                        </a:lnTo>
                        <a:lnTo>
                          <a:pt x="732" y="264"/>
                        </a:lnTo>
                        <a:lnTo>
                          <a:pt x="726" y="258"/>
                        </a:lnTo>
                        <a:lnTo>
                          <a:pt x="726" y="228"/>
                        </a:lnTo>
                        <a:lnTo>
                          <a:pt x="696" y="198"/>
                        </a:lnTo>
                        <a:lnTo>
                          <a:pt x="696" y="192"/>
                        </a:lnTo>
                        <a:lnTo>
                          <a:pt x="702" y="186"/>
                        </a:lnTo>
                        <a:lnTo>
                          <a:pt x="708" y="174"/>
                        </a:lnTo>
                        <a:lnTo>
                          <a:pt x="714" y="168"/>
                        </a:lnTo>
                        <a:lnTo>
                          <a:pt x="738" y="156"/>
                        </a:lnTo>
                        <a:lnTo>
                          <a:pt x="744" y="150"/>
                        </a:lnTo>
                        <a:lnTo>
                          <a:pt x="768" y="138"/>
                        </a:lnTo>
                        <a:lnTo>
                          <a:pt x="774" y="138"/>
                        </a:lnTo>
                        <a:lnTo>
                          <a:pt x="780" y="132"/>
                        </a:lnTo>
                        <a:lnTo>
                          <a:pt x="822" y="132"/>
                        </a:lnTo>
                        <a:lnTo>
                          <a:pt x="828" y="126"/>
                        </a:lnTo>
                        <a:lnTo>
                          <a:pt x="852" y="126"/>
                        </a:lnTo>
                        <a:lnTo>
                          <a:pt x="864" y="132"/>
                        </a:lnTo>
                        <a:lnTo>
                          <a:pt x="876" y="132"/>
                        </a:lnTo>
                        <a:lnTo>
                          <a:pt x="882" y="126"/>
                        </a:lnTo>
                        <a:lnTo>
                          <a:pt x="894" y="126"/>
                        </a:lnTo>
                        <a:lnTo>
                          <a:pt x="900" y="120"/>
                        </a:lnTo>
                        <a:lnTo>
                          <a:pt x="894" y="114"/>
                        </a:lnTo>
                        <a:lnTo>
                          <a:pt x="894" y="10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sp>
              <p:nvSpPr>
                <p:cNvPr id="389" name="Newfoundland">
                  <a:extLst>
                    <a:ext uri="{FF2B5EF4-FFF2-40B4-BE49-F238E27FC236}">
                      <a16:creationId xmlns:a16="http://schemas.microsoft.com/office/drawing/2014/main" id="{A61782D1-1EE0-4BC7-B39A-E8E39D1ED159}"/>
                    </a:ext>
                  </a:extLst>
                </p:cNvPr>
                <p:cNvSpPr>
                  <a:spLocks/>
                </p:cNvSpPr>
                <p:nvPr/>
              </p:nvSpPr>
              <p:spPr bwMode="gray">
                <a:xfrm>
                  <a:off x="2867676" y="1825152"/>
                  <a:ext cx="160653" cy="144280"/>
                </a:xfrm>
                <a:custGeom>
                  <a:avLst/>
                  <a:gdLst>
                    <a:gd name="T0" fmla="*/ 2147483647 w 426"/>
                    <a:gd name="T1" fmla="*/ 2147483647 h 384"/>
                    <a:gd name="T2" fmla="*/ 2147483647 w 426"/>
                    <a:gd name="T3" fmla="*/ 2147483647 h 384"/>
                    <a:gd name="T4" fmla="*/ 2147483647 w 426"/>
                    <a:gd name="T5" fmla="*/ 0 h 384"/>
                    <a:gd name="T6" fmla="*/ 2147483647 w 426"/>
                    <a:gd name="T7" fmla="*/ 2147483647 h 384"/>
                    <a:gd name="T8" fmla="*/ 2147483647 w 426"/>
                    <a:gd name="T9" fmla="*/ 2147483647 h 384"/>
                    <a:gd name="T10" fmla="*/ 2147483647 w 426"/>
                    <a:gd name="T11" fmla="*/ 2147483647 h 384"/>
                    <a:gd name="T12" fmla="*/ 2147483647 w 426"/>
                    <a:gd name="T13" fmla="*/ 2147483647 h 384"/>
                    <a:gd name="T14" fmla="*/ 2147483647 w 426"/>
                    <a:gd name="T15" fmla="*/ 2147483647 h 384"/>
                    <a:gd name="T16" fmla="*/ 2147483647 w 426"/>
                    <a:gd name="T17" fmla="*/ 2147483647 h 384"/>
                    <a:gd name="T18" fmla="*/ 2147483647 w 426"/>
                    <a:gd name="T19" fmla="*/ 2147483647 h 384"/>
                    <a:gd name="T20" fmla="*/ 2147483647 w 426"/>
                    <a:gd name="T21" fmla="*/ 2147483647 h 384"/>
                    <a:gd name="T22" fmla="*/ 2147483647 w 426"/>
                    <a:gd name="T23" fmla="*/ 2147483647 h 384"/>
                    <a:gd name="T24" fmla="*/ 2147483647 w 426"/>
                    <a:gd name="T25" fmla="*/ 2147483647 h 384"/>
                    <a:gd name="T26" fmla="*/ 2147483647 w 426"/>
                    <a:gd name="T27" fmla="*/ 2147483647 h 384"/>
                    <a:gd name="T28" fmla="*/ 2147483647 w 426"/>
                    <a:gd name="T29" fmla="*/ 2147483647 h 384"/>
                    <a:gd name="T30" fmla="*/ 2147483647 w 426"/>
                    <a:gd name="T31" fmla="*/ 2147483647 h 384"/>
                    <a:gd name="T32" fmla="*/ 2147483647 w 426"/>
                    <a:gd name="T33" fmla="*/ 2147483647 h 384"/>
                    <a:gd name="T34" fmla="*/ 2147483647 w 426"/>
                    <a:gd name="T35" fmla="*/ 2147483647 h 384"/>
                    <a:gd name="T36" fmla="*/ 2147483647 w 426"/>
                    <a:gd name="T37" fmla="*/ 2147483647 h 384"/>
                    <a:gd name="T38" fmla="*/ 2147483647 w 426"/>
                    <a:gd name="T39" fmla="*/ 2147483647 h 384"/>
                    <a:gd name="T40" fmla="*/ 2147483647 w 426"/>
                    <a:gd name="T41" fmla="*/ 2147483647 h 384"/>
                    <a:gd name="T42" fmla="*/ 2147483647 w 426"/>
                    <a:gd name="T43" fmla="*/ 2147483647 h 384"/>
                    <a:gd name="T44" fmla="*/ 2147483647 w 426"/>
                    <a:gd name="T45" fmla="*/ 2147483647 h 384"/>
                    <a:gd name="T46" fmla="*/ 2147483647 w 426"/>
                    <a:gd name="T47" fmla="*/ 2147483647 h 384"/>
                    <a:gd name="T48" fmla="*/ 2147483647 w 426"/>
                    <a:gd name="T49" fmla="*/ 2147483647 h 384"/>
                    <a:gd name="T50" fmla="*/ 2147483647 w 426"/>
                    <a:gd name="T51" fmla="*/ 2147483647 h 384"/>
                    <a:gd name="T52" fmla="*/ 2147483647 w 426"/>
                    <a:gd name="T53" fmla="*/ 2147483647 h 384"/>
                    <a:gd name="T54" fmla="*/ 2147483647 w 426"/>
                    <a:gd name="T55" fmla="*/ 2147483647 h 384"/>
                    <a:gd name="T56" fmla="*/ 2147483647 w 426"/>
                    <a:gd name="T57" fmla="*/ 2147483647 h 384"/>
                    <a:gd name="T58" fmla="*/ 2147483647 w 426"/>
                    <a:gd name="T59" fmla="*/ 2147483647 h 384"/>
                    <a:gd name="T60" fmla="*/ 2147483647 w 426"/>
                    <a:gd name="T61" fmla="*/ 2147483647 h 384"/>
                    <a:gd name="T62" fmla="*/ 2147483647 w 426"/>
                    <a:gd name="T63" fmla="*/ 2147483647 h 384"/>
                    <a:gd name="T64" fmla="*/ 2147483647 w 426"/>
                    <a:gd name="T65" fmla="*/ 2147483647 h 384"/>
                    <a:gd name="T66" fmla="*/ 2147483647 w 426"/>
                    <a:gd name="T67" fmla="*/ 2147483647 h 384"/>
                    <a:gd name="T68" fmla="*/ 2147483647 w 426"/>
                    <a:gd name="T69" fmla="*/ 2147483647 h 384"/>
                    <a:gd name="T70" fmla="*/ 2147483647 w 426"/>
                    <a:gd name="T71" fmla="*/ 2147483647 h 384"/>
                    <a:gd name="T72" fmla="*/ 2147483647 w 426"/>
                    <a:gd name="T73" fmla="*/ 2147483647 h 384"/>
                    <a:gd name="T74" fmla="*/ 2147483647 w 426"/>
                    <a:gd name="T75" fmla="*/ 2147483647 h 384"/>
                    <a:gd name="T76" fmla="*/ 2147483647 w 426"/>
                    <a:gd name="T77" fmla="*/ 2147483647 h 384"/>
                    <a:gd name="T78" fmla="*/ 2147483647 w 426"/>
                    <a:gd name="T79" fmla="*/ 2147483647 h 384"/>
                    <a:gd name="T80" fmla="*/ 2147483647 w 426"/>
                    <a:gd name="T81" fmla="*/ 2147483647 h 384"/>
                    <a:gd name="T82" fmla="*/ 2147483647 w 426"/>
                    <a:gd name="T83" fmla="*/ 2147483647 h 3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6"/>
                    <a:gd name="T127" fmla="*/ 0 h 384"/>
                    <a:gd name="T128" fmla="*/ 426 w 426"/>
                    <a:gd name="T129" fmla="*/ 384 h 3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6" h="384">
                      <a:moveTo>
                        <a:pt x="258" y="18"/>
                      </a:moveTo>
                      <a:lnTo>
                        <a:pt x="270" y="12"/>
                      </a:lnTo>
                      <a:lnTo>
                        <a:pt x="276" y="12"/>
                      </a:lnTo>
                      <a:lnTo>
                        <a:pt x="294" y="6"/>
                      </a:lnTo>
                      <a:lnTo>
                        <a:pt x="306" y="0"/>
                      </a:lnTo>
                      <a:lnTo>
                        <a:pt x="330" y="0"/>
                      </a:lnTo>
                      <a:lnTo>
                        <a:pt x="342" y="6"/>
                      </a:lnTo>
                      <a:lnTo>
                        <a:pt x="342" y="18"/>
                      </a:lnTo>
                      <a:lnTo>
                        <a:pt x="336" y="24"/>
                      </a:lnTo>
                      <a:lnTo>
                        <a:pt x="312" y="42"/>
                      </a:lnTo>
                      <a:lnTo>
                        <a:pt x="312" y="48"/>
                      </a:lnTo>
                      <a:lnTo>
                        <a:pt x="306" y="54"/>
                      </a:lnTo>
                      <a:lnTo>
                        <a:pt x="300" y="72"/>
                      </a:lnTo>
                      <a:lnTo>
                        <a:pt x="276" y="96"/>
                      </a:lnTo>
                      <a:lnTo>
                        <a:pt x="258" y="102"/>
                      </a:lnTo>
                      <a:lnTo>
                        <a:pt x="246" y="102"/>
                      </a:lnTo>
                      <a:lnTo>
                        <a:pt x="210" y="150"/>
                      </a:lnTo>
                      <a:lnTo>
                        <a:pt x="210" y="174"/>
                      </a:lnTo>
                      <a:lnTo>
                        <a:pt x="234" y="156"/>
                      </a:lnTo>
                      <a:lnTo>
                        <a:pt x="264" y="108"/>
                      </a:lnTo>
                      <a:lnTo>
                        <a:pt x="282" y="126"/>
                      </a:lnTo>
                      <a:lnTo>
                        <a:pt x="306" y="138"/>
                      </a:lnTo>
                      <a:lnTo>
                        <a:pt x="294" y="168"/>
                      </a:lnTo>
                      <a:lnTo>
                        <a:pt x="324" y="168"/>
                      </a:lnTo>
                      <a:lnTo>
                        <a:pt x="330" y="192"/>
                      </a:lnTo>
                      <a:lnTo>
                        <a:pt x="384" y="162"/>
                      </a:lnTo>
                      <a:lnTo>
                        <a:pt x="402" y="174"/>
                      </a:lnTo>
                      <a:lnTo>
                        <a:pt x="396" y="180"/>
                      </a:lnTo>
                      <a:lnTo>
                        <a:pt x="390" y="192"/>
                      </a:lnTo>
                      <a:lnTo>
                        <a:pt x="378" y="204"/>
                      </a:lnTo>
                      <a:lnTo>
                        <a:pt x="372" y="204"/>
                      </a:lnTo>
                      <a:lnTo>
                        <a:pt x="384" y="204"/>
                      </a:lnTo>
                      <a:lnTo>
                        <a:pt x="396" y="210"/>
                      </a:lnTo>
                      <a:lnTo>
                        <a:pt x="408" y="210"/>
                      </a:lnTo>
                      <a:lnTo>
                        <a:pt x="408" y="216"/>
                      </a:lnTo>
                      <a:lnTo>
                        <a:pt x="396" y="240"/>
                      </a:lnTo>
                      <a:lnTo>
                        <a:pt x="384" y="252"/>
                      </a:lnTo>
                      <a:lnTo>
                        <a:pt x="378" y="264"/>
                      </a:lnTo>
                      <a:lnTo>
                        <a:pt x="366" y="276"/>
                      </a:lnTo>
                      <a:lnTo>
                        <a:pt x="360" y="288"/>
                      </a:lnTo>
                      <a:lnTo>
                        <a:pt x="354" y="294"/>
                      </a:lnTo>
                      <a:lnTo>
                        <a:pt x="390" y="294"/>
                      </a:lnTo>
                      <a:lnTo>
                        <a:pt x="354" y="312"/>
                      </a:lnTo>
                      <a:lnTo>
                        <a:pt x="384" y="312"/>
                      </a:lnTo>
                      <a:lnTo>
                        <a:pt x="420" y="300"/>
                      </a:lnTo>
                      <a:lnTo>
                        <a:pt x="426" y="324"/>
                      </a:lnTo>
                      <a:lnTo>
                        <a:pt x="360" y="384"/>
                      </a:lnTo>
                      <a:lnTo>
                        <a:pt x="318" y="378"/>
                      </a:lnTo>
                      <a:lnTo>
                        <a:pt x="336" y="354"/>
                      </a:lnTo>
                      <a:lnTo>
                        <a:pt x="306" y="360"/>
                      </a:lnTo>
                      <a:lnTo>
                        <a:pt x="300" y="348"/>
                      </a:lnTo>
                      <a:lnTo>
                        <a:pt x="228" y="360"/>
                      </a:lnTo>
                      <a:lnTo>
                        <a:pt x="192" y="354"/>
                      </a:lnTo>
                      <a:lnTo>
                        <a:pt x="186" y="348"/>
                      </a:lnTo>
                      <a:lnTo>
                        <a:pt x="228" y="336"/>
                      </a:lnTo>
                      <a:lnTo>
                        <a:pt x="234" y="330"/>
                      </a:lnTo>
                      <a:lnTo>
                        <a:pt x="234" y="324"/>
                      </a:lnTo>
                      <a:lnTo>
                        <a:pt x="228" y="324"/>
                      </a:lnTo>
                      <a:lnTo>
                        <a:pt x="222" y="318"/>
                      </a:lnTo>
                      <a:lnTo>
                        <a:pt x="198" y="318"/>
                      </a:lnTo>
                      <a:lnTo>
                        <a:pt x="162" y="312"/>
                      </a:lnTo>
                      <a:lnTo>
                        <a:pt x="126" y="300"/>
                      </a:lnTo>
                      <a:lnTo>
                        <a:pt x="96" y="294"/>
                      </a:lnTo>
                      <a:lnTo>
                        <a:pt x="78" y="294"/>
                      </a:lnTo>
                      <a:lnTo>
                        <a:pt x="72" y="300"/>
                      </a:lnTo>
                      <a:lnTo>
                        <a:pt x="48" y="300"/>
                      </a:lnTo>
                      <a:lnTo>
                        <a:pt x="36" y="306"/>
                      </a:lnTo>
                      <a:lnTo>
                        <a:pt x="24" y="306"/>
                      </a:lnTo>
                      <a:lnTo>
                        <a:pt x="12" y="300"/>
                      </a:lnTo>
                      <a:lnTo>
                        <a:pt x="6" y="294"/>
                      </a:lnTo>
                      <a:lnTo>
                        <a:pt x="18" y="282"/>
                      </a:lnTo>
                      <a:lnTo>
                        <a:pt x="24" y="282"/>
                      </a:lnTo>
                      <a:lnTo>
                        <a:pt x="30" y="276"/>
                      </a:lnTo>
                      <a:lnTo>
                        <a:pt x="42" y="276"/>
                      </a:lnTo>
                      <a:lnTo>
                        <a:pt x="30" y="276"/>
                      </a:lnTo>
                      <a:lnTo>
                        <a:pt x="12" y="270"/>
                      </a:lnTo>
                      <a:lnTo>
                        <a:pt x="0" y="258"/>
                      </a:lnTo>
                      <a:lnTo>
                        <a:pt x="6" y="252"/>
                      </a:lnTo>
                      <a:lnTo>
                        <a:pt x="18" y="252"/>
                      </a:lnTo>
                      <a:lnTo>
                        <a:pt x="54" y="234"/>
                      </a:lnTo>
                      <a:lnTo>
                        <a:pt x="60" y="228"/>
                      </a:lnTo>
                      <a:lnTo>
                        <a:pt x="66" y="228"/>
                      </a:lnTo>
                      <a:lnTo>
                        <a:pt x="204" y="90"/>
                      </a:lnTo>
                      <a:lnTo>
                        <a:pt x="258"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0" name="United Kingdom">
                  <a:extLst>
                    <a:ext uri="{FF2B5EF4-FFF2-40B4-BE49-F238E27FC236}">
                      <a16:creationId xmlns:a16="http://schemas.microsoft.com/office/drawing/2014/main" id="{C910A1F7-9497-449F-8C5C-FB3D98EEB50E}"/>
                    </a:ext>
                  </a:extLst>
                </p:cNvPr>
                <p:cNvSpPr>
                  <a:spLocks noEditPoints="1"/>
                </p:cNvSpPr>
                <p:nvPr/>
              </p:nvSpPr>
              <p:spPr bwMode="gray">
                <a:xfrm>
                  <a:off x="4099349" y="1560391"/>
                  <a:ext cx="218667" cy="310871"/>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1" name="Switzerland">
                  <a:extLst>
                    <a:ext uri="{FF2B5EF4-FFF2-40B4-BE49-F238E27FC236}">
                      <a16:creationId xmlns:a16="http://schemas.microsoft.com/office/drawing/2014/main" id="{CA09C77C-3EA4-4490-B0CD-FD9C3791CB28}"/>
                    </a:ext>
                  </a:extLst>
                </p:cNvPr>
                <p:cNvSpPr>
                  <a:spLocks/>
                </p:cNvSpPr>
                <p:nvPr/>
              </p:nvSpPr>
              <p:spPr bwMode="gray">
                <a:xfrm>
                  <a:off x="4411730" y="1932245"/>
                  <a:ext cx="110077" cy="59497"/>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2" name="Sweden">
                  <a:extLst>
                    <a:ext uri="{FF2B5EF4-FFF2-40B4-BE49-F238E27FC236}">
                      <a16:creationId xmlns:a16="http://schemas.microsoft.com/office/drawing/2014/main" id="{05D16E67-4760-48F9-8D08-38BF2D368D3B}"/>
                    </a:ext>
                  </a:extLst>
                </p:cNvPr>
                <p:cNvSpPr>
                  <a:spLocks noEditPoints="1"/>
                </p:cNvSpPr>
                <p:nvPr/>
              </p:nvSpPr>
              <p:spPr bwMode="gray">
                <a:xfrm>
                  <a:off x="4536682" y="1338765"/>
                  <a:ext cx="260317" cy="373342"/>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3" name="Spain">
                  <a:extLst>
                    <a:ext uri="{FF2B5EF4-FFF2-40B4-BE49-F238E27FC236}">
                      <a16:creationId xmlns:a16="http://schemas.microsoft.com/office/drawing/2014/main" id="{F5E0F092-0182-4785-BB49-7CDA27AF2CA5}"/>
                    </a:ext>
                  </a:extLst>
                </p:cNvPr>
                <p:cNvSpPr>
                  <a:spLocks noEditPoints="1"/>
                </p:cNvSpPr>
                <p:nvPr/>
              </p:nvSpPr>
              <p:spPr bwMode="gray">
                <a:xfrm>
                  <a:off x="4036873" y="2054214"/>
                  <a:ext cx="330231" cy="232038"/>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4" name="Slovenia">
                  <a:extLst>
                    <a:ext uri="{FF2B5EF4-FFF2-40B4-BE49-F238E27FC236}">
                      <a16:creationId xmlns:a16="http://schemas.microsoft.com/office/drawing/2014/main" id="{35F299D5-A351-4E88-AB3E-1E160897CE5F}"/>
                    </a:ext>
                  </a:extLst>
                </p:cNvPr>
                <p:cNvSpPr>
                  <a:spLocks/>
                </p:cNvSpPr>
                <p:nvPr/>
              </p:nvSpPr>
              <p:spPr bwMode="gray">
                <a:xfrm>
                  <a:off x="4585771" y="1957532"/>
                  <a:ext cx="80327" cy="46111"/>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5" name="Slovakia">
                  <a:extLst>
                    <a:ext uri="{FF2B5EF4-FFF2-40B4-BE49-F238E27FC236}">
                      <a16:creationId xmlns:a16="http://schemas.microsoft.com/office/drawing/2014/main" id="{918D5991-0503-4FE5-AB58-CA83AFB45B8B}"/>
                    </a:ext>
                  </a:extLst>
                </p:cNvPr>
                <p:cNvSpPr>
                  <a:spLocks/>
                </p:cNvSpPr>
                <p:nvPr/>
              </p:nvSpPr>
              <p:spPr bwMode="gray">
                <a:xfrm>
                  <a:off x="4667585" y="1881673"/>
                  <a:ext cx="133878" cy="55035"/>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6" name="Portugal">
                  <a:extLst>
                    <a:ext uri="{FF2B5EF4-FFF2-40B4-BE49-F238E27FC236}">
                      <a16:creationId xmlns:a16="http://schemas.microsoft.com/office/drawing/2014/main" id="{730F8C1C-9381-4057-BCD5-6772F8B4A436}"/>
                    </a:ext>
                  </a:extLst>
                </p:cNvPr>
                <p:cNvSpPr>
                  <a:spLocks/>
                </p:cNvSpPr>
                <p:nvPr/>
              </p:nvSpPr>
              <p:spPr bwMode="gray">
                <a:xfrm>
                  <a:off x="4023486" y="2104786"/>
                  <a:ext cx="84790" cy="154691"/>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7" name="Poland">
                  <a:extLst>
                    <a:ext uri="{FF2B5EF4-FFF2-40B4-BE49-F238E27FC236}">
                      <a16:creationId xmlns:a16="http://schemas.microsoft.com/office/drawing/2014/main" id="{B84A88ED-A1F1-4704-A209-0C8673EDA4FC}"/>
                    </a:ext>
                  </a:extLst>
                </p:cNvPr>
                <p:cNvSpPr>
                  <a:spLocks/>
                </p:cNvSpPr>
                <p:nvPr/>
              </p:nvSpPr>
              <p:spPr bwMode="gray">
                <a:xfrm>
                  <a:off x="4602134" y="1728470"/>
                  <a:ext cx="236517" cy="169566"/>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8" name="Norway">
                  <a:extLst>
                    <a:ext uri="{FF2B5EF4-FFF2-40B4-BE49-F238E27FC236}">
                      <a16:creationId xmlns:a16="http://schemas.microsoft.com/office/drawing/2014/main" id="{06C4827A-3D0D-441D-92C2-F0BC0EBD1378}"/>
                    </a:ext>
                  </a:extLst>
                </p:cNvPr>
                <p:cNvSpPr>
                  <a:spLocks noEditPoints="1"/>
                </p:cNvSpPr>
                <p:nvPr/>
              </p:nvSpPr>
              <p:spPr bwMode="gray">
                <a:xfrm>
                  <a:off x="4404293" y="1072518"/>
                  <a:ext cx="511709" cy="563732"/>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9" name="Netherlands">
                  <a:extLst>
                    <a:ext uri="{FF2B5EF4-FFF2-40B4-BE49-F238E27FC236}">
                      <a16:creationId xmlns:a16="http://schemas.microsoft.com/office/drawing/2014/main" id="{142F1240-D79F-4451-9281-499FB69CCD44}"/>
                    </a:ext>
                  </a:extLst>
                </p:cNvPr>
                <p:cNvSpPr>
                  <a:spLocks/>
                </p:cNvSpPr>
                <p:nvPr/>
              </p:nvSpPr>
              <p:spPr bwMode="gray">
                <a:xfrm>
                  <a:off x="4344791" y="1768630"/>
                  <a:ext cx="101152" cy="78834"/>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0" name="Montenegro">
                  <a:extLst>
                    <a:ext uri="{FF2B5EF4-FFF2-40B4-BE49-F238E27FC236}">
                      <a16:creationId xmlns:a16="http://schemas.microsoft.com/office/drawing/2014/main" id="{D08617A8-580E-4BB8-9A83-2659730D7224}"/>
                    </a:ext>
                  </a:extLst>
                </p:cNvPr>
                <p:cNvSpPr>
                  <a:spLocks/>
                </p:cNvSpPr>
                <p:nvPr/>
              </p:nvSpPr>
              <p:spPr bwMode="gray">
                <a:xfrm>
                  <a:off x="4712211" y="2058676"/>
                  <a:ext cx="41651" cy="50572"/>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1" name="Malta">
                  <a:extLst>
                    <a:ext uri="{FF2B5EF4-FFF2-40B4-BE49-F238E27FC236}">
                      <a16:creationId xmlns:a16="http://schemas.microsoft.com/office/drawing/2014/main" id="{FDEFFB8D-86A3-44CA-AB80-CF0737AF3257}"/>
                    </a:ext>
                  </a:extLst>
                </p:cNvPr>
                <p:cNvSpPr>
                  <a:spLocks/>
                </p:cNvSpPr>
                <p:nvPr/>
              </p:nvSpPr>
              <p:spPr bwMode="gray">
                <a:xfrm>
                  <a:off x="4611059" y="2281789"/>
                  <a:ext cx="11900" cy="10413"/>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2" name="Macedonia">
                  <a:extLst>
                    <a:ext uri="{FF2B5EF4-FFF2-40B4-BE49-F238E27FC236}">
                      <a16:creationId xmlns:a16="http://schemas.microsoft.com/office/drawing/2014/main" id="{F63CC732-DFCE-4FE9-A5A5-177A3EDE7284}"/>
                    </a:ext>
                  </a:extLst>
                </p:cNvPr>
                <p:cNvSpPr>
                  <a:spLocks/>
                </p:cNvSpPr>
                <p:nvPr/>
              </p:nvSpPr>
              <p:spPr bwMode="gray">
                <a:xfrm>
                  <a:off x="4764274" y="2094374"/>
                  <a:ext cx="62476" cy="47597"/>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3" name="Luxembourg">
                  <a:extLst>
                    <a:ext uri="{FF2B5EF4-FFF2-40B4-BE49-F238E27FC236}">
                      <a16:creationId xmlns:a16="http://schemas.microsoft.com/office/drawing/2014/main" id="{5AFB68FD-1FCE-4906-B058-D4CCF2CC3D44}"/>
                    </a:ext>
                  </a:extLst>
                </p:cNvPr>
                <p:cNvSpPr>
                  <a:spLocks/>
                </p:cNvSpPr>
                <p:nvPr/>
              </p:nvSpPr>
              <p:spPr bwMode="gray">
                <a:xfrm>
                  <a:off x="4405780" y="1865312"/>
                  <a:ext cx="19338" cy="16362"/>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4" name="Liechtenstein">
                  <a:extLst>
                    <a:ext uri="{FF2B5EF4-FFF2-40B4-BE49-F238E27FC236}">
                      <a16:creationId xmlns:a16="http://schemas.microsoft.com/office/drawing/2014/main" id="{BB395A8D-7EFC-44C9-B02B-6A07E1C8E96C}"/>
                    </a:ext>
                  </a:extLst>
                </p:cNvPr>
                <p:cNvSpPr>
                  <a:spLocks/>
                </p:cNvSpPr>
                <p:nvPr/>
              </p:nvSpPr>
              <p:spPr bwMode="gray">
                <a:xfrm>
                  <a:off x="4492056" y="1947120"/>
                  <a:ext cx="5950" cy="8925"/>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5" name="Italy">
                  <a:extLst>
                    <a:ext uri="{FF2B5EF4-FFF2-40B4-BE49-F238E27FC236}">
                      <a16:creationId xmlns:a16="http://schemas.microsoft.com/office/drawing/2014/main" id="{E726E9EA-CC6D-4AFA-A927-ACF69BB9B6F9}"/>
                    </a:ext>
                  </a:extLst>
                </p:cNvPr>
                <p:cNvSpPr>
                  <a:spLocks noEditPoints="1"/>
                </p:cNvSpPr>
                <p:nvPr/>
              </p:nvSpPr>
              <p:spPr bwMode="gray">
                <a:xfrm>
                  <a:off x="4423630" y="1953070"/>
                  <a:ext cx="294530" cy="313846"/>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6" name="Ireland">
                  <a:extLst>
                    <a:ext uri="{FF2B5EF4-FFF2-40B4-BE49-F238E27FC236}">
                      <a16:creationId xmlns:a16="http://schemas.microsoft.com/office/drawing/2014/main" id="{F6596B39-2A1E-47B3-B801-D2105B4E5291}"/>
                    </a:ext>
                  </a:extLst>
                </p:cNvPr>
                <p:cNvSpPr>
                  <a:spLocks/>
                </p:cNvSpPr>
                <p:nvPr/>
              </p:nvSpPr>
              <p:spPr bwMode="gray">
                <a:xfrm>
                  <a:off x="4039848" y="1715082"/>
                  <a:ext cx="105615" cy="111556"/>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7" name="Iceland">
                  <a:extLst>
                    <a:ext uri="{FF2B5EF4-FFF2-40B4-BE49-F238E27FC236}">
                      <a16:creationId xmlns:a16="http://schemas.microsoft.com/office/drawing/2014/main" id="{8737E38B-5EDF-4905-B679-02B247E04B57}"/>
                    </a:ext>
                  </a:extLst>
                </p:cNvPr>
                <p:cNvSpPr>
                  <a:spLocks/>
                </p:cNvSpPr>
                <p:nvPr/>
              </p:nvSpPr>
              <p:spPr bwMode="gray">
                <a:xfrm>
                  <a:off x="3812255" y="1404211"/>
                  <a:ext cx="215692" cy="83295"/>
                </a:xfrm>
                <a:custGeom>
                  <a:avLst/>
                  <a:gdLst>
                    <a:gd name="T0" fmla="*/ 2147483647 w 570"/>
                    <a:gd name="T1" fmla="*/ 2147483647 h 222"/>
                    <a:gd name="T2" fmla="*/ 2147483647 w 570"/>
                    <a:gd name="T3" fmla="*/ 2147483647 h 222"/>
                    <a:gd name="T4" fmla="*/ 2147483647 w 570"/>
                    <a:gd name="T5" fmla="*/ 2147483647 h 222"/>
                    <a:gd name="T6" fmla="*/ 2147483647 w 570"/>
                    <a:gd name="T7" fmla="*/ 2147483647 h 222"/>
                    <a:gd name="T8" fmla="*/ 2147483647 w 570"/>
                    <a:gd name="T9" fmla="*/ 2147483647 h 222"/>
                    <a:gd name="T10" fmla="*/ 2147483647 w 570"/>
                    <a:gd name="T11" fmla="*/ 2147483647 h 222"/>
                    <a:gd name="T12" fmla="*/ 2147483647 w 570"/>
                    <a:gd name="T13" fmla="*/ 2147483647 h 222"/>
                    <a:gd name="T14" fmla="*/ 2147483647 w 570"/>
                    <a:gd name="T15" fmla="*/ 2147483647 h 222"/>
                    <a:gd name="T16" fmla="*/ 2147483647 w 570"/>
                    <a:gd name="T17" fmla="*/ 2147483647 h 222"/>
                    <a:gd name="T18" fmla="*/ 2147483647 w 570"/>
                    <a:gd name="T19" fmla="*/ 2147483647 h 222"/>
                    <a:gd name="T20" fmla="*/ 2147483647 w 570"/>
                    <a:gd name="T21" fmla="*/ 2147483647 h 222"/>
                    <a:gd name="T22" fmla="*/ 2147483647 w 570"/>
                    <a:gd name="T23" fmla="*/ 2147483647 h 222"/>
                    <a:gd name="T24" fmla="*/ 2147483647 w 570"/>
                    <a:gd name="T25" fmla="*/ 2147483647 h 222"/>
                    <a:gd name="T26" fmla="*/ 2147483647 w 570"/>
                    <a:gd name="T27" fmla="*/ 2147483647 h 222"/>
                    <a:gd name="T28" fmla="*/ 2147483647 w 570"/>
                    <a:gd name="T29" fmla="*/ 2147483647 h 222"/>
                    <a:gd name="T30" fmla="*/ 2147483647 w 570"/>
                    <a:gd name="T31" fmla="*/ 2147483647 h 222"/>
                    <a:gd name="T32" fmla="*/ 2147483647 w 570"/>
                    <a:gd name="T33" fmla="*/ 2147483647 h 222"/>
                    <a:gd name="T34" fmla="*/ 2147483647 w 570"/>
                    <a:gd name="T35" fmla="*/ 2147483647 h 222"/>
                    <a:gd name="T36" fmla="*/ 2147483647 w 570"/>
                    <a:gd name="T37" fmla="*/ 2147483647 h 222"/>
                    <a:gd name="T38" fmla="*/ 2147483647 w 570"/>
                    <a:gd name="T39" fmla="*/ 2147483647 h 222"/>
                    <a:gd name="T40" fmla="*/ 2147483647 w 570"/>
                    <a:gd name="T41" fmla="*/ 2147483647 h 222"/>
                    <a:gd name="T42" fmla="*/ 2147483647 w 570"/>
                    <a:gd name="T43" fmla="*/ 2147483647 h 222"/>
                    <a:gd name="T44" fmla="*/ 2147483647 w 570"/>
                    <a:gd name="T45" fmla="*/ 2147483647 h 222"/>
                    <a:gd name="T46" fmla="*/ 2147483647 w 570"/>
                    <a:gd name="T47" fmla="*/ 2147483647 h 222"/>
                    <a:gd name="T48" fmla="*/ 2147483647 w 570"/>
                    <a:gd name="T49" fmla="*/ 2147483647 h 222"/>
                    <a:gd name="T50" fmla="*/ 2147483647 w 570"/>
                    <a:gd name="T51" fmla="*/ 2147483647 h 222"/>
                    <a:gd name="T52" fmla="*/ 2147483647 w 570"/>
                    <a:gd name="T53" fmla="*/ 2147483647 h 222"/>
                    <a:gd name="T54" fmla="*/ 2147483647 w 570"/>
                    <a:gd name="T55" fmla="*/ 2147483647 h 222"/>
                    <a:gd name="T56" fmla="*/ 2147483647 w 570"/>
                    <a:gd name="T57" fmla="*/ 2147483647 h 222"/>
                    <a:gd name="T58" fmla="*/ 2147483647 w 570"/>
                    <a:gd name="T59" fmla="*/ 2147483647 h 222"/>
                    <a:gd name="T60" fmla="*/ 2147483647 w 570"/>
                    <a:gd name="T61" fmla="*/ 2147483647 h 222"/>
                    <a:gd name="T62" fmla="*/ 2147483647 w 570"/>
                    <a:gd name="T63" fmla="*/ 2147483647 h 222"/>
                    <a:gd name="T64" fmla="*/ 2147483647 w 570"/>
                    <a:gd name="T65" fmla="*/ 2147483647 h 222"/>
                    <a:gd name="T66" fmla="*/ 0 w 570"/>
                    <a:gd name="T67" fmla="*/ 2147483647 h 222"/>
                    <a:gd name="T68" fmla="*/ 2147483647 w 570"/>
                    <a:gd name="T69" fmla="*/ 2147483647 h 222"/>
                    <a:gd name="T70" fmla="*/ 2147483647 w 570"/>
                    <a:gd name="T71" fmla="*/ 2147483647 h 222"/>
                    <a:gd name="T72" fmla="*/ 2147483647 w 570"/>
                    <a:gd name="T73" fmla="*/ 2147483647 h 222"/>
                    <a:gd name="T74" fmla="*/ 2147483647 w 570"/>
                    <a:gd name="T75" fmla="*/ 2147483647 h 222"/>
                    <a:gd name="T76" fmla="*/ 2147483647 w 570"/>
                    <a:gd name="T77" fmla="*/ 2147483647 h 222"/>
                    <a:gd name="T78" fmla="*/ 2147483647 w 570"/>
                    <a:gd name="T79" fmla="*/ 2147483647 h 222"/>
                    <a:gd name="T80" fmla="*/ 2147483647 w 570"/>
                    <a:gd name="T81" fmla="*/ 2147483647 h 222"/>
                    <a:gd name="T82" fmla="*/ 2147483647 w 570"/>
                    <a:gd name="T83" fmla="*/ 2147483647 h 222"/>
                    <a:gd name="T84" fmla="*/ 2147483647 w 570"/>
                    <a:gd name="T85" fmla="*/ 2147483647 h 222"/>
                    <a:gd name="T86" fmla="*/ 2147483647 w 570"/>
                    <a:gd name="T87" fmla="*/ 2147483647 h 222"/>
                    <a:gd name="T88" fmla="*/ 2147483647 w 570"/>
                    <a:gd name="T89" fmla="*/ 2147483647 h 222"/>
                    <a:gd name="T90" fmla="*/ 2147483647 w 570"/>
                    <a:gd name="T91" fmla="*/ 2147483647 h 222"/>
                    <a:gd name="T92" fmla="*/ 2147483647 w 570"/>
                    <a:gd name="T93" fmla="*/ 2147483647 h 2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0"/>
                    <a:gd name="T142" fmla="*/ 0 h 222"/>
                    <a:gd name="T143" fmla="*/ 570 w 570"/>
                    <a:gd name="T144" fmla="*/ 222 h 2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0" h="222">
                      <a:moveTo>
                        <a:pt x="252" y="222"/>
                      </a:moveTo>
                      <a:lnTo>
                        <a:pt x="270" y="216"/>
                      </a:lnTo>
                      <a:lnTo>
                        <a:pt x="306" y="216"/>
                      </a:lnTo>
                      <a:lnTo>
                        <a:pt x="312" y="204"/>
                      </a:lnTo>
                      <a:lnTo>
                        <a:pt x="312" y="192"/>
                      </a:lnTo>
                      <a:lnTo>
                        <a:pt x="324" y="198"/>
                      </a:lnTo>
                      <a:lnTo>
                        <a:pt x="330" y="198"/>
                      </a:lnTo>
                      <a:lnTo>
                        <a:pt x="342" y="204"/>
                      </a:lnTo>
                      <a:lnTo>
                        <a:pt x="348" y="204"/>
                      </a:lnTo>
                      <a:lnTo>
                        <a:pt x="360" y="192"/>
                      </a:lnTo>
                      <a:lnTo>
                        <a:pt x="360" y="186"/>
                      </a:lnTo>
                      <a:lnTo>
                        <a:pt x="372" y="186"/>
                      </a:lnTo>
                      <a:lnTo>
                        <a:pt x="378" y="192"/>
                      </a:lnTo>
                      <a:lnTo>
                        <a:pt x="390" y="192"/>
                      </a:lnTo>
                      <a:lnTo>
                        <a:pt x="414" y="180"/>
                      </a:lnTo>
                      <a:lnTo>
                        <a:pt x="432" y="168"/>
                      </a:lnTo>
                      <a:lnTo>
                        <a:pt x="456" y="156"/>
                      </a:lnTo>
                      <a:lnTo>
                        <a:pt x="474" y="156"/>
                      </a:lnTo>
                      <a:lnTo>
                        <a:pt x="480" y="162"/>
                      </a:lnTo>
                      <a:lnTo>
                        <a:pt x="492" y="162"/>
                      </a:lnTo>
                      <a:lnTo>
                        <a:pt x="504" y="156"/>
                      </a:lnTo>
                      <a:lnTo>
                        <a:pt x="510" y="144"/>
                      </a:lnTo>
                      <a:lnTo>
                        <a:pt x="510" y="138"/>
                      </a:lnTo>
                      <a:lnTo>
                        <a:pt x="516" y="126"/>
                      </a:lnTo>
                      <a:lnTo>
                        <a:pt x="528" y="126"/>
                      </a:lnTo>
                      <a:lnTo>
                        <a:pt x="552" y="114"/>
                      </a:lnTo>
                      <a:lnTo>
                        <a:pt x="564" y="102"/>
                      </a:lnTo>
                      <a:lnTo>
                        <a:pt x="570" y="102"/>
                      </a:lnTo>
                      <a:lnTo>
                        <a:pt x="552" y="102"/>
                      </a:lnTo>
                      <a:lnTo>
                        <a:pt x="570" y="84"/>
                      </a:lnTo>
                      <a:lnTo>
                        <a:pt x="570" y="78"/>
                      </a:lnTo>
                      <a:lnTo>
                        <a:pt x="564" y="72"/>
                      </a:lnTo>
                      <a:lnTo>
                        <a:pt x="552" y="66"/>
                      </a:lnTo>
                      <a:lnTo>
                        <a:pt x="540" y="66"/>
                      </a:lnTo>
                      <a:lnTo>
                        <a:pt x="534" y="72"/>
                      </a:lnTo>
                      <a:lnTo>
                        <a:pt x="528" y="72"/>
                      </a:lnTo>
                      <a:lnTo>
                        <a:pt x="534" y="60"/>
                      </a:lnTo>
                      <a:lnTo>
                        <a:pt x="504" y="60"/>
                      </a:lnTo>
                      <a:lnTo>
                        <a:pt x="522" y="36"/>
                      </a:lnTo>
                      <a:lnTo>
                        <a:pt x="504" y="36"/>
                      </a:lnTo>
                      <a:lnTo>
                        <a:pt x="510" y="18"/>
                      </a:lnTo>
                      <a:lnTo>
                        <a:pt x="480" y="24"/>
                      </a:lnTo>
                      <a:lnTo>
                        <a:pt x="474" y="18"/>
                      </a:lnTo>
                      <a:lnTo>
                        <a:pt x="462" y="12"/>
                      </a:lnTo>
                      <a:lnTo>
                        <a:pt x="456" y="6"/>
                      </a:lnTo>
                      <a:lnTo>
                        <a:pt x="444" y="0"/>
                      </a:lnTo>
                      <a:lnTo>
                        <a:pt x="432" y="0"/>
                      </a:lnTo>
                      <a:lnTo>
                        <a:pt x="432" y="24"/>
                      </a:lnTo>
                      <a:lnTo>
                        <a:pt x="414" y="30"/>
                      </a:lnTo>
                      <a:lnTo>
                        <a:pt x="408" y="30"/>
                      </a:lnTo>
                      <a:lnTo>
                        <a:pt x="402" y="24"/>
                      </a:lnTo>
                      <a:lnTo>
                        <a:pt x="378" y="24"/>
                      </a:lnTo>
                      <a:lnTo>
                        <a:pt x="372" y="30"/>
                      </a:lnTo>
                      <a:lnTo>
                        <a:pt x="366" y="42"/>
                      </a:lnTo>
                      <a:lnTo>
                        <a:pt x="360" y="36"/>
                      </a:lnTo>
                      <a:lnTo>
                        <a:pt x="348" y="30"/>
                      </a:lnTo>
                      <a:lnTo>
                        <a:pt x="342" y="24"/>
                      </a:lnTo>
                      <a:lnTo>
                        <a:pt x="336" y="24"/>
                      </a:lnTo>
                      <a:lnTo>
                        <a:pt x="330" y="30"/>
                      </a:lnTo>
                      <a:lnTo>
                        <a:pt x="330" y="60"/>
                      </a:lnTo>
                      <a:lnTo>
                        <a:pt x="324" y="48"/>
                      </a:lnTo>
                      <a:lnTo>
                        <a:pt x="318" y="42"/>
                      </a:lnTo>
                      <a:lnTo>
                        <a:pt x="306" y="36"/>
                      </a:lnTo>
                      <a:lnTo>
                        <a:pt x="300" y="24"/>
                      </a:lnTo>
                      <a:lnTo>
                        <a:pt x="288" y="24"/>
                      </a:lnTo>
                      <a:lnTo>
                        <a:pt x="288" y="30"/>
                      </a:lnTo>
                      <a:lnTo>
                        <a:pt x="270" y="30"/>
                      </a:lnTo>
                      <a:lnTo>
                        <a:pt x="264" y="36"/>
                      </a:lnTo>
                      <a:lnTo>
                        <a:pt x="264" y="54"/>
                      </a:lnTo>
                      <a:lnTo>
                        <a:pt x="252" y="54"/>
                      </a:lnTo>
                      <a:lnTo>
                        <a:pt x="240" y="42"/>
                      </a:lnTo>
                      <a:lnTo>
                        <a:pt x="228" y="36"/>
                      </a:lnTo>
                      <a:lnTo>
                        <a:pt x="222" y="30"/>
                      </a:lnTo>
                      <a:lnTo>
                        <a:pt x="216" y="30"/>
                      </a:lnTo>
                      <a:lnTo>
                        <a:pt x="216" y="48"/>
                      </a:lnTo>
                      <a:lnTo>
                        <a:pt x="210" y="60"/>
                      </a:lnTo>
                      <a:lnTo>
                        <a:pt x="210" y="72"/>
                      </a:lnTo>
                      <a:lnTo>
                        <a:pt x="204" y="72"/>
                      </a:lnTo>
                      <a:lnTo>
                        <a:pt x="192" y="60"/>
                      </a:lnTo>
                      <a:lnTo>
                        <a:pt x="186" y="60"/>
                      </a:lnTo>
                      <a:lnTo>
                        <a:pt x="162" y="84"/>
                      </a:lnTo>
                      <a:lnTo>
                        <a:pt x="162" y="90"/>
                      </a:lnTo>
                      <a:lnTo>
                        <a:pt x="156" y="84"/>
                      </a:lnTo>
                      <a:lnTo>
                        <a:pt x="144" y="60"/>
                      </a:lnTo>
                      <a:lnTo>
                        <a:pt x="162" y="42"/>
                      </a:lnTo>
                      <a:lnTo>
                        <a:pt x="162" y="36"/>
                      </a:lnTo>
                      <a:lnTo>
                        <a:pt x="156" y="30"/>
                      </a:lnTo>
                      <a:lnTo>
                        <a:pt x="108" y="6"/>
                      </a:lnTo>
                      <a:lnTo>
                        <a:pt x="96" y="6"/>
                      </a:lnTo>
                      <a:lnTo>
                        <a:pt x="96" y="36"/>
                      </a:lnTo>
                      <a:lnTo>
                        <a:pt x="90" y="36"/>
                      </a:lnTo>
                      <a:lnTo>
                        <a:pt x="84" y="30"/>
                      </a:lnTo>
                      <a:lnTo>
                        <a:pt x="78" y="30"/>
                      </a:lnTo>
                      <a:lnTo>
                        <a:pt x="66" y="24"/>
                      </a:lnTo>
                      <a:lnTo>
                        <a:pt x="54" y="24"/>
                      </a:lnTo>
                      <a:lnTo>
                        <a:pt x="42" y="30"/>
                      </a:lnTo>
                      <a:lnTo>
                        <a:pt x="30" y="42"/>
                      </a:lnTo>
                      <a:lnTo>
                        <a:pt x="48" y="54"/>
                      </a:lnTo>
                      <a:lnTo>
                        <a:pt x="30" y="54"/>
                      </a:lnTo>
                      <a:lnTo>
                        <a:pt x="18" y="60"/>
                      </a:lnTo>
                      <a:lnTo>
                        <a:pt x="12" y="66"/>
                      </a:lnTo>
                      <a:lnTo>
                        <a:pt x="0" y="66"/>
                      </a:lnTo>
                      <a:lnTo>
                        <a:pt x="6" y="72"/>
                      </a:lnTo>
                      <a:lnTo>
                        <a:pt x="18" y="78"/>
                      </a:lnTo>
                      <a:lnTo>
                        <a:pt x="30" y="78"/>
                      </a:lnTo>
                      <a:lnTo>
                        <a:pt x="54" y="66"/>
                      </a:lnTo>
                      <a:lnTo>
                        <a:pt x="66" y="66"/>
                      </a:lnTo>
                      <a:lnTo>
                        <a:pt x="72" y="60"/>
                      </a:lnTo>
                      <a:lnTo>
                        <a:pt x="78" y="60"/>
                      </a:lnTo>
                      <a:lnTo>
                        <a:pt x="126" y="72"/>
                      </a:lnTo>
                      <a:lnTo>
                        <a:pt x="90" y="90"/>
                      </a:lnTo>
                      <a:lnTo>
                        <a:pt x="102" y="90"/>
                      </a:lnTo>
                      <a:lnTo>
                        <a:pt x="108" y="96"/>
                      </a:lnTo>
                      <a:lnTo>
                        <a:pt x="114" y="96"/>
                      </a:lnTo>
                      <a:lnTo>
                        <a:pt x="120" y="102"/>
                      </a:lnTo>
                      <a:lnTo>
                        <a:pt x="114" y="102"/>
                      </a:lnTo>
                      <a:lnTo>
                        <a:pt x="108" y="108"/>
                      </a:lnTo>
                      <a:lnTo>
                        <a:pt x="6" y="108"/>
                      </a:lnTo>
                      <a:lnTo>
                        <a:pt x="0" y="114"/>
                      </a:lnTo>
                      <a:lnTo>
                        <a:pt x="12" y="120"/>
                      </a:lnTo>
                      <a:lnTo>
                        <a:pt x="60" y="120"/>
                      </a:lnTo>
                      <a:lnTo>
                        <a:pt x="84" y="132"/>
                      </a:lnTo>
                      <a:lnTo>
                        <a:pt x="90" y="138"/>
                      </a:lnTo>
                      <a:lnTo>
                        <a:pt x="126" y="132"/>
                      </a:lnTo>
                      <a:lnTo>
                        <a:pt x="108" y="150"/>
                      </a:lnTo>
                      <a:lnTo>
                        <a:pt x="120" y="156"/>
                      </a:lnTo>
                      <a:lnTo>
                        <a:pt x="114" y="162"/>
                      </a:lnTo>
                      <a:lnTo>
                        <a:pt x="114" y="168"/>
                      </a:lnTo>
                      <a:lnTo>
                        <a:pt x="108" y="174"/>
                      </a:lnTo>
                      <a:lnTo>
                        <a:pt x="90" y="174"/>
                      </a:lnTo>
                      <a:lnTo>
                        <a:pt x="78" y="180"/>
                      </a:lnTo>
                      <a:lnTo>
                        <a:pt x="54" y="180"/>
                      </a:lnTo>
                      <a:lnTo>
                        <a:pt x="54" y="186"/>
                      </a:lnTo>
                      <a:lnTo>
                        <a:pt x="66" y="192"/>
                      </a:lnTo>
                      <a:lnTo>
                        <a:pt x="120" y="192"/>
                      </a:lnTo>
                      <a:lnTo>
                        <a:pt x="132" y="186"/>
                      </a:lnTo>
                      <a:lnTo>
                        <a:pt x="138" y="180"/>
                      </a:lnTo>
                      <a:lnTo>
                        <a:pt x="168" y="198"/>
                      </a:lnTo>
                      <a:lnTo>
                        <a:pt x="180" y="186"/>
                      </a:lnTo>
                      <a:lnTo>
                        <a:pt x="180" y="198"/>
                      </a:lnTo>
                      <a:lnTo>
                        <a:pt x="228" y="222"/>
                      </a:lnTo>
                      <a:lnTo>
                        <a:pt x="252" y="22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8" name="Hungary">
                  <a:extLst>
                    <a:ext uri="{FF2B5EF4-FFF2-40B4-BE49-F238E27FC236}">
                      <a16:creationId xmlns:a16="http://schemas.microsoft.com/office/drawing/2014/main" id="{75C33CF6-1810-49CE-B716-4D3ABFC5B279}"/>
                    </a:ext>
                  </a:extLst>
                </p:cNvPr>
                <p:cNvSpPr>
                  <a:spLocks/>
                </p:cNvSpPr>
                <p:nvPr/>
              </p:nvSpPr>
              <p:spPr bwMode="gray">
                <a:xfrm>
                  <a:off x="4654198" y="1911422"/>
                  <a:ext cx="160653" cy="83295"/>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9" name="Greece">
                  <a:extLst>
                    <a:ext uri="{FF2B5EF4-FFF2-40B4-BE49-F238E27FC236}">
                      <a16:creationId xmlns:a16="http://schemas.microsoft.com/office/drawing/2014/main" id="{E4FB94C0-F313-4860-9EF5-5B7EC4D4766D}"/>
                    </a:ext>
                  </a:extLst>
                </p:cNvPr>
                <p:cNvSpPr>
                  <a:spLocks noEditPoints="1"/>
                </p:cNvSpPr>
                <p:nvPr/>
              </p:nvSpPr>
              <p:spPr bwMode="gray">
                <a:xfrm>
                  <a:off x="4762786" y="2113711"/>
                  <a:ext cx="200817" cy="208238"/>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0" name="Germany">
                  <a:extLst>
                    <a:ext uri="{FF2B5EF4-FFF2-40B4-BE49-F238E27FC236}">
                      <a16:creationId xmlns:a16="http://schemas.microsoft.com/office/drawing/2014/main" id="{F870062C-11AD-4457-8EBA-04A070E488B1}"/>
                    </a:ext>
                  </a:extLst>
                </p:cNvPr>
                <p:cNvSpPr>
                  <a:spLocks/>
                </p:cNvSpPr>
                <p:nvPr/>
              </p:nvSpPr>
              <p:spPr bwMode="gray">
                <a:xfrm>
                  <a:off x="4411730" y="1725495"/>
                  <a:ext cx="212717" cy="221626"/>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1" name="France">
                  <a:extLst>
                    <a:ext uri="{FF2B5EF4-FFF2-40B4-BE49-F238E27FC236}">
                      <a16:creationId xmlns:a16="http://schemas.microsoft.com/office/drawing/2014/main" id="{9E86E080-0A13-4251-BC3D-9CC61ECE3FEA}"/>
                    </a:ext>
                  </a:extLst>
                </p:cNvPr>
                <p:cNvSpPr>
                  <a:spLocks noEditPoints="1"/>
                </p:cNvSpPr>
                <p:nvPr/>
              </p:nvSpPr>
              <p:spPr bwMode="gray">
                <a:xfrm>
                  <a:off x="4154388" y="1832589"/>
                  <a:ext cx="343619" cy="295997"/>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2" name="Finland">
                  <a:extLst>
                    <a:ext uri="{FF2B5EF4-FFF2-40B4-BE49-F238E27FC236}">
                      <a16:creationId xmlns:a16="http://schemas.microsoft.com/office/drawing/2014/main" id="{0885C4D9-FF22-40C1-B4DB-1122D41831E8}"/>
                    </a:ext>
                  </a:extLst>
                </p:cNvPr>
                <p:cNvSpPr>
                  <a:spLocks/>
                </p:cNvSpPr>
                <p:nvPr/>
              </p:nvSpPr>
              <p:spPr bwMode="gray">
                <a:xfrm>
                  <a:off x="4718161" y="1313479"/>
                  <a:ext cx="236517" cy="270710"/>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3" name="Denmark">
                  <a:extLst>
                    <a:ext uri="{FF2B5EF4-FFF2-40B4-BE49-F238E27FC236}">
                      <a16:creationId xmlns:a16="http://schemas.microsoft.com/office/drawing/2014/main" id="{AAD38751-E9F5-4850-8928-06F8C4E01A78}"/>
                    </a:ext>
                  </a:extLst>
                </p:cNvPr>
                <p:cNvSpPr>
                  <a:spLocks noEditPoints="1"/>
                </p:cNvSpPr>
                <p:nvPr/>
              </p:nvSpPr>
              <p:spPr bwMode="gray">
                <a:xfrm>
                  <a:off x="4463794" y="1648149"/>
                  <a:ext cx="105615" cy="89245"/>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4" name="Czech Republic">
                  <a:extLst>
                    <a:ext uri="{FF2B5EF4-FFF2-40B4-BE49-F238E27FC236}">
                      <a16:creationId xmlns:a16="http://schemas.microsoft.com/office/drawing/2014/main" id="{4CC9FA3D-155F-4A79-98ED-3EE8B3EEC6C9}"/>
                    </a:ext>
                  </a:extLst>
                </p:cNvPr>
                <p:cNvSpPr>
                  <a:spLocks/>
                </p:cNvSpPr>
                <p:nvPr/>
              </p:nvSpPr>
              <p:spPr bwMode="gray">
                <a:xfrm>
                  <a:off x="4557508" y="1838538"/>
                  <a:ext cx="159166" cy="72884"/>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5" name="Croatia">
                  <a:extLst>
                    <a:ext uri="{FF2B5EF4-FFF2-40B4-BE49-F238E27FC236}">
                      <a16:creationId xmlns:a16="http://schemas.microsoft.com/office/drawing/2014/main" id="{54CE81C3-208A-44AA-B12E-91EC72B5661D}"/>
                    </a:ext>
                  </a:extLst>
                </p:cNvPr>
                <p:cNvSpPr>
                  <a:spLocks/>
                </p:cNvSpPr>
                <p:nvPr/>
              </p:nvSpPr>
              <p:spPr bwMode="gray">
                <a:xfrm>
                  <a:off x="4594696" y="1972406"/>
                  <a:ext cx="139828" cy="104120"/>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6" name="Bosnia and Herzegovina">
                  <a:extLst>
                    <a:ext uri="{FF2B5EF4-FFF2-40B4-BE49-F238E27FC236}">
                      <a16:creationId xmlns:a16="http://schemas.microsoft.com/office/drawing/2014/main" id="{F591C995-DA28-47FD-8B23-A0FD72CFDF92}"/>
                    </a:ext>
                  </a:extLst>
                </p:cNvPr>
                <p:cNvSpPr>
                  <a:spLocks/>
                </p:cNvSpPr>
                <p:nvPr/>
              </p:nvSpPr>
              <p:spPr bwMode="gray">
                <a:xfrm>
                  <a:off x="4640809" y="2008104"/>
                  <a:ext cx="101152" cy="89245"/>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7" name="Belgium">
                  <a:extLst>
                    <a:ext uri="{FF2B5EF4-FFF2-40B4-BE49-F238E27FC236}">
                      <a16:creationId xmlns:a16="http://schemas.microsoft.com/office/drawing/2014/main" id="{787DD022-4DC1-40F0-93AF-2E5454878077}"/>
                    </a:ext>
                  </a:extLst>
                </p:cNvPr>
                <p:cNvSpPr>
                  <a:spLocks/>
                </p:cNvSpPr>
                <p:nvPr/>
              </p:nvSpPr>
              <p:spPr bwMode="gray">
                <a:xfrm>
                  <a:off x="4340328" y="1826639"/>
                  <a:ext cx="83302" cy="58010"/>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8" name="Austria">
                  <a:extLst>
                    <a:ext uri="{FF2B5EF4-FFF2-40B4-BE49-F238E27FC236}">
                      <a16:creationId xmlns:a16="http://schemas.microsoft.com/office/drawing/2014/main" id="{CB6F8902-5E0A-4A58-8F0D-EA988DB0368A}"/>
                    </a:ext>
                  </a:extLst>
                </p:cNvPr>
                <p:cNvSpPr>
                  <a:spLocks/>
                </p:cNvSpPr>
                <p:nvPr/>
              </p:nvSpPr>
              <p:spPr bwMode="gray">
                <a:xfrm>
                  <a:off x="4498006" y="1898036"/>
                  <a:ext cx="172554" cy="75859"/>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9" name="Andorra">
                  <a:extLst>
                    <a:ext uri="{FF2B5EF4-FFF2-40B4-BE49-F238E27FC236}">
                      <a16:creationId xmlns:a16="http://schemas.microsoft.com/office/drawing/2014/main" id="{3095BBFB-6169-411B-9BA4-41FBB531A32D}"/>
                    </a:ext>
                  </a:extLst>
                </p:cNvPr>
                <p:cNvSpPr>
                  <a:spLocks/>
                </p:cNvSpPr>
                <p:nvPr/>
              </p:nvSpPr>
              <p:spPr bwMode="gray">
                <a:xfrm>
                  <a:off x="4297190" y="2088424"/>
                  <a:ext cx="11900" cy="5950"/>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0" name="Albania">
                  <a:extLst>
                    <a:ext uri="{FF2B5EF4-FFF2-40B4-BE49-F238E27FC236}">
                      <a16:creationId xmlns:a16="http://schemas.microsoft.com/office/drawing/2014/main" id="{AE6602D8-F83A-4C10-87FE-BE11F84804EB}"/>
                    </a:ext>
                  </a:extLst>
                </p:cNvPr>
                <p:cNvSpPr>
                  <a:spLocks/>
                </p:cNvSpPr>
                <p:nvPr/>
              </p:nvSpPr>
              <p:spPr bwMode="gray">
                <a:xfrm>
                  <a:off x="4727086" y="2088424"/>
                  <a:ext cx="53551" cy="92220"/>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nvGrpSpPr>
                <p:cNvPr id="421" name="Group 209">
                  <a:extLst>
                    <a:ext uri="{FF2B5EF4-FFF2-40B4-BE49-F238E27FC236}">
                      <a16:creationId xmlns:a16="http://schemas.microsoft.com/office/drawing/2014/main" id="{99F1D9DB-8E95-4F05-B482-497C6BDF7323}"/>
                    </a:ext>
                  </a:extLst>
                </p:cNvPr>
                <p:cNvGrpSpPr>
                  <a:grpSpLocks/>
                </p:cNvGrpSpPr>
                <p:nvPr/>
              </p:nvGrpSpPr>
              <p:grpSpPr bwMode="auto">
                <a:xfrm>
                  <a:off x="4719648" y="1982818"/>
                  <a:ext cx="104127" cy="127918"/>
                  <a:chOff x="2184" y="1242"/>
                  <a:chExt cx="257" cy="316"/>
                </a:xfrm>
                <a:solidFill>
                  <a:schemeClr val="bg1">
                    <a:lumMod val="85000"/>
                  </a:schemeClr>
                </a:solidFill>
              </p:grpSpPr>
              <p:sp>
                <p:nvSpPr>
                  <p:cNvPr id="462" name="Freeform 210">
                    <a:extLst>
                      <a:ext uri="{FF2B5EF4-FFF2-40B4-BE49-F238E27FC236}">
                        <a16:creationId xmlns:a16="http://schemas.microsoft.com/office/drawing/2014/main" id="{DF0D4340-149F-44BB-B262-DF917B6CE063}"/>
                      </a:ext>
                    </a:extLst>
                  </p:cNvPr>
                  <p:cNvSpPr>
                    <a:spLocks/>
                  </p:cNvSpPr>
                  <p:nvPr/>
                </p:nvSpPr>
                <p:spPr bwMode="gray">
                  <a:xfrm>
                    <a:off x="2184" y="1242"/>
                    <a:ext cx="257" cy="282"/>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grpFill/>
                  <a:ln w="3175" cap="flat" cmpd="sng">
                    <a:solidFill>
                      <a:schemeClr val="bg1">
                        <a:lumMod val="85000"/>
                      </a:schemeClr>
                    </a:solidFill>
                    <a:prstDash val="solid"/>
                    <a:round/>
                    <a:headEnd type="none" w="med" len="med"/>
                    <a:tailEnd type="none" w="med" len="med"/>
                  </a:ln>
                  <a:effectLst/>
                </p:spPr>
                <p:txBody>
                  <a:bodyPr/>
                  <a:lstStyle/>
                  <a:p>
                    <a:endParaRPr lang="en-US" dirty="0">
                      <a:latin typeface="Calibri" pitchFamily="34" charset="0"/>
                      <a:cs typeface="Calibri" pitchFamily="34" charset="0"/>
                    </a:endParaRPr>
                  </a:p>
                </p:txBody>
              </p:sp>
              <p:sp>
                <p:nvSpPr>
                  <p:cNvPr id="463" name="Freeform 211">
                    <a:extLst>
                      <a:ext uri="{FF2B5EF4-FFF2-40B4-BE49-F238E27FC236}">
                        <a16:creationId xmlns:a16="http://schemas.microsoft.com/office/drawing/2014/main" id="{8B898235-4A5C-4611-B17E-90E481CE5134}"/>
                      </a:ext>
                    </a:extLst>
                  </p:cNvPr>
                  <p:cNvSpPr>
                    <a:spLocks noEditPoints="1"/>
                  </p:cNvSpPr>
                  <p:nvPr/>
                </p:nvSpPr>
                <p:spPr bwMode="gray">
                  <a:xfrm>
                    <a:off x="2268" y="1436"/>
                    <a:ext cx="121" cy="122"/>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grpFill/>
                  <a:ln w="3175" cap="flat" cmpd="sng">
                    <a:solidFill>
                      <a:schemeClr val="bg1">
                        <a:lumMod val="85000"/>
                      </a:schemeClr>
                    </a:solidFill>
                    <a:prstDash val="solid"/>
                    <a:round/>
                    <a:headEnd type="none" w="med" len="med"/>
                    <a:tailEnd type="none" w="med" len="med"/>
                  </a:ln>
                  <a:effectLst/>
                </p:spPr>
                <p:txBody>
                  <a:bodyPr/>
                  <a:lstStyle/>
                  <a:p>
                    <a:endParaRPr lang="en-US" dirty="0">
                      <a:latin typeface="Calibri" pitchFamily="34" charset="0"/>
                      <a:cs typeface="Calibri" pitchFamily="34" charset="0"/>
                    </a:endParaRPr>
                  </a:p>
                </p:txBody>
              </p:sp>
            </p:grpSp>
            <p:sp>
              <p:nvSpPr>
                <p:cNvPr id="422" name="Zimbabwe">
                  <a:extLst>
                    <a:ext uri="{FF2B5EF4-FFF2-40B4-BE49-F238E27FC236}">
                      <a16:creationId xmlns:a16="http://schemas.microsoft.com/office/drawing/2014/main" id="{5411517C-5CBD-4D48-B1F3-953409FA6C28}"/>
                    </a:ext>
                  </a:extLst>
                </p:cNvPr>
                <p:cNvSpPr>
                  <a:spLocks/>
                </p:cNvSpPr>
                <p:nvPr/>
              </p:nvSpPr>
              <p:spPr bwMode="gray">
                <a:xfrm>
                  <a:off x="4911539" y="3856965"/>
                  <a:ext cx="206766" cy="208238"/>
                </a:xfrm>
                <a:custGeom>
                  <a:avLst/>
                  <a:gdLst>
                    <a:gd name="T0" fmla="*/ 2147483647 w 552"/>
                    <a:gd name="T1" fmla="*/ 2147483647 h 552"/>
                    <a:gd name="T2" fmla="*/ 2147483647 w 552"/>
                    <a:gd name="T3" fmla="*/ 2147483647 h 552"/>
                    <a:gd name="T4" fmla="*/ 2147483647 w 552"/>
                    <a:gd name="T5" fmla="*/ 2147483647 h 552"/>
                    <a:gd name="T6" fmla="*/ 2147483647 w 552"/>
                    <a:gd name="T7" fmla="*/ 2147483647 h 552"/>
                    <a:gd name="T8" fmla="*/ 2147483647 w 552"/>
                    <a:gd name="T9" fmla="*/ 2147483647 h 552"/>
                    <a:gd name="T10" fmla="*/ 2147483647 w 552"/>
                    <a:gd name="T11" fmla="*/ 2147483647 h 552"/>
                    <a:gd name="T12" fmla="*/ 2147483647 w 552"/>
                    <a:gd name="T13" fmla="*/ 2147483647 h 552"/>
                    <a:gd name="T14" fmla="*/ 2147483647 w 552"/>
                    <a:gd name="T15" fmla="*/ 2147483647 h 552"/>
                    <a:gd name="T16" fmla="*/ 2147483647 w 552"/>
                    <a:gd name="T17" fmla="*/ 2147483647 h 552"/>
                    <a:gd name="T18" fmla="*/ 2147483647 w 552"/>
                    <a:gd name="T19" fmla="*/ 2147483647 h 552"/>
                    <a:gd name="T20" fmla="*/ 2147483647 w 552"/>
                    <a:gd name="T21" fmla="*/ 2147483647 h 552"/>
                    <a:gd name="T22" fmla="*/ 2147483647 w 552"/>
                    <a:gd name="T23" fmla="*/ 2147483647 h 552"/>
                    <a:gd name="T24" fmla="*/ 2147483647 w 552"/>
                    <a:gd name="T25" fmla="*/ 2147483647 h 552"/>
                    <a:gd name="T26" fmla="*/ 2147483647 w 552"/>
                    <a:gd name="T27" fmla="*/ 2147483647 h 552"/>
                    <a:gd name="T28" fmla="*/ 2147483647 w 552"/>
                    <a:gd name="T29" fmla="*/ 2147483647 h 552"/>
                    <a:gd name="T30" fmla="*/ 2147483647 w 552"/>
                    <a:gd name="T31" fmla="*/ 2147483647 h 552"/>
                    <a:gd name="T32" fmla="*/ 2147483647 w 552"/>
                    <a:gd name="T33" fmla="*/ 2147483647 h 552"/>
                    <a:gd name="T34" fmla="*/ 2147483647 w 552"/>
                    <a:gd name="T35" fmla="*/ 2147483647 h 552"/>
                    <a:gd name="T36" fmla="*/ 2147483647 w 552"/>
                    <a:gd name="T37" fmla="*/ 2147483647 h 552"/>
                    <a:gd name="T38" fmla="*/ 2147483647 w 552"/>
                    <a:gd name="T39" fmla="*/ 2147483647 h 552"/>
                    <a:gd name="T40" fmla="*/ 2147483647 w 552"/>
                    <a:gd name="T41" fmla="*/ 2147483647 h 552"/>
                    <a:gd name="T42" fmla="*/ 2147483647 w 552"/>
                    <a:gd name="T43" fmla="*/ 2147483647 h 552"/>
                    <a:gd name="T44" fmla="*/ 2147483647 w 552"/>
                    <a:gd name="T45" fmla="*/ 2147483647 h 552"/>
                    <a:gd name="T46" fmla="*/ 2147483647 w 552"/>
                    <a:gd name="T47" fmla="*/ 2147483647 h 552"/>
                    <a:gd name="T48" fmla="*/ 2147483647 w 552"/>
                    <a:gd name="T49" fmla="*/ 2147483647 h 552"/>
                    <a:gd name="T50" fmla="*/ 2147483647 w 552"/>
                    <a:gd name="T51" fmla="*/ 2147483647 h 552"/>
                    <a:gd name="T52" fmla="*/ 2147483647 w 552"/>
                    <a:gd name="T53" fmla="*/ 2147483647 h 552"/>
                    <a:gd name="T54" fmla="*/ 2147483647 w 552"/>
                    <a:gd name="T55" fmla="*/ 2147483647 h 552"/>
                    <a:gd name="T56" fmla="*/ 2147483647 w 552"/>
                    <a:gd name="T57" fmla="*/ 2147483647 h 552"/>
                    <a:gd name="T58" fmla="*/ 2147483647 w 552"/>
                    <a:gd name="T59" fmla="*/ 2147483647 h 552"/>
                    <a:gd name="T60" fmla="*/ 2147483647 w 552"/>
                    <a:gd name="T61" fmla="*/ 2147483647 h 552"/>
                    <a:gd name="T62" fmla="*/ 2147483647 w 552"/>
                    <a:gd name="T63" fmla="*/ 2147483647 h 552"/>
                    <a:gd name="T64" fmla="*/ 2147483647 w 552"/>
                    <a:gd name="T65" fmla="*/ 2147483647 h 552"/>
                    <a:gd name="T66" fmla="*/ 2147483647 w 552"/>
                    <a:gd name="T67" fmla="*/ 2147483647 h 552"/>
                    <a:gd name="T68" fmla="*/ 2147483647 w 552"/>
                    <a:gd name="T69" fmla="*/ 2147483647 h 552"/>
                    <a:gd name="T70" fmla="*/ 2147483647 w 552"/>
                    <a:gd name="T71" fmla="*/ 2147483647 h 552"/>
                    <a:gd name="T72" fmla="*/ 2147483647 w 552"/>
                    <a:gd name="T73" fmla="*/ 2147483647 h 552"/>
                    <a:gd name="T74" fmla="*/ 2147483647 w 552"/>
                    <a:gd name="T75" fmla="*/ 0 h 552"/>
                    <a:gd name="T76" fmla="*/ 2147483647 w 552"/>
                    <a:gd name="T77" fmla="*/ 2147483647 h 552"/>
                    <a:gd name="T78" fmla="*/ 2147483647 w 552"/>
                    <a:gd name="T79" fmla="*/ 2147483647 h 552"/>
                    <a:gd name="T80" fmla="*/ 2147483647 w 552"/>
                    <a:gd name="T81" fmla="*/ 2147483647 h 552"/>
                    <a:gd name="T82" fmla="*/ 2147483647 w 552"/>
                    <a:gd name="T83" fmla="*/ 2147483647 h 552"/>
                    <a:gd name="T84" fmla="*/ 2147483647 w 552"/>
                    <a:gd name="T85" fmla="*/ 2147483647 h 552"/>
                    <a:gd name="T86" fmla="*/ 2147483647 w 552"/>
                    <a:gd name="T87" fmla="*/ 2147483647 h 552"/>
                    <a:gd name="T88" fmla="*/ 2147483647 w 552"/>
                    <a:gd name="T89" fmla="*/ 2147483647 h 552"/>
                    <a:gd name="T90" fmla="*/ 2147483647 w 552"/>
                    <a:gd name="T91" fmla="*/ 2147483647 h 552"/>
                    <a:gd name="T92" fmla="*/ 2147483647 w 552"/>
                    <a:gd name="T93" fmla="*/ 2147483647 h 552"/>
                    <a:gd name="T94" fmla="*/ 2147483647 w 552"/>
                    <a:gd name="T95" fmla="*/ 2147483647 h 552"/>
                    <a:gd name="T96" fmla="*/ 2147483647 w 552"/>
                    <a:gd name="T97" fmla="*/ 2147483647 h 552"/>
                    <a:gd name="T98" fmla="*/ 2147483647 w 552"/>
                    <a:gd name="T99" fmla="*/ 2147483647 h 552"/>
                    <a:gd name="T100" fmla="*/ 2147483647 w 552"/>
                    <a:gd name="T101" fmla="*/ 2147483647 h 552"/>
                    <a:gd name="T102" fmla="*/ 2147483647 w 552"/>
                    <a:gd name="T103" fmla="*/ 2147483647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52"/>
                    <a:gd name="T157" fmla="*/ 0 h 552"/>
                    <a:gd name="T158" fmla="*/ 552 w 552"/>
                    <a:gd name="T159" fmla="*/ 552 h 5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52" h="552">
                      <a:moveTo>
                        <a:pt x="18" y="204"/>
                      </a:moveTo>
                      <a:lnTo>
                        <a:pt x="18" y="234"/>
                      </a:lnTo>
                      <a:lnTo>
                        <a:pt x="30" y="234"/>
                      </a:lnTo>
                      <a:lnTo>
                        <a:pt x="36" y="240"/>
                      </a:lnTo>
                      <a:lnTo>
                        <a:pt x="48" y="264"/>
                      </a:lnTo>
                      <a:lnTo>
                        <a:pt x="54" y="270"/>
                      </a:lnTo>
                      <a:lnTo>
                        <a:pt x="54" y="294"/>
                      </a:lnTo>
                      <a:lnTo>
                        <a:pt x="72" y="330"/>
                      </a:lnTo>
                      <a:lnTo>
                        <a:pt x="84" y="336"/>
                      </a:lnTo>
                      <a:lnTo>
                        <a:pt x="102" y="354"/>
                      </a:lnTo>
                      <a:lnTo>
                        <a:pt x="132" y="354"/>
                      </a:lnTo>
                      <a:lnTo>
                        <a:pt x="138" y="360"/>
                      </a:lnTo>
                      <a:lnTo>
                        <a:pt x="138" y="390"/>
                      </a:lnTo>
                      <a:lnTo>
                        <a:pt x="168" y="390"/>
                      </a:lnTo>
                      <a:lnTo>
                        <a:pt x="174" y="414"/>
                      </a:lnTo>
                      <a:lnTo>
                        <a:pt x="168" y="420"/>
                      </a:lnTo>
                      <a:lnTo>
                        <a:pt x="168" y="450"/>
                      </a:lnTo>
                      <a:lnTo>
                        <a:pt x="186" y="450"/>
                      </a:lnTo>
                      <a:lnTo>
                        <a:pt x="186" y="480"/>
                      </a:lnTo>
                      <a:lnTo>
                        <a:pt x="198" y="480"/>
                      </a:lnTo>
                      <a:lnTo>
                        <a:pt x="216" y="486"/>
                      </a:lnTo>
                      <a:lnTo>
                        <a:pt x="228" y="486"/>
                      </a:lnTo>
                      <a:lnTo>
                        <a:pt x="246" y="492"/>
                      </a:lnTo>
                      <a:lnTo>
                        <a:pt x="264" y="510"/>
                      </a:lnTo>
                      <a:lnTo>
                        <a:pt x="270" y="522"/>
                      </a:lnTo>
                      <a:lnTo>
                        <a:pt x="270" y="528"/>
                      </a:lnTo>
                      <a:lnTo>
                        <a:pt x="252" y="528"/>
                      </a:lnTo>
                      <a:lnTo>
                        <a:pt x="312" y="528"/>
                      </a:lnTo>
                      <a:lnTo>
                        <a:pt x="324" y="534"/>
                      </a:lnTo>
                      <a:lnTo>
                        <a:pt x="330" y="534"/>
                      </a:lnTo>
                      <a:lnTo>
                        <a:pt x="342" y="540"/>
                      </a:lnTo>
                      <a:lnTo>
                        <a:pt x="402" y="540"/>
                      </a:lnTo>
                      <a:lnTo>
                        <a:pt x="420" y="552"/>
                      </a:lnTo>
                      <a:lnTo>
                        <a:pt x="486" y="468"/>
                      </a:lnTo>
                      <a:lnTo>
                        <a:pt x="504" y="462"/>
                      </a:lnTo>
                      <a:lnTo>
                        <a:pt x="492" y="444"/>
                      </a:lnTo>
                      <a:lnTo>
                        <a:pt x="504" y="432"/>
                      </a:lnTo>
                      <a:lnTo>
                        <a:pt x="504" y="402"/>
                      </a:lnTo>
                      <a:lnTo>
                        <a:pt x="516" y="396"/>
                      </a:lnTo>
                      <a:lnTo>
                        <a:pt x="528" y="384"/>
                      </a:lnTo>
                      <a:lnTo>
                        <a:pt x="528" y="372"/>
                      </a:lnTo>
                      <a:lnTo>
                        <a:pt x="540" y="360"/>
                      </a:lnTo>
                      <a:lnTo>
                        <a:pt x="546" y="348"/>
                      </a:lnTo>
                      <a:lnTo>
                        <a:pt x="546" y="342"/>
                      </a:lnTo>
                      <a:lnTo>
                        <a:pt x="522" y="318"/>
                      </a:lnTo>
                      <a:lnTo>
                        <a:pt x="522" y="306"/>
                      </a:lnTo>
                      <a:lnTo>
                        <a:pt x="540" y="288"/>
                      </a:lnTo>
                      <a:lnTo>
                        <a:pt x="522" y="264"/>
                      </a:lnTo>
                      <a:lnTo>
                        <a:pt x="540" y="252"/>
                      </a:lnTo>
                      <a:lnTo>
                        <a:pt x="540" y="240"/>
                      </a:lnTo>
                      <a:lnTo>
                        <a:pt x="546" y="240"/>
                      </a:lnTo>
                      <a:lnTo>
                        <a:pt x="546" y="234"/>
                      </a:lnTo>
                      <a:lnTo>
                        <a:pt x="552" y="228"/>
                      </a:lnTo>
                      <a:lnTo>
                        <a:pt x="552" y="216"/>
                      </a:lnTo>
                      <a:lnTo>
                        <a:pt x="540" y="192"/>
                      </a:lnTo>
                      <a:lnTo>
                        <a:pt x="540" y="180"/>
                      </a:lnTo>
                      <a:lnTo>
                        <a:pt x="546" y="174"/>
                      </a:lnTo>
                      <a:lnTo>
                        <a:pt x="546" y="168"/>
                      </a:lnTo>
                      <a:lnTo>
                        <a:pt x="552" y="162"/>
                      </a:lnTo>
                      <a:lnTo>
                        <a:pt x="540" y="150"/>
                      </a:lnTo>
                      <a:lnTo>
                        <a:pt x="552" y="138"/>
                      </a:lnTo>
                      <a:lnTo>
                        <a:pt x="540" y="120"/>
                      </a:lnTo>
                      <a:lnTo>
                        <a:pt x="546" y="114"/>
                      </a:lnTo>
                      <a:lnTo>
                        <a:pt x="552" y="102"/>
                      </a:lnTo>
                      <a:lnTo>
                        <a:pt x="552" y="96"/>
                      </a:lnTo>
                      <a:lnTo>
                        <a:pt x="540" y="84"/>
                      </a:lnTo>
                      <a:lnTo>
                        <a:pt x="528" y="84"/>
                      </a:lnTo>
                      <a:lnTo>
                        <a:pt x="510" y="66"/>
                      </a:lnTo>
                      <a:lnTo>
                        <a:pt x="498" y="66"/>
                      </a:lnTo>
                      <a:lnTo>
                        <a:pt x="486" y="72"/>
                      </a:lnTo>
                      <a:lnTo>
                        <a:pt x="480" y="72"/>
                      </a:lnTo>
                      <a:lnTo>
                        <a:pt x="462" y="48"/>
                      </a:lnTo>
                      <a:lnTo>
                        <a:pt x="444" y="48"/>
                      </a:lnTo>
                      <a:lnTo>
                        <a:pt x="432" y="30"/>
                      </a:lnTo>
                      <a:lnTo>
                        <a:pt x="372" y="30"/>
                      </a:lnTo>
                      <a:lnTo>
                        <a:pt x="366" y="0"/>
                      </a:lnTo>
                      <a:lnTo>
                        <a:pt x="330" y="0"/>
                      </a:lnTo>
                      <a:lnTo>
                        <a:pt x="294" y="12"/>
                      </a:lnTo>
                      <a:lnTo>
                        <a:pt x="282" y="24"/>
                      </a:lnTo>
                      <a:lnTo>
                        <a:pt x="258" y="36"/>
                      </a:lnTo>
                      <a:lnTo>
                        <a:pt x="258" y="72"/>
                      </a:lnTo>
                      <a:lnTo>
                        <a:pt x="252" y="78"/>
                      </a:lnTo>
                      <a:lnTo>
                        <a:pt x="240" y="78"/>
                      </a:lnTo>
                      <a:lnTo>
                        <a:pt x="228" y="84"/>
                      </a:lnTo>
                      <a:lnTo>
                        <a:pt x="210" y="90"/>
                      </a:lnTo>
                      <a:lnTo>
                        <a:pt x="198" y="96"/>
                      </a:lnTo>
                      <a:lnTo>
                        <a:pt x="192" y="102"/>
                      </a:lnTo>
                      <a:lnTo>
                        <a:pt x="180" y="126"/>
                      </a:lnTo>
                      <a:lnTo>
                        <a:pt x="174" y="132"/>
                      </a:lnTo>
                      <a:lnTo>
                        <a:pt x="174" y="138"/>
                      </a:lnTo>
                      <a:lnTo>
                        <a:pt x="168" y="144"/>
                      </a:lnTo>
                      <a:lnTo>
                        <a:pt x="162" y="156"/>
                      </a:lnTo>
                      <a:lnTo>
                        <a:pt x="132" y="186"/>
                      </a:lnTo>
                      <a:lnTo>
                        <a:pt x="108" y="198"/>
                      </a:lnTo>
                      <a:lnTo>
                        <a:pt x="90" y="198"/>
                      </a:lnTo>
                      <a:lnTo>
                        <a:pt x="90" y="192"/>
                      </a:lnTo>
                      <a:lnTo>
                        <a:pt x="78" y="180"/>
                      </a:lnTo>
                      <a:lnTo>
                        <a:pt x="66" y="180"/>
                      </a:lnTo>
                      <a:lnTo>
                        <a:pt x="66" y="192"/>
                      </a:lnTo>
                      <a:lnTo>
                        <a:pt x="54" y="192"/>
                      </a:lnTo>
                      <a:lnTo>
                        <a:pt x="42" y="180"/>
                      </a:lnTo>
                      <a:lnTo>
                        <a:pt x="42" y="174"/>
                      </a:lnTo>
                      <a:lnTo>
                        <a:pt x="0" y="174"/>
                      </a:lnTo>
                      <a:lnTo>
                        <a:pt x="6" y="192"/>
                      </a:lnTo>
                      <a:lnTo>
                        <a:pt x="18" y="20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3" name="Zambia">
                  <a:extLst>
                    <a:ext uri="{FF2B5EF4-FFF2-40B4-BE49-F238E27FC236}">
                      <a16:creationId xmlns:a16="http://schemas.microsoft.com/office/drawing/2014/main" id="{C42AB00D-4555-47ED-BC00-795BA5EC8AF0}"/>
                    </a:ext>
                  </a:extLst>
                </p:cNvPr>
                <p:cNvSpPr>
                  <a:spLocks/>
                </p:cNvSpPr>
                <p:nvPr/>
              </p:nvSpPr>
              <p:spPr bwMode="gray">
                <a:xfrm>
                  <a:off x="4826750" y="3629389"/>
                  <a:ext cx="313868" cy="301946"/>
                </a:xfrm>
                <a:custGeom>
                  <a:avLst/>
                  <a:gdLst>
                    <a:gd name="T0" fmla="*/ 2147483647 w 834"/>
                    <a:gd name="T1" fmla="*/ 2147483647 h 798"/>
                    <a:gd name="T2" fmla="*/ 2147483647 w 834"/>
                    <a:gd name="T3" fmla="*/ 2147483647 h 798"/>
                    <a:gd name="T4" fmla="*/ 2147483647 w 834"/>
                    <a:gd name="T5" fmla="*/ 2147483647 h 798"/>
                    <a:gd name="T6" fmla="*/ 2147483647 w 834"/>
                    <a:gd name="T7" fmla="*/ 2147483647 h 798"/>
                    <a:gd name="T8" fmla="*/ 2147483647 w 834"/>
                    <a:gd name="T9" fmla="*/ 2147483647 h 798"/>
                    <a:gd name="T10" fmla="*/ 2147483647 w 834"/>
                    <a:gd name="T11" fmla="*/ 2147483647 h 798"/>
                    <a:gd name="T12" fmla="*/ 2147483647 w 834"/>
                    <a:gd name="T13" fmla="*/ 2147483647 h 798"/>
                    <a:gd name="T14" fmla="*/ 2147483647 w 834"/>
                    <a:gd name="T15" fmla="*/ 2147483647 h 798"/>
                    <a:gd name="T16" fmla="*/ 2147483647 w 834"/>
                    <a:gd name="T17" fmla="*/ 2147483647 h 798"/>
                    <a:gd name="T18" fmla="*/ 2147483647 w 834"/>
                    <a:gd name="T19" fmla="*/ 2147483647 h 798"/>
                    <a:gd name="T20" fmla="*/ 2147483647 w 834"/>
                    <a:gd name="T21" fmla="*/ 2147483647 h 798"/>
                    <a:gd name="T22" fmla="*/ 2147483647 w 834"/>
                    <a:gd name="T23" fmla="*/ 2147483647 h 798"/>
                    <a:gd name="T24" fmla="*/ 2147483647 w 834"/>
                    <a:gd name="T25" fmla="*/ 2147483647 h 798"/>
                    <a:gd name="T26" fmla="*/ 2147483647 w 834"/>
                    <a:gd name="T27" fmla="*/ 2147483647 h 798"/>
                    <a:gd name="T28" fmla="*/ 2147483647 w 834"/>
                    <a:gd name="T29" fmla="*/ 2147483647 h 798"/>
                    <a:gd name="T30" fmla="*/ 2147483647 w 834"/>
                    <a:gd name="T31" fmla="*/ 2147483647 h 798"/>
                    <a:gd name="T32" fmla="*/ 2147483647 w 834"/>
                    <a:gd name="T33" fmla="*/ 2147483647 h 798"/>
                    <a:gd name="T34" fmla="*/ 2147483647 w 834"/>
                    <a:gd name="T35" fmla="*/ 2147483647 h 798"/>
                    <a:gd name="T36" fmla="*/ 2147483647 w 834"/>
                    <a:gd name="T37" fmla="*/ 2147483647 h 798"/>
                    <a:gd name="T38" fmla="*/ 2147483647 w 834"/>
                    <a:gd name="T39" fmla="*/ 2147483647 h 798"/>
                    <a:gd name="T40" fmla="*/ 2147483647 w 834"/>
                    <a:gd name="T41" fmla="*/ 2147483647 h 798"/>
                    <a:gd name="T42" fmla="*/ 2147483647 w 834"/>
                    <a:gd name="T43" fmla="*/ 2147483647 h 798"/>
                    <a:gd name="T44" fmla="*/ 2147483647 w 834"/>
                    <a:gd name="T45" fmla="*/ 2147483647 h 798"/>
                    <a:gd name="T46" fmla="*/ 2147483647 w 834"/>
                    <a:gd name="T47" fmla="*/ 2147483647 h 798"/>
                    <a:gd name="T48" fmla="*/ 2147483647 w 834"/>
                    <a:gd name="T49" fmla="*/ 2147483647 h 798"/>
                    <a:gd name="T50" fmla="*/ 2147483647 w 834"/>
                    <a:gd name="T51" fmla="*/ 2147483647 h 798"/>
                    <a:gd name="T52" fmla="*/ 2147483647 w 834"/>
                    <a:gd name="T53" fmla="*/ 2147483647 h 798"/>
                    <a:gd name="T54" fmla="*/ 2147483647 w 834"/>
                    <a:gd name="T55" fmla="*/ 2147483647 h 798"/>
                    <a:gd name="T56" fmla="*/ 2147483647 w 834"/>
                    <a:gd name="T57" fmla="*/ 2147483647 h 798"/>
                    <a:gd name="T58" fmla="*/ 2147483647 w 834"/>
                    <a:gd name="T59" fmla="*/ 2147483647 h 798"/>
                    <a:gd name="T60" fmla="*/ 2147483647 w 834"/>
                    <a:gd name="T61" fmla="*/ 2147483647 h 798"/>
                    <a:gd name="T62" fmla="*/ 2147483647 w 834"/>
                    <a:gd name="T63" fmla="*/ 2147483647 h 798"/>
                    <a:gd name="T64" fmla="*/ 2147483647 w 834"/>
                    <a:gd name="T65" fmla="*/ 2147483647 h 798"/>
                    <a:gd name="T66" fmla="*/ 2147483647 w 834"/>
                    <a:gd name="T67" fmla="*/ 2147483647 h 798"/>
                    <a:gd name="T68" fmla="*/ 2147483647 w 834"/>
                    <a:gd name="T69" fmla="*/ 2147483647 h 798"/>
                    <a:gd name="T70" fmla="*/ 2147483647 w 834"/>
                    <a:gd name="T71" fmla="*/ 2147483647 h 798"/>
                    <a:gd name="T72" fmla="*/ 2147483647 w 834"/>
                    <a:gd name="T73" fmla="*/ 2147483647 h 798"/>
                    <a:gd name="T74" fmla="*/ 2147483647 w 834"/>
                    <a:gd name="T75" fmla="*/ 2147483647 h 798"/>
                    <a:gd name="T76" fmla="*/ 2147483647 w 834"/>
                    <a:gd name="T77" fmla="*/ 2147483647 h 798"/>
                    <a:gd name="T78" fmla="*/ 2147483647 w 834"/>
                    <a:gd name="T79" fmla="*/ 2147483647 h 798"/>
                    <a:gd name="T80" fmla="*/ 2147483647 w 834"/>
                    <a:gd name="T81" fmla="*/ 2147483647 h 798"/>
                    <a:gd name="T82" fmla="*/ 2147483647 w 834"/>
                    <a:gd name="T83" fmla="*/ 2147483647 h 798"/>
                    <a:gd name="T84" fmla="*/ 2147483647 w 834"/>
                    <a:gd name="T85" fmla="*/ 2147483647 h 798"/>
                    <a:gd name="T86" fmla="*/ 2147483647 w 834"/>
                    <a:gd name="T87" fmla="*/ 2147483647 h 798"/>
                    <a:gd name="T88" fmla="*/ 2147483647 w 834"/>
                    <a:gd name="T89" fmla="*/ 2147483647 h 798"/>
                    <a:gd name="T90" fmla="*/ 2147483647 w 834"/>
                    <a:gd name="T91" fmla="*/ 2147483647 h 798"/>
                    <a:gd name="T92" fmla="*/ 2147483647 w 834"/>
                    <a:gd name="T93" fmla="*/ 2147483647 h 798"/>
                    <a:gd name="T94" fmla="*/ 2147483647 w 834"/>
                    <a:gd name="T95" fmla="*/ 2147483647 h 798"/>
                    <a:gd name="T96" fmla="*/ 2147483647 w 834"/>
                    <a:gd name="T97" fmla="*/ 2147483647 h 798"/>
                    <a:gd name="T98" fmla="*/ 2147483647 w 834"/>
                    <a:gd name="T99" fmla="*/ 2147483647 h 798"/>
                    <a:gd name="T100" fmla="*/ 2147483647 w 834"/>
                    <a:gd name="T101" fmla="*/ 2147483647 h 798"/>
                    <a:gd name="T102" fmla="*/ 2147483647 w 834"/>
                    <a:gd name="T103" fmla="*/ 2147483647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4"/>
                    <a:gd name="T157" fmla="*/ 0 h 798"/>
                    <a:gd name="T158" fmla="*/ 834 w 834"/>
                    <a:gd name="T159" fmla="*/ 798 h 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4" h="798">
                      <a:moveTo>
                        <a:pt x="822" y="186"/>
                      </a:moveTo>
                      <a:lnTo>
                        <a:pt x="822" y="162"/>
                      </a:lnTo>
                      <a:lnTo>
                        <a:pt x="816" y="168"/>
                      </a:lnTo>
                      <a:lnTo>
                        <a:pt x="810" y="168"/>
                      </a:lnTo>
                      <a:lnTo>
                        <a:pt x="810" y="126"/>
                      </a:lnTo>
                      <a:lnTo>
                        <a:pt x="798" y="114"/>
                      </a:lnTo>
                      <a:lnTo>
                        <a:pt x="786" y="114"/>
                      </a:lnTo>
                      <a:lnTo>
                        <a:pt x="786" y="102"/>
                      </a:lnTo>
                      <a:lnTo>
                        <a:pt x="768" y="90"/>
                      </a:lnTo>
                      <a:lnTo>
                        <a:pt x="750" y="90"/>
                      </a:lnTo>
                      <a:lnTo>
                        <a:pt x="750" y="72"/>
                      </a:lnTo>
                      <a:lnTo>
                        <a:pt x="738" y="78"/>
                      </a:lnTo>
                      <a:lnTo>
                        <a:pt x="726" y="78"/>
                      </a:lnTo>
                      <a:lnTo>
                        <a:pt x="708" y="60"/>
                      </a:lnTo>
                      <a:lnTo>
                        <a:pt x="690" y="60"/>
                      </a:lnTo>
                      <a:lnTo>
                        <a:pt x="684" y="54"/>
                      </a:lnTo>
                      <a:lnTo>
                        <a:pt x="684" y="36"/>
                      </a:lnTo>
                      <a:lnTo>
                        <a:pt x="672" y="42"/>
                      </a:lnTo>
                      <a:lnTo>
                        <a:pt x="654" y="42"/>
                      </a:lnTo>
                      <a:lnTo>
                        <a:pt x="648" y="54"/>
                      </a:lnTo>
                      <a:lnTo>
                        <a:pt x="642" y="60"/>
                      </a:lnTo>
                      <a:lnTo>
                        <a:pt x="636" y="60"/>
                      </a:lnTo>
                      <a:lnTo>
                        <a:pt x="624" y="48"/>
                      </a:lnTo>
                      <a:lnTo>
                        <a:pt x="624" y="36"/>
                      </a:lnTo>
                      <a:lnTo>
                        <a:pt x="618" y="30"/>
                      </a:lnTo>
                      <a:lnTo>
                        <a:pt x="606" y="30"/>
                      </a:lnTo>
                      <a:lnTo>
                        <a:pt x="600" y="24"/>
                      </a:lnTo>
                      <a:lnTo>
                        <a:pt x="594" y="24"/>
                      </a:lnTo>
                      <a:lnTo>
                        <a:pt x="594" y="6"/>
                      </a:lnTo>
                      <a:lnTo>
                        <a:pt x="600" y="0"/>
                      </a:lnTo>
                      <a:lnTo>
                        <a:pt x="576" y="12"/>
                      </a:lnTo>
                      <a:lnTo>
                        <a:pt x="558" y="12"/>
                      </a:lnTo>
                      <a:lnTo>
                        <a:pt x="546" y="18"/>
                      </a:lnTo>
                      <a:lnTo>
                        <a:pt x="528" y="18"/>
                      </a:lnTo>
                      <a:lnTo>
                        <a:pt x="510" y="24"/>
                      </a:lnTo>
                      <a:lnTo>
                        <a:pt x="498" y="24"/>
                      </a:lnTo>
                      <a:lnTo>
                        <a:pt x="498" y="54"/>
                      </a:lnTo>
                      <a:lnTo>
                        <a:pt x="480" y="72"/>
                      </a:lnTo>
                      <a:lnTo>
                        <a:pt x="468" y="78"/>
                      </a:lnTo>
                      <a:lnTo>
                        <a:pt x="462" y="84"/>
                      </a:lnTo>
                      <a:lnTo>
                        <a:pt x="456" y="84"/>
                      </a:lnTo>
                      <a:lnTo>
                        <a:pt x="468" y="96"/>
                      </a:lnTo>
                      <a:lnTo>
                        <a:pt x="468" y="102"/>
                      </a:lnTo>
                      <a:lnTo>
                        <a:pt x="474" y="108"/>
                      </a:lnTo>
                      <a:lnTo>
                        <a:pt x="474" y="114"/>
                      </a:lnTo>
                      <a:lnTo>
                        <a:pt x="480" y="120"/>
                      </a:lnTo>
                      <a:lnTo>
                        <a:pt x="480" y="144"/>
                      </a:lnTo>
                      <a:lnTo>
                        <a:pt x="486" y="162"/>
                      </a:lnTo>
                      <a:lnTo>
                        <a:pt x="486" y="216"/>
                      </a:lnTo>
                      <a:lnTo>
                        <a:pt x="474" y="228"/>
                      </a:lnTo>
                      <a:lnTo>
                        <a:pt x="468" y="240"/>
                      </a:lnTo>
                      <a:lnTo>
                        <a:pt x="462" y="258"/>
                      </a:lnTo>
                      <a:lnTo>
                        <a:pt x="456" y="270"/>
                      </a:lnTo>
                      <a:lnTo>
                        <a:pt x="456" y="294"/>
                      </a:lnTo>
                      <a:lnTo>
                        <a:pt x="468" y="306"/>
                      </a:lnTo>
                      <a:lnTo>
                        <a:pt x="474" y="306"/>
                      </a:lnTo>
                      <a:lnTo>
                        <a:pt x="474" y="312"/>
                      </a:lnTo>
                      <a:lnTo>
                        <a:pt x="480" y="312"/>
                      </a:lnTo>
                      <a:lnTo>
                        <a:pt x="510" y="342"/>
                      </a:lnTo>
                      <a:lnTo>
                        <a:pt x="522" y="348"/>
                      </a:lnTo>
                      <a:lnTo>
                        <a:pt x="528" y="348"/>
                      </a:lnTo>
                      <a:lnTo>
                        <a:pt x="534" y="342"/>
                      </a:lnTo>
                      <a:lnTo>
                        <a:pt x="534" y="324"/>
                      </a:lnTo>
                      <a:lnTo>
                        <a:pt x="558" y="324"/>
                      </a:lnTo>
                      <a:lnTo>
                        <a:pt x="558" y="372"/>
                      </a:lnTo>
                      <a:lnTo>
                        <a:pt x="552" y="408"/>
                      </a:lnTo>
                      <a:lnTo>
                        <a:pt x="546" y="426"/>
                      </a:lnTo>
                      <a:lnTo>
                        <a:pt x="540" y="426"/>
                      </a:lnTo>
                      <a:lnTo>
                        <a:pt x="540" y="420"/>
                      </a:lnTo>
                      <a:lnTo>
                        <a:pt x="534" y="408"/>
                      </a:lnTo>
                      <a:lnTo>
                        <a:pt x="516" y="420"/>
                      </a:lnTo>
                      <a:lnTo>
                        <a:pt x="498" y="420"/>
                      </a:lnTo>
                      <a:lnTo>
                        <a:pt x="498" y="408"/>
                      </a:lnTo>
                      <a:lnTo>
                        <a:pt x="492" y="396"/>
                      </a:lnTo>
                      <a:lnTo>
                        <a:pt x="492" y="384"/>
                      </a:lnTo>
                      <a:lnTo>
                        <a:pt x="480" y="372"/>
                      </a:lnTo>
                      <a:lnTo>
                        <a:pt x="468" y="372"/>
                      </a:lnTo>
                      <a:lnTo>
                        <a:pt x="462" y="360"/>
                      </a:lnTo>
                      <a:lnTo>
                        <a:pt x="462" y="354"/>
                      </a:lnTo>
                      <a:lnTo>
                        <a:pt x="456" y="342"/>
                      </a:lnTo>
                      <a:lnTo>
                        <a:pt x="450" y="336"/>
                      </a:lnTo>
                      <a:lnTo>
                        <a:pt x="444" y="336"/>
                      </a:lnTo>
                      <a:lnTo>
                        <a:pt x="438" y="342"/>
                      </a:lnTo>
                      <a:lnTo>
                        <a:pt x="426" y="342"/>
                      </a:lnTo>
                      <a:lnTo>
                        <a:pt x="426" y="330"/>
                      </a:lnTo>
                      <a:lnTo>
                        <a:pt x="420" y="324"/>
                      </a:lnTo>
                      <a:lnTo>
                        <a:pt x="390" y="324"/>
                      </a:lnTo>
                      <a:lnTo>
                        <a:pt x="390" y="312"/>
                      </a:lnTo>
                      <a:lnTo>
                        <a:pt x="396" y="312"/>
                      </a:lnTo>
                      <a:lnTo>
                        <a:pt x="396" y="300"/>
                      </a:lnTo>
                      <a:lnTo>
                        <a:pt x="384" y="300"/>
                      </a:lnTo>
                      <a:lnTo>
                        <a:pt x="378" y="294"/>
                      </a:lnTo>
                      <a:lnTo>
                        <a:pt x="378" y="282"/>
                      </a:lnTo>
                      <a:lnTo>
                        <a:pt x="366" y="270"/>
                      </a:lnTo>
                      <a:lnTo>
                        <a:pt x="360" y="270"/>
                      </a:lnTo>
                      <a:lnTo>
                        <a:pt x="354" y="276"/>
                      </a:lnTo>
                      <a:lnTo>
                        <a:pt x="354" y="294"/>
                      </a:lnTo>
                      <a:lnTo>
                        <a:pt x="348" y="300"/>
                      </a:lnTo>
                      <a:lnTo>
                        <a:pt x="348" y="306"/>
                      </a:lnTo>
                      <a:lnTo>
                        <a:pt x="330" y="306"/>
                      </a:lnTo>
                      <a:lnTo>
                        <a:pt x="300" y="300"/>
                      </a:lnTo>
                      <a:lnTo>
                        <a:pt x="264" y="294"/>
                      </a:lnTo>
                      <a:lnTo>
                        <a:pt x="246" y="282"/>
                      </a:lnTo>
                      <a:lnTo>
                        <a:pt x="240" y="276"/>
                      </a:lnTo>
                      <a:lnTo>
                        <a:pt x="234" y="264"/>
                      </a:lnTo>
                      <a:lnTo>
                        <a:pt x="234" y="246"/>
                      </a:lnTo>
                      <a:lnTo>
                        <a:pt x="192" y="252"/>
                      </a:lnTo>
                      <a:lnTo>
                        <a:pt x="198" y="258"/>
                      </a:lnTo>
                      <a:lnTo>
                        <a:pt x="198" y="264"/>
                      </a:lnTo>
                      <a:lnTo>
                        <a:pt x="180" y="264"/>
                      </a:lnTo>
                      <a:lnTo>
                        <a:pt x="174" y="258"/>
                      </a:lnTo>
                      <a:lnTo>
                        <a:pt x="174" y="228"/>
                      </a:lnTo>
                      <a:lnTo>
                        <a:pt x="156" y="228"/>
                      </a:lnTo>
                      <a:lnTo>
                        <a:pt x="150" y="216"/>
                      </a:lnTo>
                      <a:lnTo>
                        <a:pt x="144" y="234"/>
                      </a:lnTo>
                      <a:lnTo>
                        <a:pt x="144" y="240"/>
                      </a:lnTo>
                      <a:lnTo>
                        <a:pt x="156" y="252"/>
                      </a:lnTo>
                      <a:lnTo>
                        <a:pt x="156" y="270"/>
                      </a:lnTo>
                      <a:lnTo>
                        <a:pt x="150" y="276"/>
                      </a:lnTo>
                      <a:lnTo>
                        <a:pt x="144" y="276"/>
                      </a:lnTo>
                      <a:lnTo>
                        <a:pt x="144" y="330"/>
                      </a:lnTo>
                      <a:lnTo>
                        <a:pt x="156" y="342"/>
                      </a:lnTo>
                      <a:lnTo>
                        <a:pt x="138" y="348"/>
                      </a:lnTo>
                      <a:lnTo>
                        <a:pt x="138" y="354"/>
                      </a:lnTo>
                      <a:lnTo>
                        <a:pt x="144" y="360"/>
                      </a:lnTo>
                      <a:lnTo>
                        <a:pt x="144" y="384"/>
                      </a:lnTo>
                      <a:lnTo>
                        <a:pt x="132" y="396"/>
                      </a:lnTo>
                      <a:lnTo>
                        <a:pt x="126" y="396"/>
                      </a:lnTo>
                      <a:lnTo>
                        <a:pt x="0" y="390"/>
                      </a:lnTo>
                      <a:lnTo>
                        <a:pt x="0" y="642"/>
                      </a:lnTo>
                      <a:lnTo>
                        <a:pt x="6" y="654"/>
                      </a:lnTo>
                      <a:lnTo>
                        <a:pt x="6" y="672"/>
                      </a:lnTo>
                      <a:lnTo>
                        <a:pt x="96" y="762"/>
                      </a:lnTo>
                      <a:lnTo>
                        <a:pt x="114" y="768"/>
                      </a:lnTo>
                      <a:lnTo>
                        <a:pt x="138" y="756"/>
                      </a:lnTo>
                      <a:lnTo>
                        <a:pt x="144" y="756"/>
                      </a:lnTo>
                      <a:lnTo>
                        <a:pt x="150" y="750"/>
                      </a:lnTo>
                      <a:lnTo>
                        <a:pt x="168" y="750"/>
                      </a:lnTo>
                      <a:lnTo>
                        <a:pt x="174" y="756"/>
                      </a:lnTo>
                      <a:lnTo>
                        <a:pt x="174" y="762"/>
                      </a:lnTo>
                      <a:lnTo>
                        <a:pt x="204" y="756"/>
                      </a:lnTo>
                      <a:lnTo>
                        <a:pt x="222" y="774"/>
                      </a:lnTo>
                      <a:lnTo>
                        <a:pt x="264" y="774"/>
                      </a:lnTo>
                      <a:lnTo>
                        <a:pt x="264" y="780"/>
                      </a:lnTo>
                      <a:lnTo>
                        <a:pt x="276" y="792"/>
                      </a:lnTo>
                      <a:lnTo>
                        <a:pt x="288" y="792"/>
                      </a:lnTo>
                      <a:lnTo>
                        <a:pt x="288" y="780"/>
                      </a:lnTo>
                      <a:lnTo>
                        <a:pt x="300" y="780"/>
                      </a:lnTo>
                      <a:lnTo>
                        <a:pt x="312" y="792"/>
                      </a:lnTo>
                      <a:lnTo>
                        <a:pt x="312" y="798"/>
                      </a:lnTo>
                      <a:lnTo>
                        <a:pt x="330" y="798"/>
                      </a:lnTo>
                      <a:lnTo>
                        <a:pt x="354" y="786"/>
                      </a:lnTo>
                      <a:lnTo>
                        <a:pt x="384" y="756"/>
                      </a:lnTo>
                      <a:lnTo>
                        <a:pt x="390" y="744"/>
                      </a:lnTo>
                      <a:lnTo>
                        <a:pt x="396" y="738"/>
                      </a:lnTo>
                      <a:lnTo>
                        <a:pt x="396" y="732"/>
                      </a:lnTo>
                      <a:lnTo>
                        <a:pt x="402" y="726"/>
                      </a:lnTo>
                      <a:lnTo>
                        <a:pt x="414" y="702"/>
                      </a:lnTo>
                      <a:lnTo>
                        <a:pt x="420" y="696"/>
                      </a:lnTo>
                      <a:lnTo>
                        <a:pt x="432" y="690"/>
                      </a:lnTo>
                      <a:lnTo>
                        <a:pt x="450" y="684"/>
                      </a:lnTo>
                      <a:lnTo>
                        <a:pt x="462" y="678"/>
                      </a:lnTo>
                      <a:lnTo>
                        <a:pt x="474" y="678"/>
                      </a:lnTo>
                      <a:lnTo>
                        <a:pt x="480" y="672"/>
                      </a:lnTo>
                      <a:lnTo>
                        <a:pt x="480" y="636"/>
                      </a:lnTo>
                      <a:lnTo>
                        <a:pt x="504" y="624"/>
                      </a:lnTo>
                      <a:lnTo>
                        <a:pt x="516" y="612"/>
                      </a:lnTo>
                      <a:lnTo>
                        <a:pt x="552" y="600"/>
                      </a:lnTo>
                      <a:lnTo>
                        <a:pt x="588" y="600"/>
                      </a:lnTo>
                      <a:lnTo>
                        <a:pt x="588" y="576"/>
                      </a:lnTo>
                      <a:lnTo>
                        <a:pt x="570" y="558"/>
                      </a:lnTo>
                      <a:lnTo>
                        <a:pt x="582" y="546"/>
                      </a:lnTo>
                      <a:lnTo>
                        <a:pt x="612" y="546"/>
                      </a:lnTo>
                      <a:lnTo>
                        <a:pt x="630" y="528"/>
                      </a:lnTo>
                      <a:lnTo>
                        <a:pt x="642" y="528"/>
                      </a:lnTo>
                      <a:lnTo>
                        <a:pt x="654" y="522"/>
                      </a:lnTo>
                      <a:lnTo>
                        <a:pt x="672" y="522"/>
                      </a:lnTo>
                      <a:lnTo>
                        <a:pt x="690" y="516"/>
                      </a:lnTo>
                      <a:lnTo>
                        <a:pt x="702" y="510"/>
                      </a:lnTo>
                      <a:lnTo>
                        <a:pt x="708" y="510"/>
                      </a:lnTo>
                      <a:lnTo>
                        <a:pt x="732" y="498"/>
                      </a:lnTo>
                      <a:lnTo>
                        <a:pt x="750" y="486"/>
                      </a:lnTo>
                      <a:lnTo>
                        <a:pt x="762" y="480"/>
                      </a:lnTo>
                      <a:lnTo>
                        <a:pt x="780" y="474"/>
                      </a:lnTo>
                      <a:lnTo>
                        <a:pt x="786" y="468"/>
                      </a:lnTo>
                      <a:lnTo>
                        <a:pt x="792" y="468"/>
                      </a:lnTo>
                      <a:lnTo>
                        <a:pt x="780" y="462"/>
                      </a:lnTo>
                      <a:lnTo>
                        <a:pt x="768" y="450"/>
                      </a:lnTo>
                      <a:lnTo>
                        <a:pt x="756" y="444"/>
                      </a:lnTo>
                      <a:lnTo>
                        <a:pt x="756" y="438"/>
                      </a:lnTo>
                      <a:lnTo>
                        <a:pt x="762" y="432"/>
                      </a:lnTo>
                      <a:lnTo>
                        <a:pt x="768" y="420"/>
                      </a:lnTo>
                      <a:lnTo>
                        <a:pt x="774" y="414"/>
                      </a:lnTo>
                      <a:lnTo>
                        <a:pt x="780" y="402"/>
                      </a:lnTo>
                      <a:lnTo>
                        <a:pt x="774" y="366"/>
                      </a:lnTo>
                      <a:lnTo>
                        <a:pt x="780" y="366"/>
                      </a:lnTo>
                      <a:lnTo>
                        <a:pt x="786" y="360"/>
                      </a:lnTo>
                      <a:lnTo>
                        <a:pt x="798" y="354"/>
                      </a:lnTo>
                      <a:lnTo>
                        <a:pt x="816" y="336"/>
                      </a:lnTo>
                      <a:lnTo>
                        <a:pt x="816" y="330"/>
                      </a:lnTo>
                      <a:lnTo>
                        <a:pt x="804" y="330"/>
                      </a:lnTo>
                      <a:lnTo>
                        <a:pt x="804" y="258"/>
                      </a:lnTo>
                      <a:lnTo>
                        <a:pt x="810" y="240"/>
                      </a:lnTo>
                      <a:lnTo>
                        <a:pt x="798" y="234"/>
                      </a:lnTo>
                      <a:lnTo>
                        <a:pt x="798" y="216"/>
                      </a:lnTo>
                      <a:lnTo>
                        <a:pt x="804" y="216"/>
                      </a:lnTo>
                      <a:lnTo>
                        <a:pt x="810" y="210"/>
                      </a:lnTo>
                      <a:lnTo>
                        <a:pt x="834" y="198"/>
                      </a:lnTo>
                      <a:lnTo>
                        <a:pt x="834" y="186"/>
                      </a:lnTo>
                      <a:lnTo>
                        <a:pt x="822" y="18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4" name="Yemen">
                  <a:extLst>
                    <a:ext uri="{FF2B5EF4-FFF2-40B4-BE49-F238E27FC236}">
                      <a16:creationId xmlns:a16="http://schemas.microsoft.com/office/drawing/2014/main" id="{48316C05-3217-4723-85FA-C3CDB80DF17C}"/>
                    </a:ext>
                  </a:extLst>
                </p:cNvPr>
                <p:cNvSpPr>
                  <a:spLocks/>
                </p:cNvSpPr>
                <p:nvPr/>
              </p:nvSpPr>
              <p:spPr bwMode="gray">
                <a:xfrm>
                  <a:off x="5374160" y="2803872"/>
                  <a:ext cx="275193" cy="188902"/>
                </a:xfrm>
                <a:custGeom>
                  <a:avLst/>
                  <a:gdLst>
                    <a:gd name="T0" fmla="*/ 2147483647 w 732"/>
                    <a:gd name="T1" fmla="*/ 2147483647 h 498"/>
                    <a:gd name="T2" fmla="*/ 2147483647 w 732"/>
                    <a:gd name="T3" fmla="*/ 2147483647 h 498"/>
                    <a:gd name="T4" fmla="*/ 2147483647 w 732"/>
                    <a:gd name="T5" fmla="*/ 2147483647 h 498"/>
                    <a:gd name="T6" fmla="*/ 2147483647 w 732"/>
                    <a:gd name="T7" fmla="*/ 2147483647 h 498"/>
                    <a:gd name="T8" fmla="*/ 2147483647 w 732"/>
                    <a:gd name="T9" fmla="*/ 2147483647 h 498"/>
                    <a:gd name="T10" fmla="*/ 2147483647 w 732"/>
                    <a:gd name="T11" fmla="*/ 2147483647 h 498"/>
                    <a:gd name="T12" fmla="*/ 2147483647 w 732"/>
                    <a:gd name="T13" fmla="*/ 2147483647 h 498"/>
                    <a:gd name="T14" fmla="*/ 2147483647 w 732"/>
                    <a:gd name="T15" fmla="*/ 2147483647 h 498"/>
                    <a:gd name="T16" fmla="*/ 2147483647 w 732"/>
                    <a:gd name="T17" fmla="*/ 2147483647 h 498"/>
                    <a:gd name="T18" fmla="*/ 2147483647 w 732"/>
                    <a:gd name="T19" fmla="*/ 2147483647 h 498"/>
                    <a:gd name="T20" fmla="*/ 2147483647 w 732"/>
                    <a:gd name="T21" fmla="*/ 2147483647 h 498"/>
                    <a:gd name="T22" fmla="*/ 2147483647 w 732"/>
                    <a:gd name="T23" fmla="*/ 2147483647 h 498"/>
                    <a:gd name="T24" fmla="*/ 2147483647 w 732"/>
                    <a:gd name="T25" fmla="*/ 2147483647 h 498"/>
                    <a:gd name="T26" fmla="*/ 2147483647 w 732"/>
                    <a:gd name="T27" fmla="*/ 2147483647 h 498"/>
                    <a:gd name="T28" fmla="*/ 2147483647 w 732"/>
                    <a:gd name="T29" fmla="*/ 2147483647 h 498"/>
                    <a:gd name="T30" fmla="*/ 0 w 732"/>
                    <a:gd name="T31" fmla="*/ 2147483647 h 498"/>
                    <a:gd name="T32" fmla="*/ 2147483647 w 732"/>
                    <a:gd name="T33" fmla="*/ 2147483647 h 498"/>
                    <a:gd name="T34" fmla="*/ 2147483647 w 732"/>
                    <a:gd name="T35" fmla="*/ 2147483647 h 498"/>
                    <a:gd name="T36" fmla="*/ 2147483647 w 732"/>
                    <a:gd name="T37" fmla="*/ 2147483647 h 498"/>
                    <a:gd name="T38" fmla="*/ 2147483647 w 732"/>
                    <a:gd name="T39" fmla="*/ 2147483647 h 498"/>
                    <a:gd name="T40" fmla="*/ 2147483647 w 732"/>
                    <a:gd name="T41" fmla="*/ 2147483647 h 498"/>
                    <a:gd name="T42" fmla="*/ 2147483647 w 732"/>
                    <a:gd name="T43" fmla="*/ 2147483647 h 498"/>
                    <a:gd name="T44" fmla="*/ 2147483647 w 732"/>
                    <a:gd name="T45" fmla="*/ 2147483647 h 498"/>
                    <a:gd name="T46" fmla="*/ 2147483647 w 732"/>
                    <a:gd name="T47" fmla="*/ 2147483647 h 498"/>
                    <a:gd name="T48" fmla="*/ 2147483647 w 732"/>
                    <a:gd name="T49" fmla="*/ 2147483647 h 498"/>
                    <a:gd name="T50" fmla="*/ 2147483647 w 732"/>
                    <a:gd name="T51" fmla="*/ 2147483647 h 498"/>
                    <a:gd name="T52" fmla="*/ 2147483647 w 732"/>
                    <a:gd name="T53" fmla="*/ 2147483647 h 498"/>
                    <a:gd name="T54" fmla="*/ 2147483647 w 732"/>
                    <a:gd name="T55" fmla="*/ 2147483647 h 498"/>
                    <a:gd name="T56" fmla="*/ 2147483647 w 732"/>
                    <a:gd name="T57" fmla="*/ 2147483647 h 498"/>
                    <a:gd name="T58" fmla="*/ 2147483647 w 732"/>
                    <a:gd name="T59" fmla="*/ 2147483647 h 498"/>
                    <a:gd name="T60" fmla="*/ 2147483647 w 732"/>
                    <a:gd name="T61" fmla="*/ 2147483647 h 498"/>
                    <a:gd name="T62" fmla="*/ 2147483647 w 732"/>
                    <a:gd name="T63" fmla="*/ 2147483647 h 498"/>
                    <a:gd name="T64" fmla="*/ 2147483647 w 732"/>
                    <a:gd name="T65" fmla="*/ 2147483647 h 498"/>
                    <a:gd name="T66" fmla="*/ 2147483647 w 732"/>
                    <a:gd name="T67" fmla="*/ 2147483647 h 498"/>
                    <a:gd name="T68" fmla="*/ 2147483647 w 732"/>
                    <a:gd name="T69" fmla="*/ 2147483647 h 498"/>
                    <a:gd name="T70" fmla="*/ 2147483647 w 732"/>
                    <a:gd name="T71" fmla="*/ 2147483647 h 498"/>
                    <a:gd name="T72" fmla="*/ 2147483647 w 732"/>
                    <a:gd name="T73" fmla="*/ 2147483647 h 498"/>
                    <a:gd name="T74" fmla="*/ 2147483647 w 732"/>
                    <a:gd name="T75" fmla="*/ 2147483647 h 498"/>
                    <a:gd name="T76" fmla="*/ 2147483647 w 732"/>
                    <a:gd name="T77" fmla="*/ 0 h 498"/>
                    <a:gd name="T78" fmla="*/ 2147483647 w 732"/>
                    <a:gd name="T79" fmla="*/ 2147483647 h 498"/>
                    <a:gd name="T80" fmla="*/ 2147483647 w 732"/>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2"/>
                    <a:gd name="T124" fmla="*/ 0 h 498"/>
                    <a:gd name="T125" fmla="*/ 732 w 732"/>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2" h="498">
                      <a:moveTo>
                        <a:pt x="468" y="24"/>
                      </a:moveTo>
                      <a:lnTo>
                        <a:pt x="450" y="30"/>
                      </a:lnTo>
                      <a:lnTo>
                        <a:pt x="420" y="36"/>
                      </a:lnTo>
                      <a:lnTo>
                        <a:pt x="390" y="54"/>
                      </a:lnTo>
                      <a:lnTo>
                        <a:pt x="372" y="72"/>
                      </a:lnTo>
                      <a:lnTo>
                        <a:pt x="366" y="84"/>
                      </a:lnTo>
                      <a:lnTo>
                        <a:pt x="354" y="96"/>
                      </a:lnTo>
                      <a:lnTo>
                        <a:pt x="348" y="108"/>
                      </a:lnTo>
                      <a:lnTo>
                        <a:pt x="342" y="114"/>
                      </a:lnTo>
                      <a:lnTo>
                        <a:pt x="336" y="126"/>
                      </a:lnTo>
                      <a:lnTo>
                        <a:pt x="336" y="144"/>
                      </a:lnTo>
                      <a:lnTo>
                        <a:pt x="330" y="150"/>
                      </a:lnTo>
                      <a:lnTo>
                        <a:pt x="324" y="162"/>
                      </a:lnTo>
                      <a:lnTo>
                        <a:pt x="312" y="162"/>
                      </a:lnTo>
                      <a:lnTo>
                        <a:pt x="300" y="156"/>
                      </a:lnTo>
                      <a:lnTo>
                        <a:pt x="294" y="144"/>
                      </a:lnTo>
                      <a:lnTo>
                        <a:pt x="288" y="138"/>
                      </a:lnTo>
                      <a:lnTo>
                        <a:pt x="210" y="138"/>
                      </a:lnTo>
                      <a:lnTo>
                        <a:pt x="204" y="132"/>
                      </a:lnTo>
                      <a:lnTo>
                        <a:pt x="192" y="126"/>
                      </a:lnTo>
                      <a:lnTo>
                        <a:pt x="102" y="126"/>
                      </a:lnTo>
                      <a:lnTo>
                        <a:pt x="96" y="132"/>
                      </a:lnTo>
                      <a:lnTo>
                        <a:pt x="72" y="138"/>
                      </a:lnTo>
                      <a:lnTo>
                        <a:pt x="54" y="120"/>
                      </a:lnTo>
                      <a:lnTo>
                        <a:pt x="48" y="120"/>
                      </a:lnTo>
                      <a:lnTo>
                        <a:pt x="42" y="126"/>
                      </a:lnTo>
                      <a:lnTo>
                        <a:pt x="36" y="138"/>
                      </a:lnTo>
                      <a:lnTo>
                        <a:pt x="36" y="186"/>
                      </a:lnTo>
                      <a:lnTo>
                        <a:pt x="30" y="192"/>
                      </a:lnTo>
                      <a:lnTo>
                        <a:pt x="24" y="204"/>
                      </a:lnTo>
                      <a:lnTo>
                        <a:pt x="12" y="216"/>
                      </a:lnTo>
                      <a:lnTo>
                        <a:pt x="0" y="252"/>
                      </a:lnTo>
                      <a:lnTo>
                        <a:pt x="0" y="258"/>
                      </a:lnTo>
                      <a:lnTo>
                        <a:pt x="18" y="276"/>
                      </a:lnTo>
                      <a:lnTo>
                        <a:pt x="24" y="288"/>
                      </a:lnTo>
                      <a:lnTo>
                        <a:pt x="36" y="294"/>
                      </a:lnTo>
                      <a:lnTo>
                        <a:pt x="24" y="408"/>
                      </a:lnTo>
                      <a:lnTo>
                        <a:pt x="54" y="444"/>
                      </a:lnTo>
                      <a:lnTo>
                        <a:pt x="54" y="456"/>
                      </a:lnTo>
                      <a:lnTo>
                        <a:pt x="60" y="468"/>
                      </a:lnTo>
                      <a:lnTo>
                        <a:pt x="78" y="486"/>
                      </a:lnTo>
                      <a:lnTo>
                        <a:pt x="90" y="492"/>
                      </a:lnTo>
                      <a:lnTo>
                        <a:pt x="114" y="498"/>
                      </a:lnTo>
                      <a:lnTo>
                        <a:pt x="132" y="498"/>
                      </a:lnTo>
                      <a:lnTo>
                        <a:pt x="150" y="492"/>
                      </a:lnTo>
                      <a:lnTo>
                        <a:pt x="162" y="486"/>
                      </a:lnTo>
                      <a:lnTo>
                        <a:pt x="168" y="480"/>
                      </a:lnTo>
                      <a:lnTo>
                        <a:pt x="186" y="444"/>
                      </a:lnTo>
                      <a:lnTo>
                        <a:pt x="198" y="432"/>
                      </a:lnTo>
                      <a:lnTo>
                        <a:pt x="210" y="432"/>
                      </a:lnTo>
                      <a:lnTo>
                        <a:pt x="228" y="438"/>
                      </a:lnTo>
                      <a:lnTo>
                        <a:pt x="270" y="438"/>
                      </a:lnTo>
                      <a:lnTo>
                        <a:pt x="324" y="432"/>
                      </a:lnTo>
                      <a:lnTo>
                        <a:pt x="366" y="426"/>
                      </a:lnTo>
                      <a:lnTo>
                        <a:pt x="390" y="414"/>
                      </a:lnTo>
                      <a:lnTo>
                        <a:pt x="402" y="402"/>
                      </a:lnTo>
                      <a:lnTo>
                        <a:pt x="414" y="384"/>
                      </a:lnTo>
                      <a:lnTo>
                        <a:pt x="426" y="372"/>
                      </a:lnTo>
                      <a:lnTo>
                        <a:pt x="450" y="360"/>
                      </a:lnTo>
                      <a:lnTo>
                        <a:pt x="462" y="348"/>
                      </a:lnTo>
                      <a:lnTo>
                        <a:pt x="474" y="342"/>
                      </a:lnTo>
                      <a:lnTo>
                        <a:pt x="486" y="330"/>
                      </a:lnTo>
                      <a:lnTo>
                        <a:pt x="504" y="324"/>
                      </a:lnTo>
                      <a:lnTo>
                        <a:pt x="528" y="312"/>
                      </a:lnTo>
                      <a:lnTo>
                        <a:pt x="546" y="306"/>
                      </a:lnTo>
                      <a:lnTo>
                        <a:pt x="558" y="294"/>
                      </a:lnTo>
                      <a:lnTo>
                        <a:pt x="594" y="276"/>
                      </a:lnTo>
                      <a:lnTo>
                        <a:pt x="666" y="276"/>
                      </a:lnTo>
                      <a:lnTo>
                        <a:pt x="666" y="270"/>
                      </a:lnTo>
                      <a:lnTo>
                        <a:pt x="672" y="264"/>
                      </a:lnTo>
                      <a:lnTo>
                        <a:pt x="684" y="240"/>
                      </a:lnTo>
                      <a:lnTo>
                        <a:pt x="690" y="222"/>
                      </a:lnTo>
                      <a:lnTo>
                        <a:pt x="702" y="210"/>
                      </a:lnTo>
                      <a:lnTo>
                        <a:pt x="708" y="198"/>
                      </a:lnTo>
                      <a:lnTo>
                        <a:pt x="720" y="192"/>
                      </a:lnTo>
                      <a:lnTo>
                        <a:pt x="720" y="186"/>
                      </a:lnTo>
                      <a:lnTo>
                        <a:pt x="732" y="186"/>
                      </a:lnTo>
                      <a:lnTo>
                        <a:pt x="648" y="0"/>
                      </a:lnTo>
                      <a:lnTo>
                        <a:pt x="630" y="0"/>
                      </a:lnTo>
                      <a:lnTo>
                        <a:pt x="588" y="6"/>
                      </a:lnTo>
                      <a:lnTo>
                        <a:pt x="540" y="18"/>
                      </a:lnTo>
                      <a:lnTo>
                        <a:pt x="492" y="24"/>
                      </a:lnTo>
                      <a:lnTo>
                        <a:pt x="468" y="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5" name="Uganda">
                  <a:extLst>
                    <a:ext uri="{FF2B5EF4-FFF2-40B4-BE49-F238E27FC236}">
                      <a16:creationId xmlns:a16="http://schemas.microsoft.com/office/drawing/2014/main" id="{F4C0648D-4F34-4C5C-806E-80FB6A3386B9}"/>
                    </a:ext>
                  </a:extLst>
                </p:cNvPr>
                <p:cNvSpPr>
                  <a:spLocks noEditPoints="1"/>
                </p:cNvSpPr>
                <p:nvPr/>
              </p:nvSpPr>
              <p:spPr bwMode="gray">
                <a:xfrm>
                  <a:off x="5035004" y="3256047"/>
                  <a:ext cx="147266" cy="174028"/>
                </a:xfrm>
                <a:custGeom>
                  <a:avLst/>
                  <a:gdLst>
                    <a:gd name="T0" fmla="*/ 2147483647 w 390"/>
                    <a:gd name="T1" fmla="*/ 2147483647 h 462"/>
                    <a:gd name="T2" fmla="*/ 2147483647 w 390"/>
                    <a:gd name="T3" fmla="*/ 2147483647 h 462"/>
                    <a:gd name="T4" fmla="*/ 2147483647 w 390"/>
                    <a:gd name="T5" fmla="*/ 2147483647 h 462"/>
                    <a:gd name="T6" fmla="*/ 2147483647 w 390"/>
                    <a:gd name="T7" fmla="*/ 2147483647 h 462"/>
                    <a:gd name="T8" fmla="*/ 2147483647 w 390"/>
                    <a:gd name="T9" fmla="*/ 2147483647 h 462"/>
                    <a:gd name="T10" fmla="*/ 2147483647 w 390"/>
                    <a:gd name="T11" fmla="*/ 2147483647 h 462"/>
                    <a:gd name="T12" fmla="*/ 2147483647 w 390"/>
                    <a:gd name="T13" fmla="*/ 2147483647 h 462"/>
                    <a:gd name="T14" fmla="*/ 2147483647 w 390"/>
                    <a:gd name="T15" fmla="*/ 2147483647 h 462"/>
                    <a:gd name="T16" fmla="*/ 2147483647 w 390"/>
                    <a:gd name="T17" fmla="*/ 2147483647 h 462"/>
                    <a:gd name="T18" fmla="*/ 2147483647 w 390"/>
                    <a:gd name="T19" fmla="*/ 2147483647 h 462"/>
                    <a:gd name="T20" fmla="*/ 2147483647 w 390"/>
                    <a:gd name="T21" fmla="*/ 2147483647 h 462"/>
                    <a:gd name="T22" fmla="*/ 2147483647 w 390"/>
                    <a:gd name="T23" fmla="*/ 2147483647 h 462"/>
                    <a:gd name="T24" fmla="*/ 2147483647 w 390"/>
                    <a:gd name="T25" fmla="*/ 0 h 462"/>
                    <a:gd name="T26" fmla="*/ 2147483647 w 390"/>
                    <a:gd name="T27" fmla="*/ 2147483647 h 462"/>
                    <a:gd name="T28" fmla="*/ 2147483647 w 390"/>
                    <a:gd name="T29" fmla="*/ 2147483647 h 462"/>
                    <a:gd name="T30" fmla="*/ 2147483647 w 390"/>
                    <a:gd name="T31" fmla="*/ 2147483647 h 462"/>
                    <a:gd name="T32" fmla="*/ 2147483647 w 390"/>
                    <a:gd name="T33" fmla="*/ 2147483647 h 462"/>
                    <a:gd name="T34" fmla="*/ 2147483647 w 390"/>
                    <a:gd name="T35" fmla="*/ 2147483647 h 462"/>
                    <a:gd name="T36" fmla="*/ 2147483647 w 390"/>
                    <a:gd name="T37" fmla="*/ 2147483647 h 462"/>
                    <a:gd name="T38" fmla="*/ 2147483647 w 390"/>
                    <a:gd name="T39" fmla="*/ 2147483647 h 462"/>
                    <a:gd name="T40" fmla="*/ 2147483647 w 390"/>
                    <a:gd name="T41" fmla="*/ 2147483647 h 462"/>
                    <a:gd name="T42" fmla="*/ 2147483647 w 390"/>
                    <a:gd name="T43" fmla="*/ 2147483647 h 462"/>
                    <a:gd name="T44" fmla="*/ 2147483647 w 390"/>
                    <a:gd name="T45" fmla="*/ 2147483647 h 462"/>
                    <a:gd name="T46" fmla="*/ 2147483647 w 390"/>
                    <a:gd name="T47" fmla="*/ 2147483647 h 462"/>
                    <a:gd name="T48" fmla="*/ 2147483647 w 390"/>
                    <a:gd name="T49" fmla="*/ 2147483647 h 462"/>
                    <a:gd name="T50" fmla="*/ 2147483647 w 390"/>
                    <a:gd name="T51" fmla="*/ 2147483647 h 462"/>
                    <a:gd name="T52" fmla="*/ 2147483647 w 390"/>
                    <a:gd name="T53" fmla="*/ 2147483647 h 462"/>
                    <a:gd name="T54" fmla="*/ 2147483647 w 390"/>
                    <a:gd name="T55" fmla="*/ 2147483647 h 462"/>
                    <a:gd name="T56" fmla="*/ 2147483647 w 390"/>
                    <a:gd name="T57" fmla="*/ 2147483647 h 462"/>
                    <a:gd name="T58" fmla="*/ 2147483647 w 390"/>
                    <a:gd name="T59" fmla="*/ 2147483647 h 462"/>
                    <a:gd name="T60" fmla="*/ 2147483647 w 390"/>
                    <a:gd name="T61" fmla="*/ 2147483647 h 462"/>
                    <a:gd name="T62" fmla="*/ 2147483647 w 390"/>
                    <a:gd name="T63" fmla="*/ 2147483647 h 462"/>
                    <a:gd name="T64" fmla="*/ 2147483647 w 390"/>
                    <a:gd name="T65" fmla="*/ 2147483647 h 462"/>
                    <a:gd name="T66" fmla="*/ 2147483647 w 390"/>
                    <a:gd name="T67" fmla="*/ 2147483647 h 462"/>
                    <a:gd name="T68" fmla="*/ 2147483647 w 390"/>
                    <a:gd name="T69" fmla="*/ 2147483647 h 462"/>
                    <a:gd name="T70" fmla="*/ 2147483647 w 390"/>
                    <a:gd name="T71" fmla="*/ 2147483647 h 462"/>
                    <a:gd name="T72" fmla="*/ 2147483647 w 390"/>
                    <a:gd name="T73" fmla="*/ 2147483647 h 462"/>
                    <a:gd name="T74" fmla="*/ 2147483647 w 390"/>
                    <a:gd name="T75" fmla="*/ 2147483647 h 462"/>
                    <a:gd name="T76" fmla="*/ 2147483647 w 390"/>
                    <a:gd name="T77" fmla="*/ 2147483647 h 462"/>
                    <a:gd name="T78" fmla="*/ 2147483647 w 390"/>
                    <a:gd name="T79" fmla="*/ 2147483647 h 462"/>
                    <a:gd name="T80" fmla="*/ 2147483647 w 390"/>
                    <a:gd name="T81" fmla="*/ 2147483647 h 462"/>
                    <a:gd name="T82" fmla="*/ 2147483647 w 390"/>
                    <a:gd name="T83" fmla="*/ 2147483647 h 462"/>
                    <a:gd name="T84" fmla="*/ 2147483647 w 390"/>
                    <a:gd name="T85" fmla="*/ 2147483647 h 462"/>
                    <a:gd name="T86" fmla="*/ 2147483647 w 390"/>
                    <a:gd name="T87" fmla="*/ 2147483647 h 462"/>
                    <a:gd name="T88" fmla="*/ 2147483647 w 390"/>
                    <a:gd name="T89" fmla="*/ 2147483647 h 462"/>
                    <a:gd name="T90" fmla="*/ 2147483647 w 390"/>
                    <a:gd name="T91" fmla="*/ 2147483647 h 462"/>
                    <a:gd name="T92" fmla="*/ 2147483647 w 390"/>
                    <a:gd name="T93" fmla="*/ 2147483647 h 462"/>
                    <a:gd name="T94" fmla="*/ 2147483647 w 390"/>
                    <a:gd name="T95" fmla="*/ 2147483647 h 462"/>
                    <a:gd name="T96" fmla="*/ 2147483647 w 390"/>
                    <a:gd name="T97" fmla="*/ 2147483647 h 462"/>
                    <a:gd name="T98" fmla="*/ 2147483647 w 390"/>
                    <a:gd name="T99" fmla="*/ 2147483647 h 462"/>
                    <a:gd name="T100" fmla="*/ 2147483647 w 390"/>
                    <a:gd name="T101" fmla="*/ 2147483647 h 462"/>
                    <a:gd name="T102" fmla="*/ 2147483647 w 390"/>
                    <a:gd name="T103" fmla="*/ 2147483647 h 462"/>
                    <a:gd name="T104" fmla="*/ 2147483647 w 390"/>
                    <a:gd name="T105" fmla="*/ 2147483647 h 462"/>
                    <a:gd name="T106" fmla="*/ 2147483647 w 390"/>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0"/>
                    <a:gd name="T163" fmla="*/ 0 h 462"/>
                    <a:gd name="T164" fmla="*/ 390 w 390"/>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0" h="462">
                      <a:moveTo>
                        <a:pt x="306" y="426"/>
                      </a:moveTo>
                      <a:lnTo>
                        <a:pt x="318" y="426"/>
                      </a:lnTo>
                      <a:lnTo>
                        <a:pt x="318" y="420"/>
                      </a:lnTo>
                      <a:lnTo>
                        <a:pt x="306" y="420"/>
                      </a:lnTo>
                      <a:lnTo>
                        <a:pt x="306" y="426"/>
                      </a:lnTo>
                      <a:close/>
                      <a:moveTo>
                        <a:pt x="390" y="192"/>
                      </a:moveTo>
                      <a:lnTo>
                        <a:pt x="384" y="180"/>
                      </a:lnTo>
                      <a:lnTo>
                        <a:pt x="378" y="174"/>
                      </a:lnTo>
                      <a:lnTo>
                        <a:pt x="366" y="150"/>
                      </a:lnTo>
                      <a:lnTo>
                        <a:pt x="366" y="144"/>
                      </a:lnTo>
                      <a:lnTo>
                        <a:pt x="372" y="138"/>
                      </a:lnTo>
                      <a:lnTo>
                        <a:pt x="378" y="138"/>
                      </a:lnTo>
                      <a:lnTo>
                        <a:pt x="384" y="132"/>
                      </a:lnTo>
                      <a:lnTo>
                        <a:pt x="348" y="90"/>
                      </a:lnTo>
                      <a:lnTo>
                        <a:pt x="354" y="84"/>
                      </a:lnTo>
                      <a:lnTo>
                        <a:pt x="336" y="66"/>
                      </a:lnTo>
                      <a:lnTo>
                        <a:pt x="336" y="60"/>
                      </a:lnTo>
                      <a:lnTo>
                        <a:pt x="342" y="54"/>
                      </a:lnTo>
                      <a:lnTo>
                        <a:pt x="342" y="42"/>
                      </a:lnTo>
                      <a:lnTo>
                        <a:pt x="336" y="42"/>
                      </a:lnTo>
                      <a:lnTo>
                        <a:pt x="336" y="48"/>
                      </a:lnTo>
                      <a:lnTo>
                        <a:pt x="330" y="42"/>
                      </a:lnTo>
                      <a:lnTo>
                        <a:pt x="324" y="42"/>
                      </a:lnTo>
                      <a:lnTo>
                        <a:pt x="324" y="18"/>
                      </a:lnTo>
                      <a:lnTo>
                        <a:pt x="318" y="6"/>
                      </a:lnTo>
                      <a:lnTo>
                        <a:pt x="312" y="0"/>
                      </a:lnTo>
                      <a:lnTo>
                        <a:pt x="300" y="0"/>
                      </a:lnTo>
                      <a:lnTo>
                        <a:pt x="300" y="6"/>
                      </a:lnTo>
                      <a:lnTo>
                        <a:pt x="294" y="12"/>
                      </a:lnTo>
                      <a:lnTo>
                        <a:pt x="294" y="18"/>
                      </a:lnTo>
                      <a:lnTo>
                        <a:pt x="276" y="36"/>
                      </a:lnTo>
                      <a:lnTo>
                        <a:pt x="252" y="36"/>
                      </a:lnTo>
                      <a:lnTo>
                        <a:pt x="246" y="30"/>
                      </a:lnTo>
                      <a:lnTo>
                        <a:pt x="246" y="24"/>
                      </a:lnTo>
                      <a:lnTo>
                        <a:pt x="234" y="24"/>
                      </a:lnTo>
                      <a:lnTo>
                        <a:pt x="222" y="36"/>
                      </a:lnTo>
                      <a:lnTo>
                        <a:pt x="198" y="36"/>
                      </a:lnTo>
                      <a:lnTo>
                        <a:pt x="180" y="60"/>
                      </a:lnTo>
                      <a:lnTo>
                        <a:pt x="156" y="30"/>
                      </a:lnTo>
                      <a:lnTo>
                        <a:pt x="150" y="30"/>
                      </a:lnTo>
                      <a:lnTo>
                        <a:pt x="144" y="36"/>
                      </a:lnTo>
                      <a:lnTo>
                        <a:pt x="144" y="42"/>
                      </a:lnTo>
                      <a:lnTo>
                        <a:pt x="132" y="42"/>
                      </a:lnTo>
                      <a:lnTo>
                        <a:pt x="120" y="36"/>
                      </a:lnTo>
                      <a:lnTo>
                        <a:pt x="114" y="30"/>
                      </a:lnTo>
                      <a:lnTo>
                        <a:pt x="102" y="30"/>
                      </a:lnTo>
                      <a:lnTo>
                        <a:pt x="84" y="48"/>
                      </a:lnTo>
                      <a:lnTo>
                        <a:pt x="90" y="72"/>
                      </a:lnTo>
                      <a:lnTo>
                        <a:pt x="72" y="90"/>
                      </a:lnTo>
                      <a:lnTo>
                        <a:pt x="84" y="96"/>
                      </a:lnTo>
                      <a:lnTo>
                        <a:pt x="90" y="102"/>
                      </a:lnTo>
                      <a:lnTo>
                        <a:pt x="90" y="108"/>
                      </a:lnTo>
                      <a:lnTo>
                        <a:pt x="84" y="114"/>
                      </a:lnTo>
                      <a:lnTo>
                        <a:pt x="78" y="126"/>
                      </a:lnTo>
                      <a:lnTo>
                        <a:pt x="78" y="138"/>
                      </a:lnTo>
                      <a:lnTo>
                        <a:pt x="84" y="144"/>
                      </a:lnTo>
                      <a:lnTo>
                        <a:pt x="96" y="144"/>
                      </a:lnTo>
                      <a:lnTo>
                        <a:pt x="108" y="150"/>
                      </a:lnTo>
                      <a:lnTo>
                        <a:pt x="114" y="156"/>
                      </a:lnTo>
                      <a:lnTo>
                        <a:pt x="114" y="168"/>
                      </a:lnTo>
                      <a:lnTo>
                        <a:pt x="108" y="180"/>
                      </a:lnTo>
                      <a:lnTo>
                        <a:pt x="96" y="192"/>
                      </a:lnTo>
                      <a:lnTo>
                        <a:pt x="84" y="216"/>
                      </a:lnTo>
                      <a:lnTo>
                        <a:pt x="72" y="222"/>
                      </a:lnTo>
                      <a:lnTo>
                        <a:pt x="66" y="234"/>
                      </a:lnTo>
                      <a:lnTo>
                        <a:pt x="42" y="246"/>
                      </a:lnTo>
                      <a:lnTo>
                        <a:pt x="42" y="258"/>
                      </a:lnTo>
                      <a:lnTo>
                        <a:pt x="24" y="270"/>
                      </a:lnTo>
                      <a:lnTo>
                        <a:pt x="6" y="342"/>
                      </a:lnTo>
                      <a:lnTo>
                        <a:pt x="6" y="372"/>
                      </a:lnTo>
                      <a:lnTo>
                        <a:pt x="0" y="450"/>
                      </a:lnTo>
                      <a:lnTo>
                        <a:pt x="12" y="450"/>
                      </a:lnTo>
                      <a:lnTo>
                        <a:pt x="24" y="462"/>
                      </a:lnTo>
                      <a:lnTo>
                        <a:pt x="30" y="462"/>
                      </a:lnTo>
                      <a:lnTo>
                        <a:pt x="42" y="438"/>
                      </a:lnTo>
                      <a:lnTo>
                        <a:pt x="48" y="432"/>
                      </a:lnTo>
                      <a:lnTo>
                        <a:pt x="48" y="426"/>
                      </a:lnTo>
                      <a:lnTo>
                        <a:pt x="72" y="420"/>
                      </a:lnTo>
                      <a:lnTo>
                        <a:pt x="162" y="426"/>
                      </a:lnTo>
                      <a:lnTo>
                        <a:pt x="162" y="414"/>
                      </a:lnTo>
                      <a:lnTo>
                        <a:pt x="156" y="408"/>
                      </a:lnTo>
                      <a:lnTo>
                        <a:pt x="150" y="396"/>
                      </a:lnTo>
                      <a:lnTo>
                        <a:pt x="162" y="372"/>
                      </a:lnTo>
                      <a:lnTo>
                        <a:pt x="168" y="366"/>
                      </a:lnTo>
                      <a:lnTo>
                        <a:pt x="168" y="342"/>
                      </a:lnTo>
                      <a:lnTo>
                        <a:pt x="174" y="336"/>
                      </a:lnTo>
                      <a:lnTo>
                        <a:pt x="186" y="330"/>
                      </a:lnTo>
                      <a:lnTo>
                        <a:pt x="204" y="324"/>
                      </a:lnTo>
                      <a:lnTo>
                        <a:pt x="240" y="324"/>
                      </a:lnTo>
                      <a:lnTo>
                        <a:pt x="252" y="312"/>
                      </a:lnTo>
                      <a:lnTo>
                        <a:pt x="258" y="300"/>
                      </a:lnTo>
                      <a:lnTo>
                        <a:pt x="264" y="300"/>
                      </a:lnTo>
                      <a:lnTo>
                        <a:pt x="264" y="306"/>
                      </a:lnTo>
                      <a:lnTo>
                        <a:pt x="270" y="312"/>
                      </a:lnTo>
                      <a:lnTo>
                        <a:pt x="270" y="330"/>
                      </a:lnTo>
                      <a:lnTo>
                        <a:pt x="276" y="324"/>
                      </a:lnTo>
                      <a:lnTo>
                        <a:pt x="312" y="324"/>
                      </a:lnTo>
                      <a:lnTo>
                        <a:pt x="312" y="330"/>
                      </a:lnTo>
                      <a:lnTo>
                        <a:pt x="312" y="318"/>
                      </a:lnTo>
                      <a:lnTo>
                        <a:pt x="318" y="306"/>
                      </a:lnTo>
                      <a:lnTo>
                        <a:pt x="324" y="300"/>
                      </a:lnTo>
                      <a:lnTo>
                        <a:pt x="330" y="282"/>
                      </a:lnTo>
                      <a:lnTo>
                        <a:pt x="348" y="270"/>
                      </a:lnTo>
                      <a:lnTo>
                        <a:pt x="348" y="246"/>
                      </a:lnTo>
                      <a:lnTo>
                        <a:pt x="354" y="240"/>
                      </a:lnTo>
                      <a:lnTo>
                        <a:pt x="372" y="240"/>
                      </a:lnTo>
                      <a:lnTo>
                        <a:pt x="378" y="216"/>
                      </a:lnTo>
                      <a:lnTo>
                        <a:pt x="390" y="204"/>
                      </a:lnTo>
                      <a:lnTo>
                        <a:pt x="390" y="19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6" name="Tunisia">
                  <a:extLst>
                    <a:ext uri="{FF2B5EF4-FFF2-40B4-BE49-F238E27FC236}">
                      <a16:creationId xmlns:a16="http://schemas.microsoft.com/office/drawing/2014/main" id="{02C79127-625B-4A23-B3BA-5DDC95F50C8E}"/>
                    </a:ext>
                  </a:extLst>
                </p:cNvPr>
                <p:cNvSpPr>
                  <a:spLocks/>
                </p:cNvSpPr>
                <p:nvPr/>
              </p:nvSpPr>
              <p:spPr bwMode="gray">
                <a:xfrm>
                  <a:off x="4444455" y="2249065"/>
                  <a:ext cx="104127" cy="214188"/>
                </a:xfrm>
                <a:custGeom>
                  <a:avLst/>
                  <a:gdLst>
                    <a:gd name="T0" fmla="*/ 2147483647 w 276"/>
                    <a:gd name="T1" fmla="*/ 2147483647 h 570"/>
                    <a:gd name="T2" fmla="*/ 2147483647 w 276"/>
                    <a:gd name="T3" fmla="*/ 2147483647 h 570"/>
                    <a:gd name="T4" fmla="*/ 2147483647 w 276"/>
                    <a:gd name="T5" fmla="*/ 2147483647 h 570"/>
                    <a:gd name="T6" fmla="*/ 2147483647 w 276"/>
                    <a:gd name="T7" fmla="*/ 2147483647 h 570"/>
                    <a:gd name="T8" fmla="*/ 2147483647 w 276"/>
                    <a:gd name="T9" fmla="*/ 2147483647 h 570"/>
                    <a:gd name="T10" fmla="*/ 2147483647 w 276"/>
                    <a:gd name="T11" fmla="*/ 2147483647 h 570"/>
                    <a:gd name="T12" fmla="*/ 0 w 276"/>
                    <a:gd name="T13" fmla="*/ 2147483647 h 570"/>
                    <a:gd name="T14" fmla="*/ 2147483647 w 276"/>
                    <a:gd name="T15" fmla="*/ 2147483647 h 570"/>
                    <a:gd name="T16" fmla="*/ 2147483647 w 276"/>
                    <a:gd name="T17" fmla="*/ 2147483647 h 570"/>
                    <a:gd name="T18" fmla="*/ 2147483647 w 276"/>
                    <a:gd name="T19" fmla="*/ 2147483647 h 570"/>
                    <a:gd name="T20" fmla="*/ 2147483647 w 276"/>
                    <a:gd name="T21" fmla="*/ 2147483647 h 570"/>
                    <a:gd name="T22" fmla="*/ 2147483647 w 276"/>
                    <a:gd name="T23" fmla="*/ 2147483647 h 570"/>
                    <a:gd name="T24" fmla="*/ 2147483647 w 276"/>
                    <a:gd name="T25" fmla="*/ 2147483647 h 570"/>
                    <a:gd name="T26" fmla="*/ 2147483647 w 276"/>
                    <a:gd name="T27" fmla="*/ 2147483647 h 570"/>
                    <a:gd name="T28" fmla="*/ 2147483647 w 276"/>
                    <a:gd name="T29" fmla="*/ 2147483647 h 570"/>
                    <a:gd name="T30" fmla="*/ 2147483647 w 276"/>
                    <a:gd name="T31" fmla="*/ 2147483647 h 570"/>
                    <a:gd name="T32" fmla="*/ 2147483647 w 276"/>
                    <a:gd name="T33" fmla="*/ 2147483647 h 570"/>
                    <a:gd name="T34" fmla="*/ 2147483647 w 276"/>
                    <a:gd name="T35" fmla="*/ 2147483647 h 570"/>
                    <a:gd name="T36" fmla="*/ 2147483647 w 276"/>
                    <a:gd name="T37" fmla="*/ 2147483647 h 570"/>
                    <a:gd name="T38" fmla="*/ 2147483647 w 276"/>
                    <a:gd name="T39" fmla="*/ 2147483647 h 570"/>
                    <a:gd name="T40" fmla="*/ 2147483647 w 276"/>
                    <a:gd name="T41" fmla="*/ 2147483647 h 570"/>
                    <a:gd name="T42" fmla="*/ 2147483647 w 276"/>
                    <a:gd name="T43" fmla="*/ 2147483647 h 570"/>
                    <a:gd name="T44" fmla="*/ 2147483647 w 276"/>
                    <a:gd name="T45" fmla="*/ 2147483647 h 570"/>
                    <a:gd name="T46" fmla="*/ 2147483647 w 276"/>
                    <a:gd name="T47" fmla="*/ 2147483647 h 570"/>
                    <a:gd name="T48" fmla="*/ 2147483647 w 276"/>
                    <a:gd name="T49" fmla="*/ 2147483647 h 570"/>
                    <a:gd name="T50" fmla="*/ 2147483647 w 276"/>
                    <a:gd name="T51" fmla="*/ 2147483647 h 570"/>
                    <a:gd name="T52" fmla="*/ 2147483647 w 276"/>
                    <a:gd name="T53" fmla="*/ 2147483647 h 570"/>
                    <a:gd name="T54" fmla="*/ 2147483647 w 276"/>
                    <a:gd name="T55" fmla="*/ 2147483647 h 570"/>
                    <a:gd name="T56" fmla="*/ 2147483647 w 276"/>
                    <a:gd name="T57" fmla="*/ 2147483647 h 570"/>
                    <a:gd name="T58" fmla="*/ 2147483647 w 276"/>
                    <a:gd name="T59" fmla="*/ 2147483647 h 570"/>
                    <a:gd name="T60" fmla="*/ 2147483647 w 276"/>
                    <a:gd name="T61" fmla="*/ 2147483647 h 570"/>
                    <a:gd name="T62" fmla="*/ 2147483647 w 276"/>
                    <a:gd name="T63" fmla="*/ 2147483647 h 570"/>
                    <a:gd name="T64" fmla="*/ 2147483647 w 276"/>
                    <a:gd name="T65" fmla="*/ 2147483647 h 570"/>
                    <a:gd name="T66" fmla="*/ 2147483647 w 276"/>
                    <a:gd name="T67" fmla="*/ 2147483647 h 570"/>
                    <a:gd name="T68" fmla="*/ 2147483647 w 276"/>
                    <a:gd name="T69" fmla="*/ 2147483647 h 570"/>
                    <a:gd name="T70" fmla="*/ 2147483647 w 276"/>
                    <a:gd name="T71" fmla="*/ 2147483647 h 570"/>
                    <a:gd name="T72" fmla="*/ 2147483647 w 276"/>
                    <a:gd name="T73" fmla="*/ 2147483647 h 570"/>
                    <a:gd name="T74" fmla="*/ 2147483647 w 276"/>
                    <a:gd name="T75" fmla="*/ 2147483647 h 570"/>
                    <a:gd name="T76" fmla="*/ 2147483647 w 276"/>
                    <a:gd name="T77" fmla="*/ 2147483647 h 570"/>
                    <a:gd name="T78" fmla="*/ 2147483647 w 276"/>
                    <a:gd name="T79" fmla="*/ 2147483647 h 570"/>
                    <a:gd name="T80" fmla="*/ 2147483647 w 276"/>
                    <a:gd name="T81" fmla="*/ 2147483647 h 570"/>
                    <a:gd name="T82" fmla="*/ 2147483647 w 276"/>
                    <a:gd name="T83" fmla="*/ 2147483647 h 570"/>
                    <a:gd name="T84" fmla="*/ 2147483647 w 276"/>
                    <a:gd name="T85" fmla="*/ 2147483647 h 570"/>
                    <a:gd name="T86" fmla="*/ 2147483647 w 276"/>
                    <a:gd name="T87" fmla="*/ 2147483647 h 570"/>
                    <a:gd name="T88" fmla="*/ 2147483647 w 276"/>
                    <a:gd name="T89" fmla="*/ 0 h 570"/>
                    <a:gd name="T90" fmla="*/ 2147483647 w 276"/>
                    <a:gd name="T91" fmla="*/ 2147483647 h 570"/>
                    <a:gd name="T92" fmla="*/ 2147483647 w 276"/>
                    <a:gd name="T93" fmla="*/ 2147483647 h 570"/>
                    <a:gd name="T94" fmla="*/ 2147483647 w 276"/>
                    <a:gd name="T95" fmla="*/ 2147483647 h 5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570"/>
                    <a:gd name="T146" fmla="*/ 276 w 276"/>
                    <a:gd name="T147" fmla="*/ 570 h 5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570">
                      <a:moveTo>
                        <a:pt x="42" y="60"/>
                      </a:moveTo>
                      <a:lnTo>
                        <a:pt x="60" y="66"/>
                      </a:lnTo>
                      <a:lnTo>
                        <a:pt x="60" y="78"/>
                      </a:lnTo>
                      <a:lnTo>
                        <a:pt x="54" y="90"/>
                      </a:lnTo>
                      <a:lnTo>
                        <a:pt x="54" y="126"/>
                      </a:lnTo>
                      <a:lnTo>
                        <a:pt x="60" y="138"/>
                      </a:lnTo>
                      <a:lnTo>
                        <a:pt x="60" y="180"/>
                      </a:lnTo>
                      <a:lnTo>
                        <a:pt x="54" y="192"/>
                      </a:lnTo>
                      <a:lnTo>
                        <a:pt x="54" y="204"/>
                      </a:lnTo>
                      <a:lnTo>
                        <a:pt x="48" y="210"/>
                      </a:lnTo>
                      <a:lnTo>
                        <a:pt x="48" y="216"/>
                      </a:lnTo>
                      <a:lnTo>
                        <a:pt x="24" y="234"/>
                      </a:lnTo>
                      <a:lnTo>
                        <a:pt x="0" y="258"/>
                      </a:lnTo>
                      <a:lnTo>
                        <a:pt x="0" y="300"/>
                      </a:lnTo>
                      <a:lnTo>
                        <a:pt x="12" y="300"/>
                      </a:lnTo>
                      <a:lnTo>
                        <a:pt x="12" y="330"/>
                      </a:lnTo>
                      <a:lnTo>
                        <a:pt x="24" y="330"/>
                      </a:lnTo>
                      <a:lnTo>
                        <a:pt x="42" y="336"/>
                      </a:lnTo>
                      <a:lnTo>
                        <a:pt x="54" y="348"/>
                      </a:lnTo>
                      <a:lnTo>
                        <a:pt x="54" y="390"/>
                      </a:lnTo>
                      <a:lnTo>
                        <a:pt x="60" y="390"/>
                      </a:lnTo>
                      <a:lnTo>
                        <a:pt x="66" y="396"/>
                      </a:lnTo>
                      <a:lnTo>
                        <a:pt x="90" y="408"/>
                      </a:lnTo>
                      <a:lnTo>
                        <a:pt x="96" y="420"/>
                      </a:lnTo>
                      <a:lnTo>
                        <a:pt x="102" y="426"/>
                      </a:lnTo>
                      <a:lnTo>
                        <a:pt x="108" y="450"/>
                      </a:lnTo>
                      <a:lnTo>
                        <a:pt x="114" y="492"/>
                      </a:lnTo>
                      <a:lnTo>
                        <a:pt x="126" y="540"/>
                      </a:lnTo>
                      <a:lnTo>
                        <a:pt x="138" y="570"/>
                      </a:lnTo>
                      <a:lnTo>
                        <a:pt x="144" y="564"/>
                      </a:lnTo>
                      <a:lnTo>
                        <a:pt x="156" y="564"/>
                      </a:lnTo>
                      <a:lnTo>
                        <a:pt x="186" y="534"/>
                      </a:lnTo>
                      <a:lnTo>
                        <a:pt x="186" y="510"/>
                      </a:lnTo>
                      <a:lnTo>
                        <a:pt x="174" y="486"/>
                      </a:lnTo>
                      <a:lnTo>
                        <a:pt x="174" y="468"/>
                      </a:lnTo>
                      <a:lnTo>
                        <a:pt x="192" y="450"/>
                      </a:lnTo>
                      <a:lnTo>
                        <a:pt x="198" y="450"/>
                      </a:lnTo>
                      <a:lnTo>
                        <a:pt x="204" y="438"/>
                      </a:lnTo>
                      <a:lnTo>
                        <a:pt x="210" y="432"/>
                      </a:lnTo>
                      <a:lnTo>
                        <a:pt x="216" y="420"/>
                      </a:lnTo>
                      <a:lnTo>
                        <a:pt x="222" y="414"/>
                      </a:lnTo>
                      <a:lnTo>
                        <a:pt x="234" y="408"/>
                      </a:lnTo>
                      <a:lnTo>
                        <a:pt x="246" y="408"/>
                      </a:lnTo>
                      <a:lnTo>
                        <a:pt x="270" y="396"/>
                      </a:lnTo>
                      <a:lnTo>
                        <a:pt x="276" y="390"/>
                      </a:lnTo>
                      <a:lnTo>
                        <a:pt x="276" y="384"/>
                      </a:lnTo>
                      <a:lnTo>
                        <a:pt x="264" y="372"/>
                      </a:lnTo>
                      <a:lnTo>
                        <a:pt x="258" y="372"/>
                      </a:lnTo>
                      <a:lnTo>
                        <a:pt x="264" y="330"/>
                      </a:lnTo>
                      <a:lnTo>
                        <a:pt x="252" y="330"/>
                      </a:lnTo>
                      <a:lnTo>
                        <a:pt x="240" y="300"/>
                      </a:lnTo>
                      <a:lnTo>
                        <a:pt x="228" y="294"/>
                      </a:lnTo>
                      <a:lnTo>
                        <a:pt x="222" y="306"/>
                      </a:lnTo>
                      <a:lnTo>
                        <a:pt x="216" y="294"/>
                      </a:lnTo>
                      <a:lnTo>
                        <a:pt x="198" y="294"/>
                      </a:lnTo>
                      <a:lnTo>
                        <a:pt x="186" y="288"/>
                      </a:lnTo>
                      <a:lnTo>
                        <a:pt x="180" y="282"/>
                      </a:lnTo>
                      <a:lnTo>
                        <a:pt x="168" y="276"/>
                      </a:lnTo>
                      <a:lnTo>
                        <a:pt x="168" y="246"/>
                      </a:lnTo>
                      <a:lnTo>
                        <a:pt x="174" y="240"/>
                      </a:lnTo>
                      <a:lnTo>
                        <a:pt x="180" y="240"/>
                      </a:lnTo>
                      <a:lnTo>
                        <a:pt x="234" y="186"/>
                      </a:lnTo>
                      <a:lnTo>
                        <a:pt x="240" y="174"/>
                      </a:lnTo>
                      <a:lnTo>
                        <a:pt x="240" y="156"/>
                      </a:lnTo>
                      <a:lnTo>
                        <a:pt x="234" y="144"/>
                      </a:lnTo>
                      <a:lnTo>
                        <a:pt x="216" y="126"/>
                      </a:lnTo>
                      <a:lnTo>
                        <a:pt x="204" y="120"/>
                      </a:lnTo>
                      <a:lnTo>
                        <a:pt x="198" y="120"/>
                      </a:lnTo>
                      <a:lnTo>
                        <a:pt x="198" y="102"/>
                      </a:lnTo>
                      <a:lnTo>
                        <a:pt x="204" y="90"/>
                      </a:lnTo>
                      <a:lnTo>
                        <a:pt x="204" y="78"/>
                      </a:lnTo>
                      <a:lnTo>
                        <a:pt x="210" y="72"/>
                      </a:lnTo>
                      <a:lnTo>
                        <a:pt x="222" y="66"/>
                      </a:lnTo>
                      <a:lnTo>
                        <a:pt x="228" y="60"/>
                      </a:lnTo>
                      <a:lnTo>
                        <a:pt x="234" y="48"/>
                      </a:lnTo>
                      <a:lnTo>
                        <a:pt x="234" y="36"/>
                      </a:lnTo>
                      <a:lnTo>
                        <a:pt x="240" y="30"/>
                      </a:lnTo>
                      <a:lnTo>
                        <a:pt x="240" y="18"/>
                      </a:lnTo>
                      <a:lnTo>
                        <a:pt x="228" y="18"/>
                      </a:lnTo>
                      <a:lnTo>
                        <a:pt x="222" y="30"/>
                      </a:lnTo>
                      <a:lnTo>
                        <a:pt x="210" y="36"/>
                      </a:lnTo>
                      <a:lnTo>
                        <a:pt x="204" y="48"/>
                      </a:lnTo>
                      <a:lnTo>
                        <a:pt x="192" y="60"/>
                      </a:lnTo>
                      <a:lnTo>
                        <a:pt x="186" y="60"/>
                      </a:lnTo>
                      <a:lnTo>
                        <a:pt x="174" y="54"/>
                      </a:lnTo>
                      <a:lnTo>
                        <a:pt x="162" y="42"/>
                      </a:lnTo>
                      <a:lnTo>
                        <a:pt x="174" y="30"/>
                      </a:lnTo>
                      <a:lnTo>
                        <a:pt x="174" y="24"/>
                      </a:lnTo>
                      <a:lnTo>
                        <a:pt x="180" y="12"/>
                      </a:lnTo>
                      <a:lnTo>
                        <a:pt x="168" y="0"/>
                      </a:lnTo>
                      <a:lnTo>
                        <a:pt x="138" y="0"/>
                      </a:lnTo>
                      <a:lnTo>
                        <a:pt x="126" y="6"/>
                      </a:lnTo>
                      <a:lnTo>
                        <a:pt x="108" y="12"/>
                      </a:lnTo>
                      <a:lnTo>
                        <a:pt x="96" y="18"/>
                      </a:lnTo>
                      <a:lnTo>
                        <a:pt x="84" y="30"/>
                      </a:lnTo>
                      <a:lnTo>
                        <a:pt x="84" y="42"/>
                      </a:lnTo>
                      <a:lnTo>
                        <a:pt x="42"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7" name="Tanzania">
                  <a:extLst>
                    <a:ext uri="{FF2B5EF4-FFF2-40B4-BE49-F238E27FC236}">
                      <a16:creationId xmlns:a16="http://schemas.microsoft.com/office/drawing/2014/main" id="{44D7EFEB-A672-4855-8932-1904090EF26A}"/>
                    </a:ext>
                  </a:extLst>
                </p:cNvPr>
                <p:cNvSpPr>
                  <a:spLocks noEditPoints="1"/>
                </p:cNvSpPr>
                <p:nvPr/>
              </p:nvSpPr>
              <p:spPr bwMode="gray">
                <a:xfrm>
                  <a:off x="5033516" y="3413713"/>
                  <a:ext cx="288580" cy="327231"/>
                </a:xfrm>
                <a:custGeom>
                  <a:avLst/>
                  <a:gdLst>
                    <a:gd name="T0" fmla="*/ 2147483647 w 768"/>
                    <a:gd name="T1" fmla="*/ 2147483647 h 870"/>
                    <a:gd name="T2" fmla="*/ 2147483647 w 768"/>
                    <a:gd name="T3" fmla="*/ 2147483647 h 870"/>
                    <a:gd name="T4" fmla="*/ 2147483647 w 768"/>
                    <a:gd name="T5" fmla="*/ 2147483647 h 870"/>
                    <a:gd name="T6" fmla="*/ 2147483647 w 768"/>
                    <a:gd name="T7" fmla="*/ 2147483647 h 870"/>
                    <a:gd name="T8" fmla="*/ 2147483647 w 768"/>
                    <a:gd name="T9" fmla="*/ 2147483647 h 870"/>
                    <a:gd name="T10" fmla="*/ 2147483647 w 768"/>
                    <a:gd name="T11" fmla="*/ 2147483647 h 870"/>
                    <a:gd name="T12" fmla="*/ 2147483647 w 768"/>
                    <a:gd name="T13" fmla="*/ 2147483647 h 870"/>
                    <a:gd name="T14" fmla="*/ 2147483647 w 768"/>
                    <a:gd name="T15" fmla="*/ 2147483647 h 870"/>
                    <a:gd name="T16" fmla="*/ 2147483647 w 768"/>
                    <a:gd name="T17" fmla="*/ 2147483647 h 870"/>
                    <a:gd name="T18" fmla="*/ 2147483647 w 768"/>
                    <a:gd name="T19" fmla="*/ 2147483647 h 870"/>
                    <a:gd name="T20" fmla="*/ 2147483647 w 768"/>
                    <a:gd name="T21" fmla="*/ 2147483647 h 870"/>
                    <a:gd name="T22" fmla="*/ 2147483647 w 768"/>
                    <a:gd name="T23" fmla="*/ 2147483647 h 870"/>
                    <a:gd name="T24" fmla="*/ 2147483647 w 768"/>
                    <a:gd name="T25" fmla="*/ 2147483647 h 870"/>
                    <a:gd name="T26" fmla="*/ 2147483647 w 768"/>
                    <a:gd name="T27" fmla="*/ 2147483647 h 870"/>
                    <a:gd name="T28" fmla="*/ 2147483647 w 768"/>
                    <a:gd name="T29" fmla="*/ 2147483647 h 870"/>
                    <a:gd name="T30" fmla="*/ 2147483647 w 768"/>
                    <a:gd name="T31" fmla="*/ 2147483647 h 870"/>
                    <a:gd name="T32" fmla="*/ 2147483647 w 768"/>
                    <a:gd name="T33" fmla="*/ 2147483647 h 870"/>
                    <a:gd name="T34" fmla="*/ 2147483647 w 768"/>
                    <a:gd name="T35" fmla="*/ 2147483647 h 870"/>
                    <a:gd name="T36" fmla="*/ 2147483647 w 768"/>
                    <a:gd name="T37" fmla="*/ 2147483647 h 870"/>
                    <a:gd name="T38" fmla="*/ 2147483647 w 768"/>
                    <a:gd name="T39" fmla="*/ 2147483647 h 870"/>
                    <a:gd name="T40" fmla="*/ 2147483647 w 768"/>
                    <a:gd name="T41" fmla="*/ 2147483647 h 870"/>
                    <a:gd name="T42" fmla="*/ 2147483647 w 768"/>
                    <a:gd name="T43" fmla="*/ 2147483647 h 870"/>
                    <a:gd name="T44" fmla="*/ 2147483647 w 768"/>
                    <a:gd name="T45" fmla="*/ 2147483647 h 870"/>
                    <a:gd name="T46" fmla="*/ 2147483647 w 768"/>
                    <a:gd name="T47" fmla="*/ 2147483647 h 870"/>
                    <a:gd name="T48" fmla="*/ 2147483647 w 768"/>
                    <a:gd name="T49" fmla="*/ 2147483647 h 870"/>
                    <a:gd name="T50" fmla="*/ 2147483647 w 768"/>
                    <a:gd name="T51" fmla="*/ 2147483647 h 870"/>
                    <a:gd name="T52" fmla="*/ 2147483647 w 768"/>
                    <a:gd name="T53" fmla="*/ 2147483647 h 870"/>
                    <a:gd name="T54" fmla="*/ 2147483647 w 768"/>
                    <a:gd name="T55" fmla="*/ 2147483647 h 870"/>
                    <a:gd name="T56" fmla="*/ 2147483647 w 768"/>
                    <a:gd name="T57" fmla="*/ 2147483647 h 870"/>
                    <a:gd name="T58" fmla="*/ 2147483647 w 768"/>
                    <a:gd name="T59" fmla="*/ 2147483647 h 870"/>
                    <a:gd name="T60" fmla="*/ 2147483647 w 768"/>
                    <a:gd name="T61" fmla="*/ 2147483647 h 870"/>
                    <a:gd name="T62" fmla="*/ 2147483647 w 768"/>
                    <a:gd name="T63" fmla="*/ 2147483647 h 870"/>
                    <a:gd name="T64" fmla="*/ 2147483647 w 768"/>
                    <a:gd name="T65" fmla="*/ 2147483647 h 870"/>
                    <a:gd name="T66" fmla="*/ 2147483647 w 768"/>
                    <a:gd name="T67" fmla="*/ 2147483647 h 870"/>
                    <a:gd name="T68" fmla="*/ 2147483647 w 768"/>
                    <a:gd name="T69" fmla="*/ 2147483647 h 870"/>
                    <a:gd name="T70" fmla="*/ 2147483647 w 768"/>
                    <a:gd name="T71" fmla="*/ 2147483647 h 870"/>
                    <a:gd name="T72" fmla="*/ 2147483647 w 768"/>
                    <a:gd name="T73" fmla="*/ 2147483647 h 870"/>
                    <a:gd name="T74" fmla="*/ 2147483647 w 768"/>
                    <a:gd name="T75" fmla="*/ 2147483647 h 870"/>
                    <a:gd name="T76" fmla="*/ 2147483647 w 768"/>
                    <a:gd name="T77" fmla="*/ 2147483647 h 870"/>
                    <a:gd name="T78" fmla="*/ 2147483647 w 768"/>
                    <a:gd name="T79" fmla="*/ 2147483647 h 870"/>
                    <a:gd name="T80" fmla="*/ 2147483647 w 768"/>
                    <a:gd name="T81" fmla="*/ 2147483647 h 870"/>
                    <a:gd name="T82" fmla="*/ 2147483647 w 768"/>
                    <a:gd name="T83" fmla="*/ 2147483647 h 870"/>
                    <a:gd name="T84" fmla="*/ 2147483647 w 768"/>
                    <a:gd name="T85" fmla="*/ 2147483647 h 870"/>
                    <a:gd name="T86" fmla="*/ 2147483647 w 768"/>
                    <a:gd name="T87" fmla="*/ 2147483647 h 870"/>
                    <a:gd name="T88" fmla="*/ 2147483647 w 768"/>
                    <a:gd name="T89" fmla="*/ 2147483647 h 870"/>
                    <a:gd name="T90" fmla="*/ 2147483647 w 768"/>
                    <a:gd name="T91" fmla="*/ 2147483647 h 870"/>
                    <a:gd name="T92" fmla="*/ 2147483647 w 768"/>
                    <a:gd name="T93" fmla="*/ 2147483647 h 870"/>
                    <a:gd name="T94" fmla="*/ 2147483647 w 768"/>
                    <a:gd name="T95" fmla="*/ 2147483647 h 870"/>
                    <a:gd name="T96" fmla="*/ 2147483647 w 768"/>
                    <a:gd name="T97" fmla="*/ 2147483647 h 870"/>
                    <a:gd name="T98" fmla="*/ 2147483647 w 768"/>
                    <a:gd name="T99" fmla="*/ 2147483647 h 870"/>
                    <a:gd name="T100" fmla="*/ 2147483647 w 768"/>
                    <a:gd name="T101" fmla="*/ 2147483647 h 870"/>
                    <a:gd name="T102" fmla="*/ 2147483647 w 768"/>
                    <a:gd name="T103" fmla="*/ 2147483647 h 8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8"/>
                    <a:gd name="T157" fmla="*/ 0 h 870"/>
                    <a:gd name="T158" fmla="*/ 768 w 768"/>
                    <a:gd name="T159" fmla="*/ 870 h 8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8" h="870">
                      <a:moveTo>
                        <a:pt x="762" y="744"/>
                      </a:moveTo>
                      <a:lnTo>
                        <a:pt x="750" y="744"/>
                      </a:lnTo>
                      <a:lnTo>
                        <a:pt x="744" y="738"/>
                      </a:lnTo>
                      <a:lnTo>
                        <a:pt x="732" y="732"/>
                      </a:lnTo>
                      <a:lnTo>
                        <a:pt x="720" y="720"/>
                      </a:lnTo>
                      <a:lnTo>
                        <a:pt x="720" y="708"/>
                      </a:lnTo>
                      <a:lnTo>
                        <a:pt x="714" y="690"/>
                      </a:lnTo>
                      <a:lnTo>
                        <a:pt x="714" y="654"/>
                      </a:lnTo>
                      <a:lnTo>
                        <a:pt x="690" y="612"/>
                      </a:lnTo>
                      <a:lnTo>
                        <a:pt x="702" y="564"/>
                      </a:lnTo>
                      <a:lnTo>
                        <a:pt x="684" y="540"/>
                      </a:lnTo>
                      <a:lnTo>
                        <a:pt x="690" y="528"/>
                      </a:lnTo>
                      <a:lnTo>
                        <a:pt x="696" y="522"/>
                      </a:lnTo>
                      <a:lnTo>
                        <a:pt x="708" y="498"/>
                      </a:lnTo>
                      <a:lnTo>
                        <a:pt x="708" y="480"/>
                      </a:lnTo>
                      <a:lnTo>
                        <a:pt x="702" y="474"/>
                      </a:lnTo>
                      <a:lnTo>
                        <a:pt x="690" y="468"/>
                      </a:lnTo>
                      <a:lnTo>
                        <a:pt x="672" y="456"/>
                      </a:lnTo>
                      <a:lnTo>
                        <a:pt x="660" y="450"/>
                      </a:lnTo>
                      <a:lnTo>
                        <a:pt x="654" y="438"/>
                      </a:lnTo>
                      <a:lnTo>
                        <a:pt x="654" y="426"/>
                      </a:lnTo>
                      <a:lnTo>
                        <a:pt x="660" y="414"/>
                      </a:lnTo>
                      <a:lnTo>
                        <a:pt x="666" y="396"/>
                      </a:lnTo>
                      <a:lnTo>
                        <a:pt x="666" y="384"/>
                      </a:lnTo>
                      <a:lnTo>
                        <a:pt x="672" y="366"/>
                      </a:lnTo>
                      <a:lnTo>
                        <a:pt x="678" y="354"/>
                      </a:lnTo>
                      <a:lnTo>
                        <a:pt x="678" y="330"/>
                      </a:lnTo>
                      <a:lnTo>
                        <a:pt x="684" y="318"/>
                      </a:lnTo>
                      <a:lnTo>
                        <a:pt x="684" y="300"/>
                      </a:lnTo>
                      <a:lnTo>
                        <a:pt x="570" y="192"/>
                      </a:lnTo>
                      <a:lnTo>
                        <a:pt x="576" y="186"/>
                      </a:lnTo>
                      <a:lnTo>
                        <a:pt x="582" y="186"/>
                      </a:lnTo>
                      <a:lnTo>
                        <a:pt x="588" y="180"/>
                      </a:lnTo>
                      <a:lnTo>
                        <a:pt x="588" y="174"/>
                      </a:lnTo>
                      <a:lnTo>
                        <a:pt x="576" y="162"/>
                      </a:lnTo>
                      <a:lnTo>
                        <a:pt x="324" y="6"/>
                      </a:lnTo>
                      <a:lnTo>
                        <a:pt x="312" y="6"/>
                      </a:lnTo>
                      <a:lnTo>
                        <a:pt x="312" y="18"/>
                      </a:lnTo>
                      <a:lnTo>
                        <a:pt x="318" y="24"/>
                      </a:lnTo>
                      <a:lnTo>
                        <a:pt x="318" y="36"/>
                      </a:lnTo>
                      <a:lnTo>
                        <a:pt x="294" y="48"/>
                      </a:lnTo>
                      <a:lnTo>
                        <a:pt x="276" y="66"/>
                      </a:lnTo>
                      <a:lnTo>
                        <a:pt x="264" y="84"/>
                      </a:lnTo>
                      <a:lnTo>
                        <a:pt x="264" y="90"/>
                      </a:lnTo>
                      <a:lnTo>
                        <a:pt x="270" y="96"/>
                      </a:lnTo>
                      <a:lnTo>
                        <a:pt x="294" y="96"/>
                      </a:lnTo>
                      <a:lnTo>
                        <a:pt x="306" y="90"/>
                      </a:lnTo>
                      <a:lnTo>
                        <a:pt x="312" y="90"/>
                      </a:lnTo>
                      <a:lnTo>
                        <a:pt x="306" y="96"/>
                      </a:lnTo>
                      <a:lnTo>
                        <a:pt x="294" y="102"/>
                      </a:lnTo>
                      <a:lnTo>
                        <a:pt x="276" y="120"/>
                      </a:lnTo>
                      <a:lnTo>
                        <a:pt x="270" y="120"/>
                      </a:lnTo>
                      <a:lnTo>
                        <a:pt x="264" y="114"/>
                      </a:lnTo>
                      <a:lnTo>
                        <a:pt x="252" y="108"/>
                      </a:lnTo>
                      <a:lnTo>
                        <a:pt x="246" y="108"/>
                      </a:lnTo>
                      <a:lnTo>
                        <a:pt x="234" y="120"/>
                      </a:lnTo>
                      <a:lnTo>
                        <a:pt x="234" y="138"/>
                      </a:lnTo>
                      <a:lnTo>
                        <a:pt x="246" y="150"/>
                      </a:lnTo>
                      <a:lnTo>
                        <a:pt x="216" y="150"/>
                      </a:lnTo>
                      <a:lnTo>
                        <a:pt x="216" y="138"/>
                      </a:lnTo>
                      <a:lnTo>
                        <a:pt x="222" y="132"/>
                      </a:lnTo>
                      <a:lnTo>
                        <a:pt x="222" y="126"/>
                      </a:lnTo>
                      <a:lnTo>
                        <a:pt x="228" y="114"/>
                      </a:lnTo>
                      <a:lnTo>
                        <a:pt x="210" y="120"/>
                      </a:lnTo>
                      <a:lnTo>
                        <a:pt x="192" y="102"/>
                      </a:lnTo>
                      <a:lnTo>
                        <a:pt x="186" y="102"/>
                      </a:lnTo>
                      <a:lnTo>
                        <a:pt x="174" y="114"/>
                      </a:lnTo>
                      <a:lnTo>
                        <a:pt x="174" y="132"/>
                      </a:lnTo>
                      <a:lnTo>
                        <a:pt x="168" y="138"/>
                      </a:lnTo>
                      <a:lnTo>
                        <a:pt x="162" y="138"/>
                      </a:lnTo>
                      <a:lnTo>
                        <a:pt x="156" y="132"/>
                      </a:lnTo>
                      <a:lnTo>
                        <a:pt x="156" y="48"/>
                      </a:lnTo>
                      <a:lnTo>
                        <a:pt x="162" y="36"/>
                      </a:lnTo>
                      <a:lnTo>
                        <a:pt x="162" y="24"/>
                      </a:lnTo>
                      <a:lnTo>
                        <a:pt x="168" y="12"/>
                      </a:lnTo>
                      <a:lnTo>
                        <a:pt x="168" y="6"/>
                      </a:lnTo>
                      <a:lnTo>
                        <a:pt x="78" y="0"/>
                      </a:lnTo>
                      <a:lnTo>
                        <a:pt x="72" y="24"/>
                      </a:lnTo>
                      <a:lnTo>
                        <a:pt x="78" y="30"/>
                      </a:lnTo>
                      <a:lnTo>
                        <a:pt x="84" y="42"/>
                      </a:lnTo>
                      <a:lnTo>
                        <a:pt x="90" y="48"/>
                      </a:lnTo>
                      <a:lnTo>
                        <a:pt x="90" y="66"/>
                      </a:lnTo>
                      <a:lnTo>
                        <a:pt x="96" y="72"/>
                      </a:lnTo>
                      <a:lnTo>
                        <a:pt x="96" y="96"/>
                      </a:lnTo>
                      <a:lnTo>
                        <a:pt x="78" y="114"/>
                      </a:lnTo>
                      <a:lnTo>
                        <a:pt x="66" y="114"/>
                      </a:lnTo>
                      <a:lnTo>
                        <a:pt x="66" y="126"/>
                      </a:lnTo>
                      <a:lnTo>
                        <a:pt x="60" y="138"/>
                      </a:lnTo>
                      <a:lnTo>
                        <a:pt x="60" y="156"/>
                      </a:lnTo>
                      <a:lnTo>
                        <a:pt x="66" y="156"/>
                      </a:lnTo>
                      <a:lnTo>
                        <a:pt x="72" y="162"/>
                      </a:lnTo>
                      <a:lnTo>
                        <a:pt x="90" y="162"/>
                      </a:lnTo>
                      <a:lnTo>
                        <a:pt x="90" y="180"/>
                      </a:lnTo>
                      <a:lnTo>
                        <a:pt x="78" y="186"/>
                      </a:lnTo>
                      <a:lnTo>
                        <a:pt x="84" y="198"/>
                      </a:lnTo>
                      <a:lnTo>
                        <a:pt x="72" y="198"/>
                      </a:lnTo>
                      <a:lnTo>
                        <a:pt x="54" y="216"/>
                      </a:lnTo>
                      <a:lnTo>
                        <a:pt x="48" y="228"/>
                      </a:lnTo>
                      <a:lnTo>
                        <a:pt x="48" y="246"/>
                      </a:lnTo>
                      <a:lnTo>
                        <a:pt x="42" y="258"/>
                      </a:lnTo>
                      <a:lnTo>
                        <a:pt x="30" y="270"/>
                      </a:lnTo>
                      <a:lnTo>
                        <a:pt x="6" y="282"/>
                      </a:lnTo>
                      <a:lnTo>
                        <a:pt x="0" y="294"/>
                      </a:lnTo>
                      <a:lnTo>
                        <a:pt x="6" y="306"/>
                      </a:lnTo>
                      <a:lnTo>
                        <a:pt x="18" y="318"/>
                      </a:lnTo>
                      <a:lnTo>
                        <a:pt x="18" y="330"/>
                      </a:lnTo>
                      <a:lnTo>
                        <a:pt x="12" y="342"/>
                      </a:lnTo>
                      <a:lnTo>
                        <a:pt x="12" y="348"/>
                      </a:lnTo>
                      <a:lnTo>
                        <a:pt x="18" y="354"/>
                      </a:lnTo>
                      <a:lnTo>
                        <a:pt x="18" y="366"/>
                      </a:lnTo>
                      <a:lnTo>
                        <a:pt x="24" y="378"/>
                      </a:lnTo>
                      <a:lnTo>
                        <a:pt x="24" y="396"/>
                      </a:lnTo>
                      <a:lnTo>
                        <a:pt x="18" y="402"/>
                      </a:lnTo>
                      <a:lnTo>
                        <a:pt x="18" y="432"/>
                      </a:lnTo>
                      <a:lnTo>
                        <a:pt x="30" y="444"/>
                      </a:lnTo>
                      <a:lnTo>
                        <a:pt x="36" y="444"/>
                      </a:lnTo>
                      <a:lnTo>
                        <a:pt x="48" y="450"/>
                      </a:lnTo>
                      <a:lnTo>
                        <a:pt x="72" y="474"/>
                      </a:lnTo>
                      <a:lnTo>
                        <a:pt x="78" y="486"/>
                      </a:lnTo>
                      <a:lnTo>
                        <a:pt x="78" y="546"/>
                      </a:lnTo>
                      <a:lnTo>
                        <a:pt x="84" y="558"/>
                      </a:lnTo>
                      <a:lnTo>
                        <a:pt x="114" y="594"/>
                      </a:lnTo>
                      <a:lnTo>
                        <a:pt x="114" y="600"/>
                      </a:lnTo>
                      <a:lnTo>
                        <a:pt x="108" y="612"/>
                      </a:lnTo>
                      <a:lnTo>
                        <a:pt x="108" y="618"/>
                      </a:lnTo>
                      <a:lnTo>
                        <a:pt x="126" y="618"/>
                      </a:lnTo>
                      <a:lnTo>
                        <a:pt x="138" y="612"/>
                      </a:lnTo>
                      <a:lnTo>
                        <a:pt x="138" y="630"/>
                      </a:lnTo>
                      <a:lnTo>
                        <a:pt x="144" y="636"/>
                      </a:lnTo>
                      <a:lnTo>
                        <a:pt x="162" y="636"/>
                      </a:lnTo>
                      <a:lnTo>
                        <a:pt x="180" y="654"/>
                      </a:lnTo>
                      <a:lnTo>
                        <a:pt x="192" y="654"/>
                      </a:lnTo>
                      <a:lnTo>
                        <a:pt x="204" y="648"/>
                      </a:lnTo>
                      <a:lnTo>
                        <a:pt x="204" y="666"/>
                      </a:lnTo>
                      <a:lnTo>
                        <a:pt x="222" y="666"/>
                      </a:lnTo>
                      <a:lnTo>
                        <a:pt x="240" y="678"/>
                      </a:lnTo>
                      <a:lnTo>
                        <a:pt x="264" y="678"/>
                      </a:lnTo>
                      <a:lnTo>
                        <a:pt x="270" y="696"/>
                      </a:lnTo>
                      <a:lnTo>
                        <a:pt x="300" y="696"/>
                      </a:lnTo>
                      <a:lnTo>
                        <a:pt x="300" y="690"/>
                      </a:lnTo>
                      <a:lnTo>
                        <a:pt x="312" y="678"/>
                      </a:lnTo>
                      <a:lnTo>
                        <a:pt x="318" y="684"/>
                      </a:lnTo>
                      <a:lnTo>
                        <a:pt x="330" y="690"/>
                      </a:lnTo>
                      <a:lnTo>
                        <a:pt x="336" y="702"/>
                      </a:lnTo>
                      <a:lnTo>
                        <a:pt x="348" y="714"/>
                      </a:lnTo>
                      <a:lnTo>
                        <a:pt x="348" y="774"/>
                      </a:lnTo>
                      <a:lnTo>
                        <a:pt x="354" y="774"/>
                      </a:lnTo>
                      <a:lnTo>
                        <a:pt x="360" y="780"/>
                      </a:lnTo>
                      <a:lnTo>
                        <a:pt x="360" y="792"/>
                      </a:lnTo>
                      <a:lnTo>
                        <a:pt x="354" y="798"/>
                      </a:lnTo>
                      <a:lnTo>
                        <a:pt x="354" y="804"/>
                      </a:lnTo>
                      <a:lnTo>
                        <a:pt x="348" y="810"/>
                      </a:lnTo>
                      <a:lnTo>
                        <a:pt x="348" y="816"/>
                      </a:lnTo>
                      <a:lnTo>
                        <a:pt x="366" y="834"/>
                      </a:lnTo>
                      <a:lnTo>
                        <a:pt x="378" y="840"/>
                      </a:lnTo>
                      <a:lnTo>
                        <a:pt x="372" y="858"/>
                      </a:lnTo>
                      <a:lnTo>
                        <a:pt x="408" y="858"/>
                      </a:lnTo>
                      <a:lnTo>
                        <a:pt x="414" y="852"/>
                      </a:lnTo>
                      <a:lnTo>
                        <a:pt x="420" y="852"/>
                      </a:lnTo>
                      <a:lnTo>
                        <a:pt x="432" y="840"/>
                      </a:lnTo>
                      <a:lnTo>
                        <a:pt x="444" y="840"/>
                      </a:lnTo>
                      <a:lnTo>
                        <a:pt x="456" y="846"/>
                      </a:lnTo>
                      <a:lnTo>
                        <a:pt x="462" y="858"/>
                      </a:lnTo>
                      <a:lnTo>
                        <a:pt x="474" y="864"/>
                      </a:lnTo>
                      <a:lnTo>
                        <a:pt x="480" y="870"/>
                      </a:lnTo>
                      <a:lnTo>
                        <a:pt x="492" y="870"/>
                      </a:lnTo>
                      <a:lnTo>
                        <a:pt x="510" y="852"/>
                      </a:lnTo>
                      <a:lnTo>
                        <a:pt x="516" y="852"/>
                      </a:lnTo>
                      <a:lnTo>
                        <a:pt x="522" y="858"/>
                      </a:lnTo>
                      <a:lnTo>
                        <a:pt x="534" y="864"/>
                      </a:lnTo>
                      <a:lnTo>
                        <a:pt x="552" y="864"/>
                      </a:lnTo>
                      <a:lnTo>
                        <a:pt x="564" y="852"/>
                      </a:lnTo>
                      <a:lnTo>
                        <a:pt x="576" y="846"/>
                      </a:lnTo>
                      <a:lnTo>
                        <a:pt x="582" y="834"/>
                      </a:lnTo>
                      <a:lnTo>
                        <a:pt x="588" y="828"/>
                      </a:lnTo>
                      <a:lnTo>
                        <a:pt x="612" y="828"/>
                      </a:lnTo>
                      <a:lnTo>
                        <a:pt x="618" y="834"/>
                      </a:lnTo>
                      <a:lnTo>
                        <a:pt x="618" y="840"/>
                      </a:lnTo>
                      <a:lnTo>
                        <a:pt x="630" y="840"/>
                      </a:lnTo>
                      <a:lnTo>
                        <a:pt x="642" y="834"/>
                      </a:lnTo>
                      <a:lnTo>
                        <a:pt x="654" y="822"/>
                      </a:lnTo>
                      <a:lnTo>
                        <a:pt x="660" y="822"/>
                      </a:lnTo>
                      <a:lnTo>
                        <a:pt x="690" y="816"/>
                      </a:lnTo>
                      <a:lnTo>
                        <a:pt x="768" y="762"/>
                      </a:lnTo>
                      <a:lnTo>
                        <a:pt x="762" y="744"/>
                      </a:lnTo>
                      <a:close/>
                      <a:moveTo>
                        <a:pt x="726" y="360"/>
                      </a:moveTo>
                      <a:lnTo>
                        <a:pt x="732" y="354"/>
                      </a:lnTo>
                      <a:lnTo>
                        <a:pt x="732" y="324"/>
                      </a:lnTo>
                      <a:lnTo>
                        <a:pt x="720" y="312"/>
                      </a:lnTo>
                      <a:lnTo>
                        <a:pt x="714" y="312"/>
                      </a:lnTo>
                      <a:lnTo>
                        <a:pt x="708" y="318"/>
                      </a:lnTo>
                      <a:lnTo>
                        <a:pt x="708" y="348"/>
                      </a:lnTo>
                      <a:lnTo>
                        <a:pt x="714" y="354"/>
                      </a:lnTo>
                      <a:lnTo>
                        <a:pt x="726" y="360"/>
                      </a:lnTo>
                      <a:close/>
                      <a:moveTo>
                        <a:pt x="678" y="420"/>
                      </a:moveTo>
                      <a:lnTo>
                        <a:pt x="690" y="426"/>
                      </a:lnTo>
                      <a:lnTo>
                        <a:pt x="696" y="438"/>
                      </a:lnTo>
                      <a:lnTo>
                        <a:pt x="708" y="444"/>
                      </a:lnTo>
                      <a:lnTo>
                        <a:pt x="720" y="444"/>
                      </a:lnTo>
                      <a:lnTo>
                        <a:pt x="726" y="438"/>
                      </a:lnTo>
                      <a:lnTo>
                        <a:pt x="720" y="432"/>
                      </a:lnTo>
                      <a:lnTo>
                        <a:pt x="720" y="426"/>
                      </a:lnTo>
                      <a:lnTo>
                        <a:pt x="708" y="414"/>
                      </a:lnTo>
                      <a:lnTo>
                        <a:pt x="708" y="390"/>
                      </a:lnTo>
                      <a:lnTo>
                        <a:pt x="702" y="378"/>
                      </a:lnTo>
                      <a:lnTo>
                        <a:pt x="684" y="378"/>
                      </a:lnTo>
                      <a:lnTo>
                        <a:pt x="678" y="384"/>
                      </a:lnTo>
                      <a:lnTo>
                        <a:pt x="678" y="4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8" name="Syria">
                  <a:extLst>
                    <a:ext uri="{FF2B5EF4-FFF2-40B4-BE49-F238E27FC236}">
                      <a16:creationId xmlns:a16="http://schemas.microsoft.com/office/drawing/2014/main" id="{E0418A31-5982-4716-855B-5AED514D07B3}"/>
                    </a:ext>
                  </a:extLst>
                </p:cNvPr>
                <p:cNvSpPr>
                  <a:spLocks/>
                </p:cNvSpPr>
                <p:nvPr/>
              </p:nvSpPr>
              <p:spPr bwMode="gray">
                <a:xfrm>
                  <a:off x="5152519" y="2246090"/>
                  <a:ext cx="169578" cy="156179"/>
                </a:xfrm>
                <a:custGeom>
                  <a:avLst/>
                  <a:gdLst>
                    <a:gd name="T0" fmla="*/ 2147483647 w 450"/>
                    <a:gd name="T1" fmla="*/ 2147483647 h 414"/>
                    <a:gd name="T2" fmla="*/ 2147483647 w 450"/>
                    <a:gd name="T3" fmla="*/ 2147483647 h 414"/>
                    <a:gd name="T4" fmla="*/ 2147483647 w 450"/>
                    <a:gd name="T5" fmla="*/ 2147483647 h 414"/>
                    <a:gd name="T6" fmla="*/ 2147483647 w 450"/>
                    <a:gd name="T7" fmla="*/ 0 h 414"/>
                    <a:gd name="T8" fmla="*/ 2147483647 w 450"/>
                    <a:gd name="T9" fmla="*/ 2147483647 h 414"/>
                    <a:gd name="T10" fmla="*/ 2147483647 w 450"/>
                    <a:gd name="T11" fmla="*/ 2147483647 h 414"/>
                    <a:gd name="T12" fmla="*/ 2147483647 w 450"/>
                    <a:gd name="T13" fmla="*/ 2147483647 h 414"/>
                    <a:gd name="T14" fmla="*/ 2147483647 w 450"/>
                    <a:gd name="T15" fmla="*/ 2147483647 h 414"/>
                    <a:gd name="T16" fmla="*/ 2147483647 w 450"/>
                    <a:gd name="T17" fmla="*/ 2147483647 h 414"/>
                    <a:gd name="T18" fmla="*/ 2147483647 w 450"/>
                    <a:gd name="T19" fmla="*/ 2147483647 h 414"/>
                    <a:gd name="T20" fmla="*/ 2147483647 w 450"/>
                    <a:gd name="T21" fmla="*/ 2147483647 h 414"/>
                    <a:gd name="T22" fmla="*/ 2147483647 w 450"/>
                    <a:gd name="T23" fmla="*/ 2147483647 h 414"/>
                    <a:gd name="T24" fmla="*/ 2147483647 w 450"/>
                    <a:gd name="T25" fmla="*/ 2147483647 h 414"/>
                    <a:gd name="T26" fmla="*/ 2147483647 w 450"/>
                    <a:gd name="T27" fmla="*/ 2147483647 h 414"/>
                    <a:gd name="T28" fmla="*/ 2147483647 w 450"/>
                    <a:gd name="T29" fmla="*/ 2147483647 h 414"/>
                    <a:gd name="T30" fmla="*/ 2147483647 w 450"/>
                    <a:gd name="T31" fmla="*/ 2147483647 h 414"/>
                    <a:gd name="T32" fmla="*/ 2147483647 w 450"/>
                    <a:gd name="T33" fmla="*/ 2147483647 h 414"/>
                    <a:gd name="T34" fmla="*/ 2147483647 w 450"/>
                    <a:gd name="T35" fmla="*/ 2147483647 h 414"/>
                    <a:gd name="T36" fmla="*/ 2147483647 w 450"/>
                    <a:gd name="T37" fmla="*/ 2147483647 h 414"/>
                    <a:gd name="T38" fmla="*/ 2147483647 w 450"/>
                    <a:gd name="T39" fmla="*/ 2147483647 h 414"/>
                    <a:gd name="T40" fmla="*/ 2147483647 w 450"/>
                    <a:gd name="T41" fmla="*/ 2147483647 h 414"/>
                    <a:gd name="T42" fmla="*/ 2147483647 w 450"/>
                    <a:gd name="T43" fmla="*/ 2147483647 h 414"/>
                    <a:gd name="T44" fmla="*/ 2147483647 w 450"/>
                    <a:gd name="T45" fmla="*/ 2147483647 h 414"/>
                    <a:gd name="T46" fmla="*/ 2147483647 w 450"/>
                    <a:gd name="T47" fmla="*/ 2147483647 h 414"/>
                    <a:gd name="T48" fmla="*/ 2147483647 w 450"/>
                    <a:gd name="T49" fmla="*/ 2147483647 h 414"/>
                    <a:gd name="T50" fmla="*/ 2147483647 w 450"/>
                    <a:gd name="T51" fmla="*/ 2147483647 h 414"/>
                    <a:gd name="T52" fmla="*/ 2147483647 w 450"/>
                    <a:gd name="T53" fmla="*/ 2147483647 h 414"/>
                    <a:gd name="T54" fmla="*/ 2147483647 w 450"/>
                    <a:gd name="T55" fmla="*/ 2147483647 h 414"/>
                    <a:gd name="T56" fmla="*/ 2147483647 w 450"/>
                    <a:gd name="T57" fmla="*/ 2147483647 h 414"/>
                    <a:gd name="T58" fmla="*/ 2147483647 w 450"/>
                    <a:gd name="T59" fmla="*/ 2147483647 h 414"/>
                    <a:gd name="T60" fmla="*/ 2147483647 w 450"/>
                    <a:gd name="T61" fmla="*/ 2147483647 h 414"/>
                    <a:gd name="T62" fmla="*/ 2147483647 w 450"/>
                    <a:gd name="T63" fmla="*/ 2147483647 h 414"/>
                    <a:gd name="T64" fmla="*/ 2147483647 w 450"/>
                    <a:gd name="T65" fmla="*/ 2147483647 h 414"/>
                    <a:gd name="T66" fmla="*/ 2147483647 w 450"/>
                    <a:gd name="T67" fmla="*/ 2147483647 h 414"/>
                    <a:gd name="T68" fmla="*/ 2147483647 w 450"/>
                    <a:gd name="T69" fmla="*/ 2147483647 h 414"/>
                    <a:gd name="T70" fmla="*/ 2147483647 w 450"/>
                    <a:gd name="T71" fmla="*/ 2147483647 h 414"/>
                    <a:gd name="T72" fmla="*/ 2147483647 w 450"/>
                    <a:gd name="T73" fmla="*/ 2147483647 h 414"/>
                    <a:gd name="T74" fmla="*/ 2147483647 w 450"/>
                    <a:gd name="T75" fmla="*/ 2147483647 h 414"/>
                    <a:gd name="T76" fmla="*/ 2147483647 w 450"/>
                    <a:gd name="T77" fmla="*/ 2147483647 h 414"/>
                    <a:gd name="T78" fmla="*/ 2147483647 w 450"/>
                    <a:gd name="T79" fmla="*/ 2147483647 h 414"/>
                    <a:gd name="T80" fmla="*/ 2147483647 w 450"/>
                    <a:gd name="T81" fmla="*/ 2147483647 h 414"/>
                    <a:gd name="T82" fmla="*/ 2147483647 w 450"/>
                    <a:gd name="T83" fmla="*/ 2147483647 h 414"/>
                    <a:gd name="T84" fmla="*/ 2147483647 w 450"/>
                    <a:gd name="T85" fmla="*/ 2147483647 h 414"/>
                    <a:gd name="T86" fmla="*/ 2147483647 w 450"/>
                    <a:gd name="T87" fmla="*/ 2147483647 h 414"/>
                    <a:gd name="T88" fmla="*/ 2147483647 w 450"/>
                    <a:gd name="T89" fmla="*/ 2147483647 h 414"/>
                    <a:gd name="T90" fmla="*/ 2147483647 w 450"/>
                    <a:gd name="T91" fmla="*/ 2147483647 h 414"/>
                    <a:gd name="T92" fmla="*/ 2147483647 w 450"/>
                    <a:gd name="T93" fmla="*/ 2147483647 h 414"/>
                    <a:gd name="T94" fmla="*/ 2147483647 w 450"/>
                    <a:gd name="T95" fmla="*/ 2147483647 h 414"/>
                    <a:gd name="T96" fmla="*/ 2147483647 w 450"/>
                    <a:gd name="T97" fmla="*/ 214748364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0"/>
                    <a:gd name="T148" fmla="*/ 0 h 414"/>
                    <a:gd name="T149" fmla="*/ 450 w 45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0" h="414">
                      <a:moveTo>
                        <a:pt x="426" y="60"/>
                      </a:moveTo>
                      <a:lnTo>
                        <a:pt x="432" y="54"/>
                      </a:lnTo>
                      <a:lnTo>
                        <a:pt x="438" y="42"/>
                      </a:lnTo>
                      <a:lnTo>
                        <a:pt x="450" y="30"/>
                      </a:lnTo>
                      <a:lnTo>
                        <a:pt x="444" y="30"/>
                      </a:lnTo>
                      <a:lnTo>
                        <a:pt x="438" y="24"/>
                      </a:lnTo>
                      <a:lnTo>
                        <a:pt x="438" y="0"/>
                      </a:lnTo>
                      <a:lnTo>
                        <a:pt x="432" y="0"/>
                      </a:lnTo>
                      <a:lnTo>
                        <a:pt x="432" y="6"/>
                      </a:lnTo>
                      <a:lnTo>
                        <a:pt x="426" y="18"/>
                      </a:lnTo>
                      <a:lnTo>
                        <a:pt x="402" y="18"/>
                      </a:lnTo>
                      <a:lnTo>
                        <a:pt x="390" y="30"/>
                      </a:lnTo>
                      <a:lnTo>
                        <a:pt x="372" y="30"/>
                      </a:lnTo>
                      <a:lnTo>
                        <a:pt x="366" y="24"/>
                      </a:lnTo>
                      <a:lnTo>
                        <a:pt x="318" y="24"/>
                      </a:lnTo>
                      <a:lnTo>
                        <a:pt x="306" y="30"/>
                      </a:lnTo>
                      <a:lnTo>
                        <a:pt x="294" y="42"/>
                      </a:lnTo>
                      <a:lnTo>
                        <a:pt x="282" y="48"/>
                      </a:lnTo>
                      <a:lnTo>
                        <a:pt x="276" y="54"/>
                      </a:lnTo>
                      <a:lnTo>
                        <a:pt x="258" y="54"/>
                      </a:lnTo>
                      <a:lnTo>
                        <a:pt x="246" y="60"/>
                      </a:lnTo>
                      <a:lnTo>
                        <a:pt x="234" y="60"/>
                      </a:lnTo>
                      <a:lnTo>
                        <a:pt x="222" y="54"/>
                      </a:lnTo>
                      <a:lnTo>
                        <a:pt x="204" y="54"/>
                      </a:lnTo>
                      <a:lnTo>
                        <a:pt x="192" y="42"/>
                      </a:lnTo>
                      <a:lnTo>
                        <a:pt x="180" y="36"/>
                      </a:lnTo>
                      <a:lnTo>
                        <a:pt x="174" y="30"/>
                      </a:lnTo>
                      <a:lnTo>
                        <a:pt x="168" y="30"/>
                      </a:lnTo>
                      <a:lnTo>
                        <a:pt x="150" y="48"/>
                      </a:lnTo>
                      <a:lnTo>
                        <a:pt x="144" y="48"/>
                      </a:lnTo>
                      <a:lnTo>
                        <a:pt x="138" y="54"/>
                      </a:lnTo>
                      <a:lnTo>
                        <a:pt x="120" y="60"/>
                      </a:lnTo>
                      <a:lnTo>
                        <a:pt x="84" y="60"/>
                      </a:lnTo>
                      <a:lnTo>
                        <a:pt x="84" y="54"/>
                      </a:lnTo>
                      <a:lnTo>
                        <a:pt x="90" y="48"/>
                      </a:lnTo>
                      <a:lnTo>
                        <a:pt x="66" y="48"/>
                      </a:lnTo>
                      <a:lnTo>
                        <a:pt x="66" y="78"/>
                      </a:lnTo>
                      <a:lnTo>
                        <a:pt x="72" y="78"/>
                      </a:lnTo>
                      <a:lnTo>
                        <a:pt x="72" y="102"/>
                      </a:lnTo>
                      <a:lnTo>
                        <a:pt x="60" y="102"/>
                      </a:lnTo>
                      <a:lnTo>
                        <a:pt x="54" y="96"/>
                      </a:lnTo>
                      <a:lnTo>
                        <a:pt x="54" y="114"/>
                      </a:lnTo>
                      <a:lnTo>
                        <a:pt x="48" y="120"/>
                      </a:lnTo>
                      <a:lnTo>
                        <a:pt x="48" y="126"/>
                      </a:lnTo>
                      <a:lnTo>
                        <a:pt x="36" y="126"/>
                      </a:lnTo>
                      <a:lnTo>
                        <a:pt x="24" y="114"/>
                      </a:lnTo>
                      <a:lnTo>
                        <a:pt x="18" y="120"/>
                      </a:lnTo>
                      <a:lnTo>
                        <a:pt x="12" y="132"/>
                      </a:lnTo>
                      <a:lnTo>
                        <a:pt x="12" y="150"/>
                      </a:lnTo>
                      <a:lnTo>
                        <a:pt x="6" y="150"/>
                      </a:lnTo>
                      <a:lnTo>
                        <a:pt x="0" y="198"/>
                      </a:lnTo>
                      <a:lnTo>
                        <a:pt x="6" y="204"/>
                      </a:lnTo>
                      <a:lnTo>
                        <a:pt x="18" y="210"/>
                      </a:lnTo>
                      <a:lnTo>
                        <a:pt x="24" y="216"/>
                      </a:lnTo>
                      <a:lnTo>
                        <a:pt x="24" y="222"/>
                      </a:lnTo>
                      <a:lnTo>
                        <a:pt x="72" y="222"/>
                      </a:lnTo>
                      <a:lnTo>
                        <a:pt x="66" y="234"/>
                      </a:lnTo>
                      <a:lnTo>
                        <a:pt x="72" y="240"/>
                      </a:lnTo>
                      <a:lnTo>
                        <a:pt x="78" y="252"/>
                      </a:lnTo>
                      <a:lnTo>
                        <a:pt x="78" y="270"/>
                      </a:lnTo>
                      <a:lnTo>
                        <a:pt x="72" y="282"/>
                      </a:lnTo>
                      <a:lnTo>
                        <a:pt x="66" y="282"/>
                      </a:lnTo>
                      <a:lnTo>
                        <a:pt x="54" y="288"/>
                      </a:lnTo>
                      <a:lnTo>
                        <a:pt x="48" y="288"/>
                      </a:lnTo>
                      <a:lnTo>
                        <a:pt x="42" y="294"/>
                      </a:lnTo>
                      <a:lnTo>
                        <a:pt x="42" y="318"/>
                      </a:lnTo>
                      <a:lnTo>
                        <a:pt x="24" y="336"/>
                      </a:lnTo>
                      <a:lnTo>
                        <a:pt x="30" y="378"/>
                      </a:lnTo>
                      <a:lnTo>
                        <a:pt x="36" y="378"/>
                      </a:lnTo>
                      <a:lnTo>
                        <a:pt x="72" y="396"/>
                      </a:lnTo>
                      <a:lnTo>
                        <a:pt x="84" y="408"/>
                      </a:lnTo>
                      <a:lnTo>
                        <a:pt x="96" y="414"/>
                      </a:lnTo>
                      <a:lnTo>
                        <a:pt x="114" y="414"/>
                      </a:lnTo>
                      <a:lnTo>
                        <a:pt x="174" y="384"/>
                      </a:lnTo>
                      <a:lnTo>
                        <a:pt x="204" y="354"/>
                      </a:lnTo>
                      <a:lnTo>
                        <a:pt x="228" y="336"/>
                      </a:lnTo>
                      <a:lnTo>
                        <a:pt x="240" y="324"/>
                      </a:lnTo>
                      <a:lnTo>
                        <a:pt x="300" y="276"/>
                      </a:lnTo>
                      <a:lnTo>
                        <a:pt x="312" y="270"/>
                      </a:lnTo>
                      <a:lnTo>
                        <a:pt x="372" y="246"/>
                      </a:lnTo>
                      <a:lnTo>
                        <a:pt x="396" y="234"/>
                      </a:lnTo>
                      <a:lnTo>
                        <a:pt x="402" y="228"/>
                      </a:lnTo>
                      <a:lnTo>
                        <a:pt x="402" y="222"/>
                      </a:lnTo>
                      <a:lnTo>
                        <a:pt x="384" y="204"/>
                      </a:lnTo>
                      <a:lnTo>
                        <a:pt x="384" y="198"/>
                      </a:lnTo>
                      <a:lnTo>
                        <a:pt x="390" y="180"/>
                      </a:lnTo>
                      <a:lnTo>
                        <a:pt x="396" y="168"/>
                      </a:lnTo>
                      <a:lnTo>
                        <a:pt x="396" y="138"/>
                      </a:lnTo>
                      <a:lnTo>
                        <a:pt x="390" y="126"/>
                      </a:lnTo>
                      <a:lnTo>
                        <a:pt x="390" y="114"/>
                      </a:lnTo>
                      <a:lnTo>
                        <a:pt x="384" y="108"/>
                      </a:lnTo>
                      <a:lnTo>
                        <a:pt x="378" y="96"/>
                      </a:lnTo>
                      <a:lnTo>
                        <a:pt x="378" y="84"/>
                      </a:lnTo>
                      <a:lnTo>
                        <a:pt x="384" y="72"/>
                      </a:lnTo>
                      <a:lnTo>
                        <a:pt x="390" y="66"/>
                      </a:lnTo>
                      <a:lnTo>
                        <a:pt x="402" y="66"/>
                      </a:lnTo>
                      <a:lnTo>
                        <a:pt x="414" y="60"/>
                      </a:lnTo>
                      <a:lnTo>
                        <a:pt x="426"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9" name="Swaziland">
                  <a:extLst>
                    <a:ext uri="{FF2B5EF4-FFF2-40B4-BE49-F238E27FC236}">
                      <a16:creationId xmlns:a16="http://schemas.microsoft.com/office/drawing/2014/main" id="{21A95B2E-DC37-43BF-A414-EF4BB4AAAB03}"/>
                    </a:ext>
                  </a:extLst>
                </p:cNvPr>
                <p:cNvSpPr>
                  <a:spLocks/>
                </p:cNvSpPr>
                <p:nvPr/>
              </p:nvSpPr>
              <p:spPr bwMode="gray">
                <a:xfrm>
                  <a:off x="5051367" y="4163373"/>
                  <a:ext cx="37189" cy="50572"/>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2147483647 w 102"/>
                    <a:gd name="T11" fmla="*/ 0 h 132"/>
                    <a:gd name="T12" fmla="*/ 2147483647 w 102"/>
                    <a:gd name="T13" fmla="*/ 0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0 w 102"/>
                    <a:gd name="T23" fmla="*/ 2147483647 h 132"/>
                    <a:gd name="T24" fmla="*/ 0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132"/>
                    <a:gd name="T77" fmla="*/ 102 w 102"/>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132">
                      <a:moveTo>
                        <a:pt x="84" y="54"/>
                      </a:moveTo>
                      <a:lnTo>
                        <a:pt x="84" y="30"/>
                      </a:lnTo>
                      <a:lnTo>
                        <a:pt x="90" y="18"/>
                      </a:lnTo>
                      <a:lnTo>
                        <a:pt x="66" y="18"/>
                      </a:lnTo>
                      <a:lnTo>
                        <a:pt x="54" y="6"/>
                      </a:lnTo>
                      <a:lnTo>
                        <a:pt x="42" y="0"/>
                      </a:lnTo>
                      <a:lnTo>
                        <a:pt x="36" y="0"/>
                      </a:lnTo>
                      <a:lnTo>
                        <a:pt x="24" y="12"/>
                      </a:lnTo>
                      <a:lnTo>
                        <a:pt x="18" y="24"/>
                      </a:lnTo>
                      <a:lnTo>
                        <a:pt x="18" y="36"/>
                      </a:lnTo>
                      <a:lnTo>
                        <a:pt x="6" y="48"/>
                      </a:lnTo>
                      <a:lnTo>
                        <a:pt x="0" y="60"/>
                      </a:lnTo>
                      <a:lnTo>
                        <a:pt x="0" y="84"/>
                      </a:lnTo>
                      <a:lnTo>
                        <a:pt x="12" y="108"/>
                      </a:lnTo>
                      <a:lnTo>
                        <a:pt x="24" y="114"/>
                      </a:lnTo>
                      <a:lnTo>
                        <a:pt x="36" y="126"/>
                      </a:lnTo>
                      <a:lnTo>
                        <a:pt x="54" y="126"/>
                      </a:lnTo>
                      <a:lnTo>
                        <a:pt x="66" y="132"/>
                      </a:lnTo>
                      <a:lnTo>
                        <a:pt x="78" y="132"/>
                      </a:lnTo>
                      <a:lnTo>
                        <a:pt x="90" y="90"/>
                      </a:lnTo>
                      <a:lnTo>
                        <a:pt x="96" y="90"/>
                      </a:lnTo>
                      <a:lnTo>
                        <a:pt x="102" y="84"/>
                      </a:lnTo>
                      <a:lnTo>
                        <a:pt x="96" y="60"/>
                      </a:lnTo>
                      <a:lnTo>
                        <a:pt x="90" y="60"/>
                      </a:lnTo>
                      <a:lnTo>
                        <a:pt x="84" y="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0" name="Somalia">
                  <a:extLst>
                    <a:ext uri="{FF2B5EF4-FFF2-40B4-BE49-F238E27FC236}">
                      <a16:creationId xmlns:a16="http://schemas.microsoft.com/office/drawing/2014/main" id="{47DC9A16-397C-4004-9A7E-82D1BF2ACD03}"/>
                    </a:ext>
                  </a:extLst>
                </p:cNvPr>
                <p:cNvSpPr>
                  <a:spLocks/>
                </p:cNvSpPr>
                <p:nvPr/>
              </p:nvSpPr>
              <p:spPr bwMode="gray">
                <a:xfrm>
                  <a:off x="5339948" y="3016573"/>
                  <a:ext cx="269243" cy="417965"/>
                </a:xfrm>
                <a:custGeom>
                  <a:avLst/>
                  <a:gdLst>
                    <a:gd name="T0" fmla="*/ 2147483647 w 714"/>
                    <a:gd name="T1" fmla="*/ 2147483647 h 1104"/>
                    <a:gd name="T2" fmla="*/ 2147483647 w 714"/>
                    <a:gd name="T3" fmla="*/ 2147483647 h 1104"/>
                    <a:gd name="T4" fmla="*/ 2147483647 w 714"/>
                    <a:gd name="T5" fmla="*/ 2147483647 h 1104"/>
                    <a:gd name="T6" fmla="*/ 2147483647 w 714"/>
                    <a:gd name="T7" fmla="*/ 2147483647 h 1104"/>
                    <a:gd name="T8" fmla="*/ 2147483647 w 714"/>
                    <a:gd name="T9" fmla="*/ 2147483647 h 1104"/>
                    <a:gd name="T10" fmla="*/ 2147483647 w 714"/>
                    <a:gd name="T11" fmla="*/ 2147483647 h 1104"/>
                    <a:gd name="T12" fmla="*/ 2147483647 w 714"/>
                    <a:gd name="T13" fmla="*/ 2147483647 h 1104"/>
                    <a:gd name="T14" fmla="*/ 2147483647 w 714"/>
                    <a:gd name="T15" fmla="*/ 2147483647 h 1104"/>
                    <a:gd name="T16" fmla="*/ 2147483647 w 714"/>
                    <a:gd name="T17" fmla="*/ 2147483647 h 1104"/>
                    <a:gd name="T18" fmla="*/ 2147483647 w 714"/>
                    <a:gd name="T19" fmla="*/ 2147483647 h 1104"/>
                    <a:gd name="T20" fmla="*/ 2147483647 w 714"/>
                    <a:gd name="T21" fmla="*/ 2147483647 h 1104"/>
                    <a:gd name="T22" fmla="*/ 2147483647 w 714"/>
                    <a:gd name="T23" fmla="*/ 2147483647 h 1104"/>
                    <a:gd name="T24" fmla="*/ 0 w 714"/>
                    <a:gd name="T25" fmla="*/ 2147483647 h 1104"/>
                    <a:gd name="T26" fmla="*/ 2147483647 w 714"/>
                    <a:gd name="T27" fmla="*/ 2147483647 h 1104"/>
                    <a:gd name="T28" fmla="*/ 2147483647 w 714"/>
                    <a:gd name="T29" fmla="*/ 2147483647 h 1104"/>
                    <a:gd name="T30" fmla="*/ 2147483647 w 714"/>
                    <a:gd name="T31" fmla="*/ 2147483647 h 1104"/>
                    <a:gd name="T32" fmla="*/ 2147483647 w 714"/>
                    <a:gd name="T33" fmla="*/ 2147483647 h 1104"/>
                    <a:gd name="T34" fmla="*/ 2147483647 w 714"/>
                    <a:gd name="T35" fmla="*/ 2147483647 h 1104"/>
                    <a:gd name="T36" fmla="*/ 2147483647 w 714"/>
                    <a:gd name="T37" fmla="*/ 2147483647 h 1104"/>
                    <a:gd name="T38" fmla="*/ 2147483647 w 714"/>
                    <a:gd name="T39" fmla="*/ 2147483647 h 1104"/>
                    <a:gd name="T40" fmla="*/ 2147483647 w 714"/>
                    <a:gd name="T41" fmla="*/ 2147483647 h 1104"/>
                    <a:gd name="T42" fmla="*/ 2147483647 w 714"/>
                    <a:gd name="T43" fmla="*/ 2147483647 h 1104"/>
                    <a:gd name="T44" fmla="*/ 2147483647 w 714"/>
                    <a:gd name="T45" fmla="*/ 2147483647 h 1104"/>
                    <a:gd name="T46" fmla="*/ 2147483647 w 714"/>
                    <a:gd name="T47" fmla="*/ 2147483647 h 1104"/>
                    <a:gd name="T48" fmla="*/ 2147483647 w 714"/>
                    <a:gd name="T49" fmla="*/ 2147483647 h 1104"/>
                    <a:gd name="T50" fmla="*/ 2147483647 w 714"/>
                    <a:gd name="T51" fmla="*/ 2147483647 h 1104"/>
                    <a:gd name="T52" fmla="*/ 2147483647 w 714"/>
                    <a:gd name="T53" fmla="*/ 2147483647 h 1104"/>
                    <a:gd name="T54" fmla="*/ 2147483647 w 714"/>
                    <a:gd name="T55" fmla="*/ 2147483647 h 1104"/>
                    <a:gd name="T56" fmla="*/ 2147483647 w 714"/>
                    <a:gd name="T57" fmla="*/ 2147483647 h 1104"/>
                    <a:gd name="T58" fmla="*/ 2147483647 w 714"/>
                    <a:gd name="T59" fmla="*/ 2147483647 h 1104"/>
                    <a:gd name="T60" fmla="*/ 2147483647 w 714"/>
                    <a:gd name="T61" fmla="*/ 2147483647 h 1104"/>
                    <a:gd name="T62" fmla="*/ 2147483647 w 714"/>
                    <a:gd name="T63" fmla="*/ 2147483647 h 1104"/>
                    <a:gd name="T64" fmla="*/ 2147483647 w 714"/>
                    <a:gd name="T65" fmla="*/ 2147483647 h 1104"/>
                    <a:gd name="T66" fmla="*/ 2147483647 w 714"/>
                    <a:gd name="T67" fmla="*/ 2147483647 h 1104"/>
                    <a:gd name="T68" fmla="*/ 2147483647 w 714"/>
                    <a:gd name="T69" fmla="*/ 2147483647 h 1104"/>
                    <a:gd name="T70" fmla="*/ 2147483647 w 714"/>
                    <a:gd name="T71" fmla="*/ 2147483647 h 1104"/>
                    <a:gd name="T72" fmla="*/ 2147483647 w 714"/>
                    <a:gd name="T73" fmla="*/ 2147483647 h 1104"/>
                    <a:gd name="T74" fmla="*/ 2147483647 w 714"/>
                    <a:gd name="T75" fmla="*/ 2147483647 h 1104"/>
                    <a:gd name="T76" fmla="*/ 2147483647 w 714"/>
                    <a:gd name="T77" fmla="*/ 2147483647 h 1104"/>
                    <a:gd name="T78" fmla="*/ 2147483647 w 714"/>
                    <a:gd name="T79" fmla="*/ 2147483647 h 1104"/>
                    <a:gd name="T80" fmla="*/ 2147483647 w 714"/>
                    <a:gd name="T81" fmla="*/ 2147483647 h 1104"/>
                    <a:gd name="T82" fmla="*/ 2147483647 w 714"/>
                    <a:gd name="T83" fmla="*/ 2147483647 h 1104"/>
                    <a:gd name="T84" fmla="*/ 2147483647 w 714"/>
                    <a:gd name="T85" fmla="*/ 2147483647 h 1104"/>
                    <a:gd name="T86" fmla="*/ 2147483647 w 714"/>
                    <a:gd name="T87" fmla="*/ 2147483647 h 11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4"/>
                    <a:gd name="T133" fmla="*/ 0 h 1104"/>
                    <a:gd name="T134" fmla="*/ 714 w 714"/>
                    <a:gd name="T135" fmla="*/ 1104 h 11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4" h="1104">
                      <a:moveTo>
                        <a:pt x="108" y="114"/>
                      </a:moveTo>
                      <a:lnTo>
                        <a:pt x="120" y="126"/>
                      </a:lnTo>
                      <a:lnTo>
                        <a:pt x="120" y="138"/>
                      </a:lnTo>
                      <a:lnTo>
                        <a:pt x="126" y="150"/>
                      </a:lnTo>
                      <a:lnTo>
                        <a:pt x="132" y="156"/>
                      </a:lnTo>
                      <a:lnTo>
                        <a:pt x="138" y="168"/>
                      </a:lnTo>
                      <a:lnTo>
                        <a:pt x="144" y="174"/>
                      </a:lnTo>
                      <a:lnTo>
                        <a:pt x="156" y="198"/>
                      </a:lnTo>
                      <a:lnTo>
                        <a:pt x="162" y="204"/>
                      </a:lnTo>
                      <a:lnTo>
                        <a:pt x="162" y="210"/>
                      </a:lnTo>
                      <a:lnTo>
                        <a:pt x="186" y="210"/>
                      </a:lnTo>
                      <a:lnTo>
                        <a:pt x="192" y="222"/>
                      </a:lnTo>
                      <a:lnTo>
                        <a:pt x="198" y="228"/>
                      </a:lnTo>
                      <a:lnTo>
                        <a:pt x="204" y="240"/>
                      </a:lnTo>
                      <a:lnTo>
                        <a:pt x="240" y="258"/>
                      </a:lnTo>
                      <a:lnTo>
                        <a:pt x="312" y="282"/>
                      </a:lnTo>
                      <a:lnTo>
                        <a:pt x="336" y="288"/>
                      </a:lnTo>
                      <a:lnTo>
                        <a:pt x="348" y="294"/>
                      </a:lnTo>
                      <a:lnTo>
                        <a:pt x="366" y="300"/>
                      </a:lnTo>
                      <a:lnTo>
                        <a:pt x="378" y="312"/>
                      </a:lnTo>
                      <a:lnTo>
                        <a:pt x="414" y="330"/>
                      </a:lnTo>
                      <a:lnTo>
                        <a:pt x="486" y="324"/>
                      </a:lnTo>
                      <a:lnTo>
                        <a:pt x="276" y="570"/>
                      </a:lnTo>
                      <a:lnTo>
                        <a:pt x="192" y="570"/>
                      </a:lnTo>
                      <a:lnTo>
                        <a:pt x="186" y="576"/>
                      </a:lnTo>
                      <a:lnTo>
                        <a:pt x="174" y="576"/>
                      </a:lnTo>
                      <a:lnTo>
                        <a:pt x="162" y="582"/>
                      </a:lnTo>
                      <a:lnTo>
                        <a:pt x="156" y="588"/>
                      </a:lnTo>
                      <a:lnTo>
                        <a:pt x="144" y="594"/>
                      </a:lnTo>
                      <a:lnTo>
                        <a:pt x="144" y="606"/>
                      </a:lnTo>
                      <a:lnTo>
                        <a:pt x="126" y="624"/>
                      </a:lnTo>
                      <a:lnTo>
                        <a:pt x="102" y="624"/>
                      </a:lnTo>
                      <a:lnTo>
                        <a:pt x="90" y="630"/>
                      </a:lnTo>
                      <a:lnTo>
                        <a:pt x="78" y="630"/>
                      </a:lnTo>
                      <a:lnTo>
                        <a:pt x="66" y="642"/>
                      </a:lnTo>
                      <a:lnTo>
                        <a:pt x="66" y="654"/>
                      </a:lnTo>
                      <a:lnTo>
                        <a:pt x="60" y="660"/>
                      </a:lnTo>
                      <a:lnTo>
                        <a:pt x="42" y="696"/>
                      </a:lnTo>
                      <a:lnTo>
                        <a:pt x="0" y="738"/>
                      </a:lnTo>
                      <a:lnTo>
                        <a:pt x="0" y="1038"/>
                      </a:lnTo>
                      <a:lnTo>
                        <a:pt x="42" y="1104"/>
                      </a:lnTo>
                      <a:lnTo>
                        <a:pt x="48" y="1086"/>
                      </a:lnTo>
                      <a:lnTo>
                        <a:pt x="84" y="1032"/>
                      </a:lnTo>
                      <a:lnTo>
                        <a:pt x="96" y="1008"/>
                      </a:lnTo>
                      <a:lnTo>
                        <a:pt x="114" y="996"/>
                      </a:lnTo>
                      <a:lnTo>
                        <a:pt x="144" y="966"/>
                      </a:lnTo>
                      <a:lnTo>
                        <a:pt x="150" y="954"/>
                      </a:lnTo>
                      <a:lnTo>
                        <a:pt x="162" y="936"/>
                      </a:lnTo>
                      <a:lnTo>
                        <a:pt x="192" y="906"/>
                      </a:lnTo>
                      <a:lnTo>
                        <a:pt x="216" y="876"/>
                      </a:lnTo>
                      <a:lnTo>
                        <a:pt x="246" y="846"/>
                      </a:lnTo>
                      <a:lnTo>
                        <a:pt x="264" y="840"/>
                      </a:lnTo>
                      <a:lnTo>
                        <a:pt x="276" y="828"/>
                      </a:lnTo>
                      <a:lnTo>
                        <a:pt x="294" y="816"/>
                      </a:lnTo>
                      <a:lnTo>
                        <a:pt x="318" y="804"/>
                      </a:lnTo>
                      <a:lnTo>
                        <a:pt x="336" y="786"/>
                      </a:lnTo>
                      <a:lnTo>
                        <a:pt x="372" y="756"/>
                      </a:lnTo>
                      <a:lnTo>
                        <a:pt x="420" y="708"/>
                      </a:lnTo>
                      <a:lnTo>
                        <a:pt x="438" y="684"/>
                      </a:lnTo>
                      <a:lnTo>
                        <a:pt x="462" y="654"/>
                      </a:lnTo>
                      <a:lnTo>
                        <a:pt x="492" y="618"/>
                      </a:lnTo>
                      <a:lnTo>
                        <a:pt x="516" y="570"/>
                      </a:lnTo>
                      <a:lnTo>
                        <a:pt x="528" y="540"/>
                      </a:lnTo>
                      <a:lnTo>
                        <a:pt x="546" y="516"/>
                      </a:lnTo>
                      <a:lnTo>
                        <a:pt x="558" y="498"/>
                      </a:lnTo>
                      <a:lnTo>
                        <a:pt x="564" y="492"/>
                      </a:lnTo>
                      <a:lnTo>
                        <a:pt x="570" y="480"/>
                      </a:lnTo>
                      <a:lnTo>
                        <a:pt x="576" y="474"/>
                      </a:lnTo>
                      <a:lnTo>
                        <a:pt x="576" y="450"/>
                      </a:lnTo>
                      <a:lnTo>
                        <a:pt x="582" y="432"/>
                      </a:lnTo>
                      <a:lnTo>
                        <a:pt x="588" y="420"/>
                      </a:lnTo>
                      <a:lnTo>
                        <a:pt x="588" y="402"/>
                      </a:lnTo>
                      <a:lnTo>
                        <a:pt x="594" y="390"/>
                      </a:lnTo>
                      <a:lnTo>
                        <a:pt x="606" y="378"/>
                      </a:lnTo>
                      <a:lnTo>
                        <a:pt x="612" y="366"/>
                      </a:lnTo>
                      <a:lnTo>
                        <a:pt x="624" y="354"/>
                      </a:lnTo>
                      <a:lnTo>
                        <a:pt x="624" y="324"/>
                      </a:lnTo>
                      <a:lnTo>
                        <a:pt x="636" y="318"/>
                      </a:lnTo>
                      <a:lnTo>
                        <a:pt x="642" y="306"/>
                      </a:lnTo>
                      <a:lnTo>
                        <a:pt x="660" y="252"/>
                      </a:lnTo>
                      <a:lnTo>
                        <a:pt x="672" y="252"/>
                      </a:lnTo>
                      <a:lnTo>
                        <a:pt x="672" y="246"/>
                      </a:lnTo>
                      <a:lnTo>
                        <a:pt x="684" y="234"/>
                      </a:lnTo>
                      <a:lnTo>
                        <a:pt x="684" y="138"/>
                      </a:lnTo>
                      <a:lnTo>
                        <a:pt x="708" y="126"/>
                      </a:lnTo>
                      <a:lnTo>
                        <a:pt x="702" y="54"/>
                      </a:lnTo>
                      <a:lnTo>
                        <a:pt x="708" y="42"/>
                      </a:lnTo>
                      <a:lnTo>
                        <a:pt x="708" y="36"/>
                      </a:lnTo>
                      <a:lnTo>
                        <a:pt x="714" y="24"/>
                      </a:lnTo>
                      <a:lnTo>
                        <a:pt x="714" y="12"/>
                      </a:lnTo>
                      <a:lnTo>
                        <a:pt x="690" y="0"/>
                      </a:lnTo>
                      <a:lnTo>
                        <a:pt x="672" y="0"/>
                      </a:lnTo>
                      <a:lnTo>
                        <a:pt x="666" y="12"/>
                      </a:lnTo>
                      <a:lnTo>
                        <a:pt x="654" y="18"/>
                      </a:lnTo>
                      <a:lnTo>
                        <a:pt x="648" y="30"/>
                      </a:lnTo>
                      <a:lnTo>
                        <a:pt x="624" y="42"/>
                      </a:lnTo>
                      <a:lnTo>
                        <a:pt x="612" y="42"/>
                      </a:lnTo>
                      <a:lnTo>
                        <a:pt x="594" y="48"/>
                      </a:lnTo>
                      <a:lnTo>
                        <a:pt x="582" y="54"/>
                      </a:lnTo>
                      <a:lnTo>
                        <a:pt x="564" y="54"/>
                      </a:lnTo>
                      <a:lnTo>
                        <a:pt x="546" y="48"/>
                      </a:lnTo>
                      <a:lnTo>
                        <a:pt x="534" y="42"/>
                      </a:lnTo>
                      <a:lnTo>
                        <a:pt x="516" y="48"/>
                      </a:lnTo>
                      <a:lnTo>
                        <a:pt x="510" y="54"/>
                      </a:lnTo>
                      <a:lnTo>
                        <a:pt x="498" y="60"/>
                      </a:lnTo>
                      <a:lnTo>
                        <a:pt x="492" y="72"/>
                      </a:lnTo>
                      <a:lnTo>
                        <a:pt x="486" y="78"/>
                      </a:lnTo>
                      <a:lnTo>
                        <a:pt x="474" y="78"/>
                      </a:lnTo>
                      <a:lnTo>
                        <a:pt x="462" y="72"/>
                      </a:lnTo>
                      <a:lnTo>
                        <a:pt x="456" y="60"/>
                      </a:lnTo>
                      <a:lnTo>
                        <a:pt x="444" y="60"/>
                      </a:lnTo>
                      <a:lnTo>
                        <a:pt x="438" y="66"/>
                      </a:lnTo>
                      <a:lnTo>
                        <a:pt x="426" y="72"/>
                      </a:lnTo>
                      <a:lnTo>
                        <a:pt x="396" y="102"/>
                      </a:lnTo>
                      <a:lnTo>
                        <a:pt x="384" y="108"/>
                      </a:lnTo>
                      <a:lnTo>
                        <a:pt x="372" y="108"/>
                      </a:lnTo>
                      <a:lnTo>
                        <a:pt x="360" y="102"/>
                      </a:lnTo>
                      <a:lnTo>
                        <a:pt x="354" y="96"/>
                      </a:lnTo>
                      <a:lnTo>
                        <a:pt x="342" y="90"/>
                      </a:lnTo>
                      <a:lnTo>
                        <a:pt x="330" y="90"/>
                      </a:lnTo>
                      <a:lnTo>
                        <a:pt x="306" y="102"/>
                      </a:lnTo>
                      <a:lnTo>
                        <a:pt x="294" y="114"/>
                      </a:lnTo>
                      <a:lnTo>
                        <a:pt x="270" y="126"/>
                      </a:lnTo>
                      <a:lnTo>
                        <a:pt x="210" y="126"/>
                      </a:lnTo>
                      <a:lnTo>
                        <a:pt x="192" y="108"/>
                      </a:lnTo>
                      <a:lnTo>
                        <a:pt x="186" y="96"/>
                      </a:lnTo>
                      <a:lnTo>
                        <a:pt x="174" y="90"/>
                      </a:lnTo>
                      <a:lnTo>
                        <a:pt x="168" y="78"/>
                      </a:lnTo>
                      <a:lnTo>
                        <a:pt x="168" y="66"/>
                      </a:lnTo>
                      <a:lnTo>
                        <a:pt x="156" y="54"/>
                      </a:lnTo>
                      <a:lnTo>
                        <a:pt x="150" y="54"/>
                      </a:lnTo>
                      <a:lnTo>
                        <a:pt x="126" y="78"/>
                      </a:lnTo>
                      <a:lnTo>
                        <a:pt x="108" y="11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1" name="Rwanda">
                  <a:extLst>
                    <a:ext uri="{FF2B5EF4-FFF2-40B4-BE49-F238E27FC236}">
                      <a16:creationId xmlns:a16="http://schemas.microsoft.com/office/drawing/2014/main" id="{4078B223-2B2D-4498-8A31-E7C677E63189}"/>
                    </a:ext>
                  </a:extLst>
                </p:cNvPr>
                <p:cNvSpPr>
                  <a:spLocks/>
                </p:cNvSpPr>
                <p:nvPr/>
              </p:nvSpPr>
              <p:spPr bwMode="gray">
                <a:xfrm>
                  <a:off x="5012691" y="3413713"/>
                  <a:ext cx="56526" cy="55035"/>
                </a:xfrm>
                <a:custGeom>
                  <a:avLst/>
                  <a:gdLst>
                    <a:gd name="T0" fmla="*/ 2147483647 w 150"/>
                    <a:gd name="T1" fmla="*/ 2147483647 h 150"/>
                    <a:gd name="T2" fmla="*/ 2147483647 w 150"/>
                    <a:gd name="T3" fmla="*/ 2147483647 h 150"/>
                    <a:gd name="T4" fmla="*/ 2147483647 w 150"/>
                    <a:gd name="T5" fmla="*/ 2147483647 h 150"/>
                    <a:gd name="T6" fmla="*/ 2147483647 w 150"/>
                    <a:gd name="T7" fmla="*/ 2147483647 h 150"/>
                    <a:gd name="T8" fmla="*/ 2147483647 w 150"/>
                    <a:gd name="T9" fmla="*/ 2147483647 h 150"/>
                    <a:gd name="T10" fmla="*/ 2147483647 w 150"/>
                    <a:gd name="T11" fmla="*/ 2147483647 h 150"/>
                    <a:gd name="T12" fmla="*/ 2147483647 w 150"/>
                    <a:gd name="T13" fmla="*/ 2147483647 h 150"/>
                    <a:gd name="T14" fmla="*/ 2147483647 w 150"/>
                    <a:gd name="T15" fmla="*/ 2147483647 h 150"/>
                    <a:gd name="T16" fmla="*/ 2147483647 w 150"/>
                    <a:gd name="T17" fmla="*/ 2147483647 h 150"/>
                    <a:gd name="T18" fmla="*/ 2147483647 w 150"/>
                    <a:gd name="T19" fmla="*/ 2147483647 h 150"/>
                    <a:gd name="T20" fmla="*/ 2147483647 w 150"/>
                    <a:gd name="T21" fmla="*/ 2147483647 h 150"/>
                    <a:gd name="T22" fmla="*/ 2147483647 w 150"/>
                    <a:gd name="T23" fmla="*/ 2147483647 h 150"/>
                    <a:gd name="T24" fmla="*/ 2147483647 w 150"/>
                    <a:gd name="T25" fmla="*/ 2147483647 h 150"/>
                    <a:gd name="T26" fmla="*/ 2147483647 w 150"/>
                    <a:gd name="T27" fmla="*/ 0 h 150"/>
                    <a:gd name="T28" fmla="*/ 2147483647 w 150"/>
                    <a:gd name="T29" fmla="*/ 2147483647 h 150"/>
                    <a:gd name="T30" fmla="*/ 2147483647 w 150"/>
                    <a:gd name="T31" fmla="*/ 2147483647 h 150"/>
                    <a:gd name="T32" fmla="*/ 2147483647 w 150"/>
                    <a:gd name="T33" fmla="*/ 2147483647 h 150"/>
                    <a:gd name="T34" fmla="*/ 2147483647 w 150"/>
                    <a:gd name="T35" fmla="*/ 2147483647 h 150"/>
                    <a:gd name="T36" fmla="*/ 2147483647 w 150"/>
                    <a:gd name="T37" fmla="*/ 2147483647 h 150"/>
                    <a:gd name="T38" fmla="*/ 2147483647 w 150"/>
                    <a:gd name="T39" fmla="*/ 2147483647 h 150"/>
                    <a:gd name="T40" fmla="*/ 2147483647 w 150"/>
                    <a:gd name="T41" fmla="*/ 2147483647 h 150"/>
                    <a:gd name="T42" fmla="*/ 2147483647 w 150"/>
                    <a:gd name="T43" fmla="*/ 2147483647 h 150"/>
                    <a:gd name="T44" fmla="*/ 2147483647 w 150"/>
                    <a:gd name="T45" fmla="*/ 2147483647 h 150"/>
                    <a:gd name="T46" fmla="*/ 2147483647 w 150"/>
                    <a:gd name="T47" fmla="*/ 2147483647 h 150"/>
                    <a:gd name="T48" fmla="*/ 2147483647 w 150"/>
                    <a:gd name="T49" fmla="*/ 2147483647 h 150"/>
                    <a:gd name="T50" fmla="*/ 2147483647 w 150"/>
                    <a:gd name="T51" fmla="*/ 2147483647 h 150"/>
                    <a:gd name="T52" fmla="*/ 2147483647 w 150"/>
                    <a:gd name="T53" fmla="*/ 2147483647 h 150"/>
                    <a:gd name="T54" fmla="*/ 2147483647 w 150"/>
                    <a:gd name="T55" fmla="*/ 2147483647 h 150"/>
                    <a:gd name="T56" fmla="*/ 2147483647 w 150"/>
                    <a:gd name="T57" fmla="*/ 2147483647 h 150"/>
                    <a:gd name="T58" fmla="*/ 2147483647 w 150"/>
                    <a:gd name="T59" fmla="*/ 2147483647 h 150"/>
                    <a:gd name="T60" fmla="*/ 0 w 150"/>
                    <a:gd name="T61" fmla="*/ 2147483647 h 150"/>
                    <a:gd name="T62" fmla="*/ 0 w 150"/>
                    <a:gd name="T63" fmla="*/ 2147483647 h 150"/>
                    <a:gd name="T64" fmla="*/ 2147483647 w 150"/>
                    <a:gd name="T65" fmla="*/ 2147483647 h 150"/>
                    <a:gd name="T66" fmla="*/ 2147483647 w 150"/>
                    <a:gd name="T67" fmla="*/ 2147483647 h 150"/>
                    <a:gd name="T68" fmla="*/ 2147483647 w 150"/>
                    <a:gd name="T69" fmla="*/ 2147483647 h 150"/>
                    <a:gd name="T70" fmla="*/ 2147483647 w 150"/>
                    <a:gd name="T71" fmla="*/ 2147483647 h 150"/>
                    <a:gd name="T72" fmla="*/ 2147483647 w 150"/>
                    <a:gd name="T73" fmla="*/ 2147483647 h 1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50"/>
                    <a:gd name="T113" fmla="*/ 150 w 150"/>
                    <a:gd name="T114" fmla="*/ 150 h 1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50">
                      <a:moveTo>
                        <a:pt x="48" y="150"/>
                      </a:moveTo>
                      <a:lnTo>
                        <a:pt x="54" y="150"/>
                      </a:lnTo>
                      <a:lnTo>
                        <a:pt x="60" y="144"/>
                      </a:lnTo>
                      <a:lnTo>
                        <a:pt x="72" y="138"/>
                      </a:lnTo>
                      <a:lnTo>
                        <a:pt x="78" y="114"/>
                      </a:lnTo>
                      <a:lnTo>
                        <a:pt x="138" y="114"/>
                      </a:lnTo>
                      <a:lnTo>
                        <a:pt x="150" y="102"/>
                      </a:lnTo>
                      <a:lnTo>
                        <a:pt x="150" y="72"/>
                      </a:lnTo>
                      <a:lnTo>
                        <a:pt x="144" y="66"/>
                      </a:lnTo>
                      <a:lnTo>
                        <a:pt x="144" y="48"/>
                      </a:lnTo>
                      <a:lnTo>
                        <a:pt x="138" y="42"/>
                      </a:lnTo>
                      <a:lnTo>
                        <a:pt x="132" y="30"/>
                      </a:lnTo>
                      <a:lnTo>
                        <a:pt x="126" y="24"/>
                      </a:lnTo>
                      <a:lnTo>
                        <a:pt x="132" y="0"/>
                      </a:lnTo>
                      <a:lnTo>
                        <a:pt x="108" y="6"/>
                      </a:lnTo>
                      <a:lnTo>
                        <a:pt x="108" y="12"/>
                      </a:lnTo>
                      <a:lnTo>
                        <a:pt x="102" y="18"/>
                      </a:lnTo>
                      <a:lnTo>
                        <a:pt x="90" y="42"/>
                      </a:lnTo>
                      <a:lnTo>
                        <a:pt x="84" y="42"/>
                      </a:lnTo>
                      <a:lnTo>
                        <a:pt x="72" y="30"/>
                      </a:lnTo>
                      <a:lnTo>
                        <a:pt x="54" y="30"/>
                      </a:lnTo>
                      <a:lnTo>
                        <a:pt x="48" y="36"/>
                      </a:lnTo>
                      <a:lnTo>
                        <a:pt x="24" y="48"/>
                      </a:lnTo>
                      <a:lnTo>
                        <a:pt x="18" y="54"/>
                      </a:lnTo>
                      <a:lnTo>
                        <a:pt x="18" y="60"/>
                      </a:lnTo>
                      <a:lnTo>
                        <a:pt x="24" y="72"/>
                      </a:lnTo>
                      <a:lnTo>
                        <a:pt x="30" y="78"/>
                      </a:lnTo>
                      <a:lnTo>
                        <a:pt x="30" y="90"/>
                      </a:lnTo>
                      <a:lnTo>
                        <a:pt x="18" y="102"/>
                      </a:lnTo>
                      <a:lnTo>
                        <a:pt x="6" y="108"/>
                      </a:lnTo>
                      <a:lnTo>
                        <a:pt x="0" y="120"/>
                      </a:lnTo>
                      <a:lnTo>
                        <a:pt x="0" y="126"/>
                      </a:lnTo>
                      <a:lnTo>
                        <a:pt x="6" y="132"/>
                      </a:lnTo>
                      <a:lnTo>
                        <a:pt x="30" y="132"/>
                      </a:lnTo>
                      <a:lnTo>
                        <a:pt x="36" y="144"/>
                      </a:lnTo>
                      <a:lnTo>
                        <a:pt x="42" y="150"/>
                      </a:lnTo>
                      <a:lnTo>
                        <a:pt x="48" y="15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2" name="Qatar">
                  <a:extLst>
                    <a:ext uri="{FF2B5EF4-FFF2-40B4-BE49-F238E27FC236}">
                      <a16:creationId xmlns:a16="http://schemas.microsoft.com/office/drawing/2014/main" id="{06FBDFB0-C780-4784-968A-C64413F1FCF1}"/>
                    </a:ext>
                  </a:extLst>
                </p:cNvPr>
                <p:cNvSpPr>
                  <a:spLocks/>
                </p:cNvSpPr>
                <p:nvPr/>
              </p:nvSpPr>
              <p:spPr bwMode="gray">
                <a:xfrm>
                  <a:off x="5577952" y="2585221"/>
                  <a:ext cx="23800" cy="53547"/>
                </a:xfrm>
                <a:custGeom>
                  <a:avLst/>
                  <a:gdLst>
                    <a:gd name="T0" fmla="*/ 2147483647 w 66"/>
                    <a:gd name="T1" fmla="*/ 2147483647 h 144"/>
                    <a:gd name="T2" fmla="*/ 2147483647 w 66"/>
                    <a:gd name="T3" fmla="*/ 2147483647 h 144"/>
                    <a:gd name="T4" fmla="*/ 2147483647 w 66"/>
                    <a:gd name="T5" fmla="*/ 2147483647 h 144"/>
                    <a:gd name="T6" fmla="*/ 2147483647 w 66"/>
                    <a:gd name="T7" fmla="*/ 2147483647 h 144"/>
                    <a:gd name="T8" fmla="*/ 2147483647 w 66"/>
                    <a:gd name="T9" fmla="*/ 2147483647 h 144"/>
                    <a:gd name="T10" fmla="*/ 2147483647 w 66"/>
                    <a:gd name="T11" fmla="*/ 2147483647 h 144"/>
                    <a:gd name="T12" fmla="*/ 2147483647 w 66"/>
                    <a:gd name="T13" fmla="*/ 2147483647 h 144"/>
                    <a:gd name="T14" fmla="*/ 2147483647 w 66"/>
                    <a:gd name="T15" fmla="*/ 2147483647 h 144"/>
                    <a:gd name="T16" fmla="*/ 2147483647 w 66"/>
                    <a:gd name="T17" fmla="*/ 2147483647 h 144"/>
                    <a:gd name="T18" fmla="*/ 2147483647 w 66"/>
                    <a:gd name="T19" fmla="*/ 0 h 144"/>
                    <a:gd name="T20" fmla="*/ 2147483647 w 66"/>
                    <a:gd name="T21" fmla="*/ 0 h 144"/>
                    <a:gd name="T22" fmla="*/ 2147483647 w 66"/>
                    <a:gd name="T23" fmla="*/ 2147483647 h 144"/>
                    <a:gd name="T24" fmla="*/ 2147483647 w 66"/>
                    <a:gd name="T25" fmla="*/ 2147483647 h 144"/>
                    <a:gd name="T26" fmla="*/ 2147483647 w 66"/>
                    <a:gd name="T27" fmla="*/ 2147483647 h 144"/>
                    <a:gd name="T28" fmla="*/ 2147483647 w 66"/>
                    <a:gd name="T29" fmla="*/ 2147483647 h 144"/>
                    <a:gd name="T30" fmla="*/ 0 w 66"/>
                    <a:gd name="T31" fmla="*/ 2147483647 h 144"/>
                    <a:gd name="T32" fmla="*/ 2147483647 w 66"/>
                    <a:gd name="T33" fmla="*/ 2147483647 h 144"/>
                    <a:gd name="T34" fmla="*/ 2147483647 w 66"/>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144"/>
                    <a:gd name="T56" fmla="*/ 66 w 66"/>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144">
                      <a:moveTo>
                        <a:pt x="24" y="132"/>
                      </a:moveTo>
                      <a:lnTo>
                        <a:pt x="36" y="144"/>
                      </a:lnTo>
                      <a:lnTo>
                        <a:pt x="48" y="132"/>
                      </a:lnTo>
                      <a:lnTo>
                        <a:pt x="54" y="114"/>
                      </a:lnTo>
                      <a:lnTo>
                        <a:pt x="60" y="102"/>
                      </a:lnTo>
                      <a:lnTo>
                        <a:pt x="66" y="84"/>
                      </a:lnTo>
                      <a:lnTo>
                        <a:pt x="66" y="30"/>
                      </a:lnTo>
                      <a:lnTo>
                        <a:pt x="54" y="18"/>
                      </a:lnTo>
                      <a:lnTo>
                        <a:pt x="48" y="6"/>
                      </a:lnTo>
                      <a:lnTo>
                        <a:pt x="36" y="0"/>
                      </a:lnTo>
                      <a:lnTo>
                        <a:pt x="30" y="0"/>
                      </a:lnTo>
                      <a:lnTo>
                        <a:pt x="24" y="6"/>
                      </a:lnTo>
                      <a:lnTo>
                        <a:pt x="18" y="18"/>
                      </a:lnTo>
                      <a:lnTo>
                        <a:pt x="12" y="36"/>
                      </a:lnTo>
                      <a:lnTo>
                        <a:pt x="12" y="108"/>
                      </a:lnTo>
                      <a:lnTo>
                        <a:pt x="0" y="120"/>
                      </a:lnTo>
                      <a:lnTo>
                        <a:pt x="6" y="132"/>
                      </a:lnTo>
                      <a:lnTo>
                        <a:pt x="24" y="13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3" name="Oman">
                  <a:extLst>
                    <a:ext uri="{FF2B5EF4-FFF2-40B4-BE49-F238E27FC236}">
                      <a16:creationId xmlns:a16="http://schemas.microsoft.com/office/drawing/2014/main" id="{58F909D5-34A5-4BE7-9D2E-D70D7292B3F0}"/>
                    </a:ext>
                  </a:extLst>
                </p:cNvPr>
                <p:cNvSpPr>
                  <a:spLocks/>
                </p:cNvSpPr>
                <p:nvPr/>
              </p:nvSpPr>
              <p:spPr bwMode="gray">
                <a:xfrm>
                  <a:off x="5618115" y="2620919"/>
                  <a:ext cx="203791" cy="254349"/>
                </a:xfrm>
                <a:custGeom>
                  <a:avLst/>
                  <a:gdLst>
                    <a:gd name="T0" fmla="*/ 2147483647 w 540"/>
                    <a:gd name="T1" fmla="*/ 2147483647 h 672"/>
                    <a:gd name="T2" fmla="*/ 2147483647 w 540"/>
                    <a:gd name="T3" fmla="*/ 2147483647 h 672"/>
                    <a:gd name="T4" fmla="*/ 2147483647 w 540"/>
                    <a:gd name="T5" fmla="*/ 2147483647 h 672"/>
                    <a:gd name="T6" fmla="*/ 2147483647 w 540"/>
                    <a:gd name="T7" fmla="*/ 2147483647 h 672"/>
                    <a:gd name="T8" fmla="*/ 2147483647 w 540"/>
                    <a:gd name="T9" fmla="*/ 2147483647 h 672"/>
                    <a:gd name="T10" fmla="*/ 2147483647 w 540"/>
                    <a:gd name="T11" fmla="*/ 2147483647 h 672"/>
                    <a:gd name="T12" fmla="*/ 2147483647 w 540"/>
                    <a:gd name="T13" fmla="*/ 2147483647 h 672"/>
                    <a:gd name="T14" fmla="*/ 2147483647 w 540"/>
                    <a:gd name="T15" fmla="*/ 2147483647 h 672"/>
                    <a:gd name="T16" fmla="*/ 2147483647 w 540"/>
                    <a:gd name="T17" fmla="*/ 2147483647 h 672"/>
                    <a:gd name="T18" fmla="*/ 2147483647 w 540"/>
                    <a:gd name="T19" fmla="*/ 2147483647 h 672"/>
                    <a:gd name="T20" fmla="*/ 2147483647 w 540"/>
                    <a:gd name="T21" fmla="*/ 2147483647 h 672"/>
                    <a:gd name="T22" fmla="*/ 2147483647 w 540"/>
                    <a:gd name="T23" fmla="*/ 2147483647 h 672"/>
                    <a:gd name="T24" fmla="*/ 2147483647 w 540"/>
                    <a:gd name="T25" fmla="*/ 2147483647 h 672"/>
                    <a:gd name="T26" fmla="*/ 2147483647 w 540"/>
                    <a:gd name="T27" fmla="*/ 2147483647 h 672"/>
                    <a:gd name="T28" fmla="*/ 2147483647 w 540"/>
                    <a:gd name="T29" fmla="*/ 2147483647 h 672"/>
                    <a:gd name="T30" fmla="*/ 2147483647 w 540"/>
                    <a:gd name="T31" fmla="*/ 2147483647 h 672"/>
                    <a:gd name="T32" fmla="*/ 2147483647 w 540"/>
                    <a:gd name="T33" fmla="*/ 2147483647 h 672"/>
                    <a:gd name="T34" fmla="*/ 2147483647 w 540"/>
                    <a:gd name="T35" fmla="*/ 2147483647 h 672"/>
                    <a:gd name="T36" fmla="*/ 2147483647 w 540"/>
                    <a:gd name="T37" fmla="*/ 2147483647 h 672"/>
                    <a:gd name="T38" fmla="*/ 2147483647 w 540"/>
                    <a:gd name="T39" fmla="*/ 2147483647 h 672"/>
                    <a:gd name="T40" fmla="*/ 2147483647 w 540"/>
                    <a:gd name="T41" fmla="*/ 2147483647 h 672"/>
                    <a:gd name="T42" fmla="*/ 2147483647 w 540"/>
                    <a:gd name="T43" fmla="*/ 2147483647 h 672"/>
                    <a:gd name="T44" fmla="*/ 2147483647 w 540"/>
                    <a:gd name="T45" fmla="*/ 2147483647 h 672"/>
                    <a:gd name="T46" fmla="*/ 2147483647 w 540"/>
                    <a:gd name="T47" fmla="*/ 2147483647 h 672"/>
                    <a:gd name="T48" fmla="*/ 2147483647 w 540"/>
                    <a:gd name="T49" fmla="*/ 2147483647 h 672"/>
                    <a:gd name="T50" fmla="*/ 2147483647 w 540"/>
                    <a:gd name="T51" fmla="*/ 0 h 672"/>
                    <a:gd name="T52" fmla="*/ 2147483647 w 540"/>
                    <a:gd name="T53" fmla="*/ 2147483647 h 672"/>
                    <a:gd name="T54" fmla="*/ 2147483647 w 540"/>
                    <a:gd name="T55" fmla="*/ 2147483647 h 672"/>
                    <a:gd name="T56" fmla="*/ 2147483647 w 540"/>
                    <a:gd name="T57" fmla="*/ 2147483647 h 672"/>
                    <a:gd name="T58" fmla="*/ 2147483647 w 540"/>
                    <a:gd name="T59" fmla="*/ 2147483647 h 672"/>
                    <a:gd name="T60" fmla="*/ 2147483647 w 540"/>
                    <a:gd name="T61" fmla="*/ 2147483647 h 672"/>
                    <a:gd name="T62" fmla="*/ 2147483647 w 540"/>
                    <a:gd name="T63" fmla="*/ 2147483647 h 672"/>
                    <a:gd name="T64" fmla="*/ 2147483647 w 540"/>
                    <a:gd name="T65" fmla="*/ 2147483647 h 672"/>
                    <a:gd name="T66" fmla="*/ 2147483647 w 540"/>
                    <a:gd name="T67" fmla="*/ 2147483647 h 672"/>
                    <a:gd name="T68" fmla="*/ 2147483647 w 540"/>
                    <a:gd name="T69" fmla="*/ 2147483647 h 672"/>
                    <a:gd name="T70" fmla="*/ 2147483647 w 540"/>
                    <a:gd name="T71" fmla="*/ 2147483647 h 672"/>
                    <a:gd name="T72" fmla="*/ 2147483647 w 540"/>
                    <a:gd name="T73" fmla="*/ 2147483647 h 672"/>
                    <a:gd name="T74" fmla="*/ 2147483647 w 540"/>
                    <a:gd name="T75" fmla="*/ 2147483647 h 672"/>
                    <a:gd name="T76" fmla="*/ 2147483647 w 540"/>
                    <a:gd name="T77" fmla="*/ 2147483647 h 672"/>
                    <a:gd name="T78" fmla="*/ 2147483647 w 540"/>
                    <a:gd name="T79" fmla="*/ 2147483647 h 672"/>
                    <a:gd name="T80" fmla="*/ 2147483647 w 540"/>
                    <a:gd name="T81" fmla="*/ 2147483647 h 672"/>
                    <a:gd name="T82" fmla="*/ 2147483647 w 540"/>
                    <a:gd name="T83" fmla="*/ 2147483647 h 672"/>
                    <a:gd name="T84" fmla="*/ 2147483647 w 540"/>
                    <a:gd name="T85" fmla="*/ 2147483647 h 672"/>
                    <a:gd name="T86" fmla="*/ 2147483647 w 540"/>
                    <a:gd name="T87" fmla="*/ 2147483647 h 6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0"/>
                    <a:gd name="T133" fmla="*/ 0 h 672"/>
                    <a:gd name="T134" fmla="*/ 540 w 540"/>
                    <a:gd name="T135" fmla="*/ 672 h 6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0" h="672">
                      <a:moveTo>
                        <a:pt x="258" y="564"/>
                      </a:moveTo>
                      <a:lnTo>
                        <a:pt x="276" y="564"/>
                      </a:lnTo>
                      <a:lnTo>
                        <a:pt x="288" y="558"/>
                      </a:lnTo>
                      <a:lnTo>
                        <a:pt x="306" y="552"/>
                      </a:lnTo>
                      <a:lnTo>
                        <a:pt x="330" y="540"/>
                      </a:lnTo>
                      <a:lnTo>
                        <a:pt x="336" y="528"/>
                      </a:lnTo>
                      <a:lnTo>
                        <a:pt x="342" y="510"/>
                      </a:lnTo>
                      <a:lnTo>
                        <a:pt x="342" y="498"/>
                      </a:lnTo>
                      <a:lnTo>
                        <a:pt x="348" y="498"/>
                      </a:lnTo>
                      <a:lnTo>
                        <a:pt x="354" y="492"/>
                      </a:lnTo>
                      <a:lnTo>
                        <a:pt x="366" y="486"/>
                      </a:lnTo>
                      <a:lnTo>
                        <a:pt x="384" y="480"/>
                      </a:lnTo>
                      <a:lnTo>
                        <a:pt x="408" y="456"/>
                      </a:lnTo>
                      <a:lnTo>
                        <a:pt x="414" y="444"/>
                      </a:lnTo>
                      <a:lnTo>
                        <a:pt x="414" y="426"/>
                      </a:lnTo>
                      <a:lnTo>
                        <a:pt x="420" y="408"/>
                      </a:lnTo>
                      <a:lnTo>
                        <a:pt x="420" y="378"/>
                      </a:lnTo>
                      <a:lnTo>
                        <a:pt x="426" y="372"/>
                      </a:lnTo>
                      <a:lnTo>
                        <a:pt x="432" y="372"/>
                      </a:lnTo>
                      <a:lnTo>
                        <a:pt x="444" y="378"/>
                      </a:lnTo>
                      <a:lnTo>
                        <a:pt x="450" y="384"/>
                      </a:lnTo>
                      <a:lnTo>
                        <a:pt x="462" y="384"/>
                      </a:lnTo>
                      <a:lnTo>
                        <a:pt x="468" y="378"/>
                      </a:lnTo>
                      <a:lnTo>
                        <a:pt x="480" y="354"/>
                      </a:lnTo>
                      <a:lnTo>
                        <a:pt x="480" y="330"/>
                      </a:lnTo>
                      <a:lnTo>
                        <a:pt x="534" y="276"/>
                      </a:lnTo>
                      <a:lnTo>
                        <a:pt x="534" y="264"/>
                      </a:lnTo>
                      <a:lnTo>
                        <a:pt x="540" y="252"/>
                      </a:lnTo>
                      <a:lnTo>
                        <a:pt x="540" y="204"/>
                      </a:lnTo>
                      <a:lnTo>
                        <a:pt x="528" y="192"/>
                      </a:lnTo>
                      <a:lnTo>
                        <a:pt x="510" y="192"/>
                      </a:lnTo>
                      <a:lnTo>
                        <a:pt x="510" y="186"/>
                      </a:lnTo>
                      <a:lnTo>
                        <a:pt x="492" y="168"/>
                      </a:lnTo>
                      <a:lnTo>
                        <a:pt x="486" y="150"/>
                      </a:lnTo>
                      <a:lnTo>
                        <a:pt x="462" y="126"/>
                      </a:lnTo>
                      <a:lnTo>
                        <a:pt x="456" y="114"/>
                      </a:lnTo>
                      <a:lnTo>
                        <a:pt x="432" y="96"/>
                      </a:lnTo>
                      <a:lnTo>
                        <a:pt x="396" y="84"/>
                      </a:lnTo>
                      <a:lnTo>
                        <a:pt x="366" y="78"/>
                      </a:lnTo>
                      <a:lnTo>
                        <a:pt x="348" y="78"/>
                      </a:lnTo>
                      <a:lnTo>
                        <a:pt x="342" y="72"/>
                      </a:lnTo>
                      <a:lnTo>
                        <a:pt x="330" y="72"/>
                      </a:lnTo>
                      <a:lnTo>
                        <a:pt x="318" y="60"/>
                      </a:lnTo>
                      <a:lnTo>
                        <a:pt x="294" y="48"/>
                      </a:lnTo>
                      <a:lnTo>
                        <a:pt x="288" y="36"/>
                      </a:lnTo>
                      <a:lnTo>
                        <a:pt x="288" y="30"/>
                      </a:lnTo>
                      <a:lnTo>
                        <a:pt x="282" y="18"/>
                      </a:lnTo>
                      <a:lnTo>
                        <a:pt x="276" y="12"/>
                      </a:lnTo>
                      <a:lnTo>
                        <a:pt x="252" y="18"/>
                      </a:lnTo>
                      <a:lnTo>
                        <a:pt x="246" y="6"/>
                      </a:lnTo>
                      <a:lnTo>
                        <a:pt x="246" y="0"/>
                      </a:lnTo>
                      <a:lnTo>
                        <a:pt x="240" y="0"/>
                      </a:lnTo>
                      <a:lnTo>
                        <a:pt x="234" y="6"/>
                      </a:lnTo>
                      <a:lnTo>
                        <a:pt x="234" y="12"/>
                      </a:lnTo>
                      <a:lnTo>
                        <a:pt x="228" y="24"/>
                      </a:lnTo>
                      <a:lnTo>
                        <a:pt x="228" y="54"/>
                      </a:lnTo>
                      <a:lnTo>
                        <a:pt x="246" y="72"/>
                      </a:lnTo>
                      <a:lnTo>
                        <a:pt x="246" y="78"/>
                      </a:lnTo>
                      <a:lnTo>
                        <a:pt x="240" y="78"/>
                      </a:lnTo>
                      <a:lnTo>
                        <a:pt x="240" y="72"/>
                      </a:lnTo>
                      <a:lnTo>
                        <a:pt x="228" y="72"/>
                      </a:lnTo>
                      <a:lnTo>
                        <a:pt x="228" y="78"/>
                      </a:lnTo>
                      <a:lnTo>
                        <a:pt x="222" y="84"/>
                      </a:lnTo>
                      <a:lnTo>
                        <a:pt x="222" y="96"/>
                      </a:lnTo>
                      <a:lnTo>
                        <a:pt x="216" y="108"/>
                      </a:lnTo>
                      <a:lnTo>
                        <a:pt x="216" y="120"/>
                      </a:lnTo>
                      <a:lnTo>
                        <a:pt x="210" y="132"/>
                      </a:lnTo>
                      <a:lnTo>
                        <a:pt x="204" y="138"/>
                      </a:lnTo>
                      <a:lnTo>
                        <a:pt x="198" y="150"/>
                      </a:lnTo>
                      <a:lnTo>
                        <a:pt x="192" y="156"/>
                      </a:lnTo>
                      <a:lnTo>
                        <a:pt x="192" y="168"/>
                      </a:lnTo>
                      <a:lnTo>
                        <a:pt x="210" y="204"/>
                      </a:lnTo>
                      <a:lnTo>
                        <a:pt x="216" y="210"/>
                      </a:lnTo>
                      <a:lnTo>
                        <a:pt x="216" y="222"/>
                      </a:lnTo>
                      <a:lnTo>
                        <a:pt x="222" y="228"/>
                      </a:lnTo>
                      <a:lnTo>
                        <a:pt x="234" y="234"/>
                      </a:lnTo>
                      <a:lnTo>
                        <a:pt x="240" y="240"/>
                      </a:lnTo>
                      <a:lnTo>
                        <a:pt x="204" y="414"/>
                      </a:lnTo>
                      <a:lnTo>
                        <a:pt x="0" y="486"/>
                      </a:lnTo>
                      <a:lnTo>
                        <a:pt x="84" y="672"/>
                      </a:lnTo>
                      <a:lnTo>
                        <a:pt x="114" y="660"/>
                      </a:lnTo>
                      <a:lnTo>
                        <a:pt x="198" y="636"/>
                      </a:lnTo>
                      <a:lnTo>
                        <a:pt x="228" y="624"/>
                      </a:lnTo>
                      <a:lnTo>
                        <a:pt x="246" y="618"/>
                      </a:lnTo>
                      <a:lnTo>
                        <a:pt x="252" y="606"/>
                      </a:lnTo>
                      <a:lnTo>
                        <a:pt x="252" y="594"/>
                      </a:lnTo>
                      <a:lnTo>
                        <a:pt x="258" y="582"/>
                      </a:lnTo>
                      <a:lnTo>
                        <a:pt x="258" y="56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4" name="Nigeria">
                  <a:extLst>
                    <a:ext uri="{FF2B5EF4-FFF2-40B4-BE49-F238E27FC236}">
                      <a16:creationId xmlns:a16="http://schemas.microsoft.com/office/drawing/2014/main" id="{9508E666-696E-45CE-9BE0-FDFBE1841D13}"/>
                    </a:ext>
                  </a:extLst>
                </p:cNvPr>
                <p:cNvSpPr>
                  <a:spLocks/>
                </p:cNvSpPr>
                <p:nvPr/>
              </p:nvSpPr>
              <p:spPr bwMode="gray">
                <a:xfrm>
                  <a:off x="4313553" y="2960050"/>
                  <a:ext cx="315355" cy="291534"/>
                </a:xfrm>
                <a:custGeom>
                  <a:avLst/>
                  <a:gdLst>
                    <a:gd name="T0" fmla="*/ 2147483647 w 840"/>
                    <a:gd name="T1" fmla="*/ 2147483647 h 768"/>
                    <a:gd name="T2" fmla="*/ 2147483647 w 840"/>
                    <a:gd name="T3" fmla="*/ 2147483647 h 768"/>
                    <a:gd name="T4" fmla="*/ 2147483647 w 840"/>
                    <a:gd name="T5" fmla="*/ 2147483647 h 768"/>
                    <a:gd name="T6" fmla="*/ 2147483647 w 840"/>
                    <a:gd name="T7" fmla="*/ 2147483647 h 768"/>
                    <a:gd name="T8" fmla="*/ 2147483647 w 840"/>
                    <a:gd name="T9" fmla="*/ 2147483647 h 768"/>
                    <a:gd name="T10" fmla="*/ 2147483647 w 840"/>
                    <a:gd name="T11" fmla="*/ 2147483647 h 768"/>
                    <a:gd name="T12" fmla="*/ 2147483647 w 840"/>
                    <a:gd name="T13" fmla="*/ 2147483647 h 768"/>
                    <a:gd name="T14" fmla="*/ 2147483647 w 840"/>
                    <a:gd name="T15" fmla="*/ 2147483647 h 768"/>
                    <a:gd name="T16" fmla="*/ 2147483647 w 840"/>
                    <a:gd name="T17" fmla="*/ 2147483647 h 768"/>
                    <a:gd name="T18" fmla="*/ 2147483647 w 840"/>
                    <a:gd name="T19" fmla="*/ 2147483647 h 768"/>
                    <a:gd name="T20" fmla="*/ 2147483647 w 840"/>
                    <a:gd name="T21" fmla="*/ 2147483647 h 768"/>
                    <a:gd name="T22" fmla="*/ 2147483647 w 840"/>
                    <a:gd name="T23" fmla="*/ 2147483647 h 768"/>
                    <a:gd name="T24" fmla="*/ 2147483647 w 840"/>
                    <a:gd name="T25" fmla="*/ 2147483647 h 768"/>
                    <a:gd name="T26" fmla="*/ 2147483647 w 840"/>
                    <a:gd name="T27" fmla="*/ 2147483647 h 768"/>
                    <a:gd name="T28" fmla="*/ 2147483647 w 840"/>
                    <a:gd name="T29" fmla="*/ 2147483647 h 768"/>
                    <a:gd name="T30" fmla="*/ 2147483647 w 840"/>
                    <a:gd name="T31" fmla="*/ 2147483647 h 768"/>
                    <a:gd name="T32" fmla="*/ 2147483647 w 840"/>
                    <a:gd name="T33" fmla="*/ 2147483647 h 768"/>
                    <a:gd name="T34" fmla="*/ 2147483647 w 840"/>
                    <a:gd name="T35" fmla="*/ 2147483647 h 768"/>
                    <a:gd name="T36" fmla="*/ 2147483647 w 840"/>
                    <a:gd name="T37" fmla="*/ 2147483647 h 768"/>
                    <a:gd name="T38" fmla="*/ 2147483647 w 840"/>
                    <a:gd name="T39" fmla="*/ 2147483647 h 768"/>
                    <a:gd name="T40" fmla="*/ 2147483647 w 840"/>
                    <a:gd name="T41" fmla="*/ 2147483647 h 768"/>
                    <a:gd name="T42" fmla="*/ 2147483647 w 840"/>
                    <a:gd name="T43" fmla="*/ 2147483647 h 768"/>
                    <a:gd name="T44" fmla="*/ 2147483647 w 840"/>
                    <a:gd name="T45" fmla="*/ 2147483647 h 768"/>
                    <a:gd name="T46" fmla="*/ 2147483647 w 840"/>
                    <a:gd name="T47" fmla="*/ 2147483647 h 768"/>
                    <a:gd name="T48" fmla="*/ 2147483647 w 840"/>
                    <a:gd name="T49" fmla="*/ 2147483647 h 768"/>
                    <a:gd name="T50" fmla="*/ 2147483647 w 840"/>
                    <a:gd name="T51" fmla="*/ 2147483647 h 768"/>
                    <a:gd name="T52" fmla="*/ 2147483647 w 840"/>
                    <a:gd name="T53" fmla="*/ 2147483647 h 768"/>
                    <a:gd name="T54" fmla="*/ 2147483647 w 840"/>
                    <a:gd name="T55" fmla="*/ 2147483647 h 768"/>
                    <a:gd name="T56" fmla="*/ 2147483647 w 840"/>
                    <a:gd name="T57" fmla="*/ 2147483647 h 768"/>
                    <a:gd name="T58" fmla="*/ 2147483647 w 840"/>
                    <a:gd name="T59" fmla="*/ 2147483647 h 768"/>
                    <a:gd name="T60" fmla="*/ 2147483647 w 840"/>
                    <a:gd name="T61" fmla="*/ 2147483647 h 768"/>
                    <a:gd name="T62" fmla="*/ 2147483647 w 840"/>
                    <a:gd name="T63" fmla="*/ 2147483647 h 768"/>
                    <a:gd name="T64" fmla="*/ 2147483647 w 840"/>
                    <a:gd name="T65" fmla="*/ 2147483647 h 768"/>
                    <a:gd name="T66" fmla="*/ 2147483647 w 840"/>
                    <a:gd name="T67" fmla="*/ 2147483647 h 768"/>
                    <a:gd name="T68" fmla="*/ 2147483647 w 840"/>
                    <a:gd name="T69" fmla="*/ 2147483647 h 768"/>
                    <a:gd name="T70" fmla="*/ 2147483647 w 840"/>
                    <a:gd name="T71" fmla="*/ 2147483647 h 768"/>
                    <a:gd name="T72" fmla="*/ 2147483647 w 840"/>
                    <a:gd name="T73" fmla="*/ 2147483647 h 768"/>
                    <a:gd name="T74" fmla="*/ 2147483647 w 840"/>
                    <a:gd name="T75" fmla="*/ 2147483647 h 768"/>
                    <a:gd name="T76" fmla="*/ 2147483647 w 840"/>
                    <a:gd name="T77" fmla="*/ 2147483647 h 768"/>
                    <a:gd name="T78" fmla="*/ 2147483647 w 840"/>
                    <a:gd name="T79" fmla="*/ 2147483647 h 768"/>
                    <a:gd name="T80" fmla="*/ 2147483647 w 840"/>
                    <a:gd name="T81" fmla="*/ 2147483647 h 768"/>
                    <a:gd name="T82" fmla="*/ 2147483647 w 840"/>
                    <a:gd name="T83" fmla="*/ 2147483647 h 768"/>
                    <a:gd name="T84" fmla="*/ 2147483647 w 840"/>
                    <a:gd name="T85" fmla="*/ 2147483647 h 768"/>
                    <a:gd name="T86" fmla="*/ 2147483647 w 840"/>
                    <a:gd name="T87" fmla="*/ 2147483647 h 768"/>
                    <a:gd name="T88" fmla="*/ 2147483647 w 840"/>
                    <a:gd name="T89" fmla="*/ 2147483647 h 768"/>
                    <a:gd name="T90" fmla="*/ 2147483647 w 840"/>
                    <a:gd name="T91" fmla="*/ 2147483647 h 768"/>
                    <a:gd name="T92" fmla="*/ 2147483647 w 840"/>
                    <a:gd name="T93" fmla="*/ 2147483647 h 768"/>
                    <a:gd name="T94" fmla="*/ 2147483647 w 840"/>
                    <a:gd name="T95" fmla="*/ 2147483647 h 768"/>
                    <a:gd name="T96" fmla="*/ 2147483647 w 840"/>
                    <a:gd name="T97" fmla="*/ 2147483647 h 768"/>
                    <a:gd name="T98" fmla="*/ 2147483647 w 840"/>
                    <a:gd name="T99" fmla="*/ 2147483647 h 768"/>
                    <a:gd name="T100" fmla="*/ 2147483647 w 840"/>
                    <a:gd name="T101" fmla="*/ 2147483647 h 768"/>
                    <a:gd name="T102" fmla="*/ 2147483647 w 840"/>
                    <a:gd name="T103" fmla="*/ 2147483647 h 768"/>
                    <a:gd name="T104" fmla="*/ 2147483647 w 840"/>
                    <a:gd name="T105" fmla="*/ 2147483647 h 768"/>
                    <a:gd name="T106" fmla="*/ 2147483647 w 840"/>
                    <a:gd name="T107" fmla="*/ 2147483647 h 768"/>
                    <a:gd name="T108" fmla="*/ 2147483647 w 840"/>
                    <a:gd name="T109" fmla="*/ 2147483647 h 768"/>
                    <a:gd name="T110" fmla="*/ 2147483647 w 840"/>
                    <a:gd name="T111" fmla="*/ 2147483647 h 768"/>
                    <a:gd name="T112" fmla="*/ 2147483647 w 840"/>
                    <a:gd name="T113" fmla="*/ 2147483647 h 768"/>
                    <a:gd name="T114" fmla="*/ 2147483647 w 840"/>
                    <a:gd name="T115" fmla="*/ 2147483647 h 768"/>
                    <a:gd name="T116" fmla="*/ 2147483647 w 840"/>
                    <a:gd name="T117" fmla="*/ 2147483647 h 768"/>
                    <a:gd name="T118" fmla="*/ 2147483647 w 840"/>
                    <a:gd name="T119" fmla="*/ 2147483647 h 7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0"/>
                    <a:gd name="T181" fmla="*/ 0 h 768"/>
                    <a:gd name="T182" fmla="*/ 840 w 840"/>
                    <a:gd name="T183" fmla="*/ 768 h 7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0" h="768">
                      <a:moveTo>
                        <a:pt x="420" y="738"/>
                      </a:moveTo>
                      <a:lnTo>
                        <a:pt x="420" y="732"/>
                      </a:lnTo>
                      <a:lnTo>
                        <a:pt x="426" y="726"/>
                      </a:lnTo>
                      <a:lnTo>
                        <a:pt x="426" y="714"/>
                      </a:lnTo>
                      <a:lnTo>
                        <a:pt x="432" y="702"/>
                      </a:lnTo>
                      <a:lnTo>
                        <a:pt x="432" y="648"/>
                      </a:lnTo>
                      <a:lnTo>
                        <a:pt x="498" y="594"/>
                      </a:lnTo>
                      <a:lnTo>
                        <a:pt x="498" y="588"/>
                      </a:lnTo>
                      <a:lnTo>
                        <a:pt x="504" y="582"/>
                      </a:lnTo>
                      <a:lnTo>
                        <a:pt x="516" y="558"/>
                      </a:lnTo>
                      <a:lnTo>
                        <a:pt x="522" y="552"/>
                      </a:lnTo>
                      <a:lnTo>
                        <a:pt x="528" y="552"/>
                      </a:lnTo>
                      <a:lnTo>
                        <a:pt x="534" y="558"/>
                      </a:lnTo>
                      <a:lnTo>
                        <a:pt x="546" y="564"/>
                      </a:lnTo>
                      <a:lnTo>
                        <a:pt x="552" y="564"/>
                      </a:lnTo>
                      <a:lnTo>
                        <a:pt x="558" y="558"/>
                      </a:lnTo>
                      <a:lnTo>
                        <a:pt x="558" y="546"/>
                      </a:lnTo>
                      <a:lnTo>
                        <a:pt x="552" y="540"/>
                      </a:lnTo>
                      <a:lnTo>
                        <a:pt x="564" y="540"/>
                      </a:lnTo>
                      <a:lnTo>
                        <a:pt x="570" y="552"/>
                      </a:lnTo>
                      <a:lnTo>
                        <a:pt x="582" y="564"/>
                      </a:lnTo>
                      <a:lnTo>
                        <a:pt x="588" y="576"/>
                      </a:lnTo>
                      <a:lnTo>
                        <a:pt x="588" y="582"/>
                      </a:lnTo>
                      <a:lnTo>
                        <a:pt x="594" y="594"/>
                      </a:lnTo>
                      <a:lnTo>
                        <a:pt x="600" y="600"/>
                      </a:lnTo>
                      <a:lnTo>
                        <a:pt x="606" y="600"/>
                      </a:lnTo>
                      <a:lnTo>
                        <a:pt x="624" y="582"/>
                      </a:lnTo>
                      <a:lnTo>
                        <a:pt x="624" y="570"/>
                      </a:lnTo>
                      <a:lnTo>
                        <a:pt x="630" y="558"/>
                      </a:lnTo>
                      <a:lnTo>
                        <a:pt x="642" y="552"/>
                      </a:lnTo>
                      <a:lnTo>
                        <a:pt x="648" y="546"/>
                      </a:lnTo>
                      <a:lnTo>
                        <a:pt x="648" y="516"/>
                      </a:lnTo>
                      <a:lnTo>
                        <a:pt x="672" y="486"/>
                      </a:lnTo>
                      <a:lnTo>
                        <a:pt x="684" y="438"/>
                      </a:lnTo>
                      <a:lnTo>
                        <a:pt x="696" y="432"/>
                      </a:lnTo>
                      <a:lnTo>
                        <a:pt x="702" y="426"/>
                      </a:lnTo>
                      <a:lnTo>
                        <a:pt x="714" y="420"/>
                      </a:lnTo>
                      <a:lnTo>
                        <a:pt x="720" y="414"/>
                      </a:lnTo>
                      <a:lnTo>
                        <a:pt x="720" y="402"/>
                      </a:lnTo>
                      <a:lnTo>
                        <a:pt x="726" y="384"/>
                      </a:lnTo>
                      <a:lnTo>
                        <a:pt x="726" y="354"/>
                      </a:lnTo>
                      <a:lnTo>
                        <a:pt x="744" y="354"/>
                      </a:lnTo>
                      <a:lnTo>
                        <a:pt x="750" y="348"/>
                      </a:lnTo>
                      <a:lnTo>
                        <a:pt x="756" y="330"/>
                      </a:lnTo>
                      <a:lnTo>
                        <a:pt x="756" y="300"/>
                      </a:lnTo>
                      <a:lnTo>
                        <a:pt x="762" y="294"/>
                      </a:lnTo>
                      <a:lnTo>
                        <a:pt x="768" y="264"/>
                      </a:lnTo>
                      <a:lnTo>
                        <a:pt x="774" y="252"/>
                      </a:lnTo>
                      <a:lnTo>
                        <a:pt x="786" y="240"/>
                      </a:lnTo>
                      <a:lnTo>
                        <a:pt x="786" y="234"/>
                      </a:lnTo>
                      <a:lnTo>
                        <a:pt x="792" y="228"/>
                      </a:lnTo>
                      <a:lnTo>
                        <a:pt x="792" y="222"/>
                      </a:lnTo>
                      <a:lnTo>
                        <a:pt x="798" y="216"/>
                      </a:lnTo>
                      <a:lnTo>
                        <a:pt x="798" y="210"/>
                      </a:lnTo>
                      <a:lnTo>
                        <a:pt x="810" y="210"/>
                      </a:lnTo>
                      <a:lnTo>
                        <a:pt x="822" y="204"/>
                      </a:lnTo>
                      <a:lnTo>
                        <a:pt x="840" y="186"/>
                      </a:lnTo>
                      <a:lnTo>
                        <a:pt x="840" y="174"/>
                      </a:lnTo>
                      <a:lnTo>
                        <a:pt x="834" y="168"/>
                      </a:lnTo>
                      <a:lnTo>
                        <a:pt x="834" y="162"/>
                      </a:lnTo>
                      <a:lnTo>
                        <a:pt x="840" y="156"/>
                      </a:lnTo>
                      <a:lnTo>
                        <a:pt x="840" y="126"/>
                      </a:lnTo>
                      <a:lnTo>
                        <a:pt x="810" y="126"/>
                      </a:lnTo>
                      <a:lnTo>
                        <a:pt x="810" y="120"/>
                      </a:lnTo>
                      <a:lnTo>
                        <a:pt x="804" y="108"/>
                      </a:lnTo>
                      <a:lnTo>
                        <a:pt x="804" y="60"/>
                      </a:lnTo>
                      <a:lnTo>
                        <a:pt x="774" y="12"/>
                      </a:lnTo>
                      <a:lnTo>
                        <a:pt x="756" y="12"/>
                      </a:lnTo>
                      <a:lnTo>
                        <a:pt x="750" y="18"/>
                      </a:lnTo>
                      <a:lnTo>
                        <a:pt x="750" y="24"/>
                      </a:lnTo>
                      <a:lnTo>
                        <a:pt x="744" y="30"/>
                      </a:lnTo>
                      <a:lnTo>
                        <a:pt x="744" y="36"/>
                      </a:lnTo>
                      <a:lnTo>
                        <a:pt x="720" y="36"/>
                      </a:lnTo>
                      <a:lnTo>
                        <a:pt x="714" y="42"/>
                      </a:lnTo>
                      <a:lnTo>
                        <a:pt x="702" y="48"/>
                      </a:lnTo>
                      <a:lnTo>
                        <a:pt x="696" y="54"/>
                      </a:lnTo>
                      <a:lnTo>
                        <a:pt x="684" y="60"/>
                      </a:lnTo>
                      <a:lnTo>
                        <a:pt x="654" y="60"/>
                      </a:lnTo>
                      <a:lnTo>
                        <a:pt x="648" y="54"/>
                      </a:lnTo>
                      <a:lnTo>
                        <a:pt x="636" y="48"/>
                      </a:lnTo>
                      <a:lnTo>
                        <a:pt x="600" y="36"/>
                      </a:lnTo>
                      <a:lnTo>
                        <a:pt x="546" y="36"/>
                      </a:lnTo>
                      <a:lnTo>
                        <a:pt x="528" y="42"/>
                      </a:lnTo>
                      <a:lnTo>
                        <a:pt x="516" y="54"/>
                      </a:lnTo>
                      <a:lnTo>
                        <a:pt x="504" y="60"/>
                      </a:lnTo>
                      <a:lnTo>
                        <a:pt x="492" y="84"/>
                      </a:lnTo>
                      <a:lnTo>
                        <a:pt x="486" y="90"/>
                      </a:lnTo>
                      <a:lnTo>
                        <a:pt x="480" y="90"/>
                      </a:lnTo>
                      <a:lnTo>
                        <a:pt x="468" y="84"/>
                      </a:lnTo>
                      <a:lnTo>
                        <a:pt x="438" y="84"/>
                      </a:lnTo>
                      <a:lnTo>
                        <a:pt x="414" y="72"/>
                      </a:lnTo>
                      <a:lnTo>
                        <a:pt x="402" y="60"/>
                      </a:lnTo>
                      <a:lnTo>
                        <a:pt x="390" y="54"/>
                      </a:lnTo>
                      <a:lnTo>
                        <a:pt x="384" y="48"/>
                      </a:lnTo>
                      <a:lnTo>
                        <a:pt x="372" y="42"/>
                      </a:lnTo>
                      <a:lnTo>
                        <a:pt x="360" y="42"/>
                      </a:lnTo>
                      <a:lnTo>
                        <a:pt x="336" y="54"/>
                      </a:lnTo>
                      <a:lnTo>
                        <a:pt x="324" y="66"/>
                      </a:lnTo>
                      <a:lnTo>
                        <a:pt x="312" y="72"/>
                      </a:lnTo>
                      <a:lnTo>
                        <a:pt x="306" y="72"/>
                      </a:lnTo>
                      <a:lnTo>
                        <a:pt x="294" y="66"/>
                      </a:lnTo>
                      <a:lnTo>
                        <a:pt x="288" y="60"/>
                      </a:lnTo>
                      <a:lnTo>
                        <a:pt x="288" y="54"/>
                      </a:lnTo>
                      <a:lnTo>
                        <a:pt x="282" y="48"/>
                      </a:lnTo>
                      <a:lnTo>
                        <a:pt x="282" y="42"/>
                      </a:lnTo>
                      <a:lnTo>
                        <a:pt x="258" y="18"/>
                      </a:lnTo>
                      <a:lnTo>
                        <a:pt x="222" y="18"/>
                      </a:lnTo>
                      <a:lnTo>
                        <a:pt x="222" y="12"/>
                      </a:lnTo>
                      <a:lnTo>
                        <a:pt x="210" y="0"/>
                      </a:lnTo>
                      <a:lnTo>
                        <a:pt x="198" y="0"/>
                      </a:lnTo>
                      <a:lnTo>
                        <a:pt x="186" y="6"/>
                      </a:lnTo>
                      <a:lnTo>
                        <a:pt x="180" y="6"/>
                      </a:lnTo>
                      <a:lnTo>
                        <a:pt x="180" y="12"/>
                      </a:lnTo>
                      <a:lnTo>
                        <a:pt x="126" y="12"/>
                      </a:lnTo>
                      <a:lnTo>
                        <a:pt x="102" y="36"/>
                      </a:lnTo>
                      <a:lnTo>
                        <a:pt x="102" y="60"/>
                      </a:lnTo>
                      <a:lnTo>
                        <a:pt x="96" y="78"/>
                      </a:lnTo>
                      <a:lnTo>
                        <a:pt x="90" y="90"/>
                      </a:lnTo>
                      <a:lnTo>
                        <a:pt x="84" y="96"/>
                      </a:lnTo>
                      <a:lnTo>
                        <a:pt x="78" y="108"/>
                      </a:lnTo>
                      <a:lnTo>
                        <a:pt x="72" y="114"/>
                      </a:lnTo>
                      <a:lnTo>
                        <a:pt x="66" y="114"/>
                      </a:lnTo>
                      <a:lnTo>
                        <a:pt x="66" y="168"/>
                      </a:lnTo>
                      <a:lnTo>
                        <a:pt x="60" y="180"/>
                      </a:lnTo>
                      <a:lnTo>
                        <a:pt x="60" y="186"/>
                      </a:lnTo>
                      <a:lnTo>
                        <a:pt x="54" y="192"/>
                      </a:lnTo>
                      <a:lnTo>
                        <a:pt x="66" y="216"/>
                      </a:lnTo>
                      <a:lnTo>
                        <a:pt x="72" y="222"/>
                      </a:lnTo>
                      <a:lnTo>
                        <a:pt x="78" y="234"/>
                      </a:lnTo>
                      <a:lnTo>
                        <a:pt x="78" y="246"/>
                      </a:lnTo>
                      <a:lnTo>
                        <a:pt x="84" y="252"/>
                      </a:lnTo>
                      <a:lnTo>
                        <a:pt x="84" y="264"/>
                      </a:lnTo>
                      <a:lnTo>
                        <a:pt x="78" y="270"/>
                      </a:lnTo>
                      <a:lnTo>
                        <a:pt x="72" y="270"/>
                      </a:lnTo>
                      <a:lnTo>
                        <a:pt x="60" y="276"/>
                      </a:lnTo>
                      <a:lnTo>
                        <a:pt x="60" y="318"/>
                      </a:lnTo>
                      <a:lnTo>
                        <a:pt x="48" y="324"/>
                      </a:lnTo>
                      <a:lnTo>
                        <a:pt x="42" y="336"/>
                      </a:lnTo>
                      <a:lnTo>
                        <a:pt x="36" y="342"/>
                      </a:lnTo>
                      <a:lnTo>
                        <a:pt x="36" y="372"/>
                      </a:lnTo>
                      <a:lnTo>
                        <a:pt x="24" y="396"/>
                      </a:lnTo>
                      <a:lnTo>
                        <a:pt x="6" y="396"/>
                      </a:lnTo>
                      <a:lnTo>
                        <a:pt x="0" y="426"/>
                      </a:lnTo>
                      <a:lnTo>
                        <a:pt x="6" y="462"/>
                      </a:lnTo>
                      <a:lnTo>
                        <a:pt x="0" y="492"/>
                      </a:lnTo>
                      <a:lnTo>
                        <a:pt x="0" y="606"/>
                      </a:lnTo>
                      <a:lnTo>
                        <a:pt x="6" y="612"/>
                      </a:lnTo>
                      <a:lnTo>
                        <a:pt x="30" y="612"/>
                      </a:lnTo>
                      <a:lnTo>
                        <a:pt x="54" y="600"/>
                      </a:lnTo>
                      <a:lnTo>
                        <a:pt x="60" y="594"/>
                      </a:lnTo>
                      <a:lnTo>
                        <a:pt x="66" y="600"/>
                      </a:lnTo>
                      <a:lnTo>
                        <a:pt x="108" y="600"/>
                      </a:lnTo>
                      <a:lnTo>
                        <a:pt x="126" y="606"/>
                      </a:lnTo>
                      <a:lnTo>
                        <a:pt x="138" y="618"/>
                      </a:lnTo>
                      <a:lnTo>
                        <a:pt x="150" y="636"/>
                      </a:lnTo>
                      <a:lnTo>
                        <a:pt x="156" y="648"/>
                      </a:lnTo>
                      <a:lnTo>
                        <a:pt x="168" y="660"/>
                      </a:lnTo>
                      <a:lnTo>
                        <a:pt x="186" y="660"/>
                      </a:lnTo>
                      <a:lnTo>
                        <a:pt x="180" y="666"/>
                      </a:lnTo>
                      <a:lnTo>
                        <a:pt x="180" y="678"/>
                      </a:lnTo>
                      <a:lnTo>
                        <a:pt x="174" y="684"/>
                      </a:lnTo>
                      <a:lnTo>
                        <a:pt x="186" y="684"/>
                      </a:lnTo>
                      <a:lnTo>
                        <a:pt x="198" y="678"/>
                      </a:lnTo>
                      <a:lnTo>
                        <a:pt x="198" y="684"/>
                      </a:lnTo>
                      <a:lnTo>
                        <a:pt x="192" y="690"/>
                      </a:lnTo>
                      <a:lnTo>
                        <a:pt x="186" y="702"/>
                      </a:lnTo>
                      <a:lnTo>
                        <a:pt x="186" y="714"/>
                      </a:lnTo>
                      <a:lnTo>
                        <a:pt x="204" y="750"/>
                      </a:lnTo>
                      <a:lnTo>
                        <a:pt x="216" y="762"/>
                      </a:lnTo>
                      <a:lnTo>
                        <a:pt x="234" y="768"/>
                      </a:lnTo>
                      <a:lnTo>
                        <a:pt x="270" y="768"/>
                      </a:lnTo>
                      <a:lnTo>
                        <a:pt x="276" y="762"/>
                      </a:lnTo>
                      <a:lnTo>
                        <a:pt x="282" y="762"/>
                      </a:lnTo>
                      <a:lnTo>
                        <a:pt x="288" y="738"/>
                      </a:lnTo>
                      <a:lnTo>
                        <a:pt x="312" y="750"/>
                      </a:lnTo>
                      <a:lnTo>
                        <a:pt x="336" y="744"/>
                      </a:lnTo>
                      <a:lnTo>
                        <a:pt x="354" y="756"/>
                      </a:lnTo>
                      <a:lnTo>
                        <a:pt x="396" y="756"/>
                      </a:lnTo>
                      <a:lnTo>
                        <a:pt x="396" y="732"/>
                      </a:lnTo>
                      <a:lnTo>
                        <a:pt x="420" y="732"/>
                      </a:lnTo>
                      <a:lnTo>
                        <a:pt x="420" y="73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5" name="Niger">
                  <a:extLst>
                    <a:ext uri="{FF2B5EF4-FFF2-40B4-BE49-F238E27FC236}">
                      <a16:creationId xmlns:a16="http://schemas.microsoft.com/office/drawing/2014/main" id="{235A30D0-30FC-40AF-AC04-73618EBDC927}"/>
                    </a:ext>
                  </a:extLst>
                </p:cNvPr>
                <p:cNvSpPr>
                  <a:spLocks/>
                </p:cNvSpPr>
                <p:nvPr/>
              </p:nvSpPr>
              <p:spPr bwMode="gray">
                <a:xfrm>
                  <a:off x="4246615" y="2668517"/>
                  <a:ext cx="419483" cy="355494"/>
                </a:xfrm>
                <a:custGeom>
                  <a:avLst/>
                  <a:gdLst>
                    <a:gd name="T0" fmla="*/ 2147483647 w 1110"/>
                    <a:gd name="T1" fmla="*/ 2147483647 h 942"/>
                    <a:gd name="T2" fmla="*/ 2147483647 w 1110"/>
                    <a:gd name="T3" fmla="*/ 2147483647 h 942"/>
                    <a:gd name="T4" fmla="*/ 2147483647 w 1110"/>
                    <a:gd name="T5" fmla="*/ 2147483647 h 942"/>
                    <a:gd name="T6" fmla="*/ 2147483647 w 1110"/>
                    <a:gd name="T7" fmla="*/ 2147483647 h 942"/>
                    <a:gd name="T8" fmla="*/ 2147483647 w 1110"/>
                    <a:gd name="T9" fmla="*/ 2147483647 h 942"/>
                    <a:gd name="T10" fmla="*/ 2147483647 w 1110"/>
                    <a:gd name="T11" fmla="*/ 2147483647 h 942"/>
                    <a:gd name="T12" fmla="*/ 2147483647 w 1110"/>
                    <a:gd name="T13" fmla="*/ 2147483647 h 942"/>
                    <a:gd name="T14" fmla="*/ 2147483647 w 1110"/>
                    <a:gd name="T15" fmla="*/ 2147483647 h 942"/>
                    <a:gd name="T16" fmla="*/ 2147483647 w 1110"/>
                    <a:gd name="T17" fmla="*/ 2147483647 h 942"/>
                    <a:gd name="T18" fmla="*/ 2147483647 w 1110"/>
                    <a:gd name="T19" fmla="*/ 2147483647 h 942"/>
                    <a:gd name="T20" fmla="*/ 2147483647 w 1110"/>
                    <a:gd name="T21" fmla="*/ 2147483647 h 942"/>
                    <a:gd name="T22" fmla="*/ 2147483647 w 1110"/>
                    <a:gd name="T23" fmla="*/ 2147483647 h 942"/>
                    <a:gd name="T24" fmla="*/ 2147483647 w 1110"/>
                    <a:gd name="T25" fmla="*/ 2147483647 h 942"/>
                    <a:gd name="T26" fmla="*/ 2147483647 w 1110"/>
                    <a:gd name="T27" fmla="*/ 2147483647 h 942"/>
                    <a:gd name="T28" fmla="*/ 2147483647 w 1110"/>
                    <a:gd name="T29" fmla="*/ 2147483647 h 942"/>
                    <a:gd name="T30" fmla="*/ 2147483647 w 1110"/>
                    <a:gd name="T31" fmla="*/ 2147483647 h 942"/>
                    <a:gd name="T32" fmla="*/ 2147483647 w 1110"/>
                    <a:gd name="T33" fmla="*/ 2147483647 h 942"/>
                    <a:gd name="T34" fmla="*/ 2147483647 w 1110"/>
                    <a:gd name="T35" fmla="*/ 2147483647 h 942"/>
                    <a:gd name="T36" fmla="*/ 2147483647 w 1110"/>
                    <a:gd name="T37" fmla="*/ 2147483647 h 942"/>
                    <a:gd name="T38" fmla="*/ 2147483647 w 1110"/>
                    <a:gd name="T39" fmla="*/ 2147483647 h 942"/>
                    <a:gd name="T40" fmla="*/ 2147483647 w 1110"/>
                    <a:gd name="T41" fmla="*/ 2147483647 h 942"/>
                    <a:gd name="T42" fmla="*/ 2147483647 w 1110"/>
                    <a:gd name="T43" fmla="*/ 2147483647 h 942"/>
                    <a:gd name="T44" fmla="*/ 2147483647 w 1110"/>
                    <a:gd name="T45" fmla="*/ 2147483647 h 942"/>
                    <a:gd name="T46" fmla="*/ 2147483647 w 1110"/>
                    <a:gd name="T47" fmla="*/ 2147483647 h 942"/>
                    <a:gd name="T48" fmla="*/ 2147483647 w 1110"/>
                    <a:gd name="T49" fmla="*/ 2147483647 h 942"/>
                    <a:gd name="T50" fmla="*/ 2147483647 w 1110"/>
                    <a:gd name="T51" fmla="*/ 2147483647 h 942"/>
                    <a:gd name="T52" fmla="*/ 2147483647 w 1110"/>
                    <a:gd name="T53" fmla="*/ 2147483647 h 942"/>
                    <a:gd name="T54" fmla="*/ 2147483647 w 1110"/>
                    <a:gd name="T55" fmla="*/ 2147483647 h 942"/>
                    <a:gd name="T56" fmla="*/ 2147483647 w 1110"/>
                    <a:gd name="T57" fmla="*/ 2147483647 h 942"/>
                    <a:gd name="T58" fmla="*/ 2147483647 w 1110"/>
                    <a:gd name="T59" fmla="*/ 2147483647 h 942"/>
                    <a:gd name="T60" fmla="*/ 2147483647 w 1110"/>
                    <a:gd name="T61" fmla="*/ 2147483647 h 942"/>
                    <a:gd name="T62" fmla="*/ 2147483647 w 1110"/>
                    <a:gd name="T63" fmla="*/ 2147483647 h 942"/>
                    <a:gd name="T64" fmla="*/ 2147483647 w 1110"/>
                    <a:gd name="T65" fmla="*/ 2147483647 h 942"/>
                    <a:gd name="T66" fmla="*/ 2147483647 w 1110"/>
                    <a:gd name="T67" fmla="*/ 2147483647 h 942"/>
                    <a:gd name="T68" fmla="*/ 2147483647 w 1110"/>
                    <a:gd name="T69" fmla="*/ 2147483647 h 942"/>
                    <a:gd name="T70" fmla="*/ 2147483647 w 1110"/>
                    <a:gd name="T71" fmla="*/ 2147483647 h 942"/>
                    <a:gd name="T72" fmla="*/ 2147483647 w 1110"/>
                    <a:gd name="T73" fmla="*/ 2147483647 h 942"/>
                    <a:gd name="T74" fmla="*/ 2147483647 w 1110"/>
                    <a:gd name="T75" fmla="*/ 2147483647 h 942"/>
                    <a:gd name="T76" fmla="*/ 2147483647 w 1110"/>
                    <a:gd name="T77" fmla="*/ 2147483647 h 942"/>
                    <a:gd name="T78" fmla="*/ 2147483647 w 1110"/>
                    <a:gd name="T79" fmla="*/ 2147483647 h 942"/>
                    <a:gd name="T80" fmla="*/ 2147483647 w 1110"/>
                    <a:gd name="T81" fmla="*/ 2147483647 h 942"/>
                    <a:gd name="T82" fmla="*/ 2147483647 w 1110"/>
                    <a:gd name="T83" fmla="*/ 2147483647 h 942"/>
                    <a:gd name="T84" fmla="*/ 2147483647 w 1110"/>
                    <a:gd name="T85" fmla="*/ 2147483647 h 942"/>
                    <a:gd name="T86" fmla="*/ 2147483647 w 1110"/>
                    <a:gd name="T87" fmla="*/ 2147483647 h 942"/>
                    <a:gd name="T88" fmla="*/ 2147483647 w 1110"/>
                    <a:gd name="T89" fmla="*/ 2147483647 h 942"/>
                    <a:gd name="T90" fmla="*/ 2147483647 w 1110"/>
                    <a:gd name="T91" fmla="*/ 2147483647 h 942"/>
                    <a:gd name="T92" fmla="*/ 2147483647 w 1110"/>
                    <a:gd name="T93" fmla="*/ 2147483647 h 942"/>
                    <a:gd name="T94" fmla="*/ 2147483647 w 1110"/>
                    <a:gd name="T95" fmla="*/ 2147483647 h 942"/>
                    <a:gd name="T96" fmla="*/ 2147483647 w 1110"/>
                    <a:gd name="T97" fmla="*/ 2147483647 h 942"/>
                    <a:gd name="T98" fmla="*/ 0 w 1110"/>
                    <a:gd name="T99" fmla="*/ 2147483647 h 942"/>
                    <a:gd name="T100" fmla="*/ 2147483647 w 1110"/>
                    <a:gd name="T101" fmla="*/ 2147483647 h 9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0"/>
                    <a:gd name="T154" fmla="*/ 0 h 942"/>
                    <a:gd name="T155" fmla="*/ 1110 w 1110"/>
                    <a:gd name="T156" fmla="*/ 942 h 9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0" h="942">
                      <a:moveTo>
                        <a:pt x="54" y="792"/>
                      </a:moveTo>
                      <a:lnTo>
                        <a:pt x="54" y="810"/>
                      </a:lnTo>
                      <a:lnTo>
                        <a:pt x="66" y="810"/>
                      </a:lnTo>
                      <a:lnTo>
                        <a:pt x="48" y="828"/>
                      </a:lnTo>
                      <a:lnTo>
                        <a:pt x="48" y="834"/>
                      </a:lnTo>
                      <a:lnTo>
                        <a:pt x="72" y="858"/>
                      </a:lnTo>
                      <a:lnTo>
                        <a:pt x="84" y="864"/>
                      </a:lnTo>
                      <a:lnTo>
                        <a:pt x="90" y="876"/>
                      </a:lnTo>
                      <a:lnTo>
                        <a:pt x="108" y="876"/>
                      </a:lnTo>
                      <a:lnTo>
                        <a:pt x="120" y="864"/>
                      </a:lnTo>
                      <a:lnTo>
                        <a:pt x="132" y="864"/>
                      </a:lnTo>
                      <a:lnTo>
                        <a:pt x="144" y="876"/>
                      </a:lnTo>
                      <a:lnTo>
                        <a:pt x="150" y="888"/>
                      </a:lnTo>
                      <a:lnTo>
                        <a:pt x="126" y="894"/>
                      </a:lnTo>
                      <a:lnTo>
                        <a:pt x="150" y="930"/>
                      </a:lnTo>
                      <a:lnTo>
                        <a:pt x="150" y="906"/>
                      </a:lnTo>
                      <a:lnTo>
                        <a:pt x="180" y="894"/>
                      </a:lnTo>
                      <a:lnTo>
                        <a:pt x="192" y="906"/>
                      </a:lnTo>
                      <a:lnTo>
                        <a:pt x="198" y="918"/>
                      </a:lnTo>
                      <a:lnTo>
                        <a:pt x="204" y="924"/>
                      </a:lnTo>
                      <a:lnTo>
                        <a:pt x="210" y="924"/>
                      </a:lnTo>
                      <a:lnTo>
                        <a:pt x="216" y="930"/>
                      </a:lnTo>
                      <a:lnTo>
                        <a:pt x="222" y="930"/>
                      </a:lnTo>
                      <a:lnTo>
                        <a:pt x="234" y="936"/>
                      </a:lnTo>
                      <a:lnTo>
                        <a:pt x="240" y="942"/>
                      </a:lnTo>
                      <a:lnTo>
                        <a:pt x="240" y="888"/>
                      </a:lnTo>
                      <a:lnTo>
                        <a:pt x="246" y="888"/>
                      </a:lnTo>
                      <a:lnTo>
                        <a:pt x="252" y="882"/>
                      </a:lnTo>
                      <a:lnTo>
                        <a:pt x="258" y="870"/>
                      </a:lnTo>
                      <a:lnTo>
                        <a:pt x="264" y="864"/>
                      </a:lnTo>
                      <a:lnTo>
                        <a:pt x="270" y="852"/>
                      </a:lnTo>
                      <a:lnTo>
                        <a:pt x="276" y="834"/>
                      </a:lnTo>
                      <a:lnTo>
                        <a:pt x="276" y="810"/>
                      </a:lnTo>
                      <a:lnTo>
                        <a:pt x="300" y="786"/>
                      </a:lnTo>
                      <a:lnTo>
                        <a:pt x="354" y="786"/>
                      </a:lnTo>
                      <a:lnTo>
                        <a:pt x="354" y="780"/>
                      </a:lnTo>
                      <a:lnTo>
                        <a:pt x="360" y="780"/>
                      </a:lnTo>
                      <a:lnTo>
                        <a:pt x="372" y="774"/>
                      </a:lnTo>
                      <a:lnTo>
                        <a:pt x="384" y="774"/>
                      </a:lnTo>
                      <a:lnTo>
                        <a:pt x="396" y="786"/>
                      </a:lnTo>
                      <a:lnTo>
                        <a:pt x="396" y="792"/>
                      </a:lnTo>
                      <a:lnTo>
                        <a:pt x="432" y="792"/>
                      </a:lnTo>
                      <a:lnTo>
                        <a:pt x="456" y="816"/>
                      </a:lnTo>
                      <a:lnTo>
                        <a:pt x="456" y="822"/>
                      </a:lnTo>
                      <a:lnTo>
                        <a:pt x="462" y="828"/>
                      </a:lnTo>
                      <a:lnTo>
                        <a:pt x="462" y="834"/>
                      </a:lnTo>
                      <a:lnTo>
                        <a:pt x="468" y="840"/>
                      </a:lnTo>
                      <a:lnTo>
                        <a:pt x="480" y="846"/>
                      </a:lnTo>
                      <a:lnTo>
                        <a:pt x="486" y="846"/>
                      </a:lnTo>
                      <a:lnTo>
                        <a:pt x="498" y="840"/>
                      </a:lnTo>
                      <a:lnTo>
                        <a:pt x="510" y="828"/>
                      </a:lnTo>
                      <a:lnTo>
                        <a:pt x="534" y="816"/>
                      </a:lnTo>
                      <a:lnTo>
                        <a:pt x="546" y="816"/>
                      </a:lnTo>
                      <a:lnTo>
                        <a:pt x="558" y="822"/>
                      </a:lnTo>
                      <a:lnTo>
                        <a:pt x="564" y="828"/>
                      </a:lnTo>
                      <a:lnTo>
                        <a:pt x="576" y="834"/>
                      </a:lnTo>
                      <a:lnTo>
                        <a:pt x="588" y="846"/>
                      </a:lnTo>
                      <a:lnTo>
                        <a:pt x="612" y="858"/>
                      </a:lnTo>
                      <a:lnTo>
                        <a:pt x="642" y="858"/>
                      </a:lnTo>
                      <a:lnTo>
                        <a:pt x="654" y="864"/>
                      </a:lnTo>
                      <a:lnTo>
                        <a:pt x="660" y="864"/>
                      </a:lnTo>
                      <a:lnTo>
                        <a:pt x="666" y="858"/>
                      </a:lnTo>
                      <a:lnTo>
                        <a:pt x="678" y="834"/>
                      </a:lnTo>
                      <a:lnTo>
                        <a:pt x="690" y="828"/>
                      </a:lnTo>
                      <a:lnTo>
                        <a:pt x="702" y="816"/>
                      </a:lnTo>
                      <a:lnTo>
                        <a:pt x="720" y="810"/>
                      </a:lnTo>
                      <a:lnTo>
                        <a:pt x="774" y="810"/>
                      </a:lnTo>
                      <a:lnTo>
                        <a:pt x="810" y="822"/>
                      </a:lnTo>
                      <a:lnTo>
                        <a:pt x="822" y="828"/>
                      </a:lnTo>
                      <a:lnTo>
                        <a:pt x="828" y="834"/>
                      </a:lnTo>
                      <a:lnTo>
                        <a:pt x="858" y="834"/>
                      </a:lnTo>
                      <a:lnTo>
                        <a:pt x="870" y="828"/>
                      </a:lnTo>
                      <a:lnTo>
                        <a:pt x="876" y="822"/>
                      </a:lnTo>
                      <a:lnTo>
                        <a:pt x="888" y="816"/>
                      </a:lnTo>
                      <a:lnTo>
                        <a:pt x="894" y="810"/>
                      </a:lnTo>
                      <a:lnTo>
                        <a:pt x="918" y="810"/>
                      </a:lnTo>
                      <a:lnTo>
                        <a:pt x="918" y="804"/>
                      </a:lnTo>
                      <a:lnTo>
                        <a:pt x="924" y="798"/>
                      </a:lnTo>
                      <a:lnTo>
                        <a:pt x="924" y="792"/>
                      </a:lnTo>
                      <a:lnTo>
                        <a:pt x="930" y="786"/>
                      </a:lnTo>
                      <a:lnTo>
                        <a:pt x="936" y="786"/>
                      </a:lnTo>
                      <a:lnTo>
                        <a:pt x="930" y="726"/>
                      </a:lnTo>
                      <a:lnTo>
                        <a:pt x="948" y="720"/>
                      </a:lnTo>
                      <a:lnTo>
                        <a:pt x="948" y="714"/>
                      </a:lnTo>
                      <a:lnTo>
                        <a:pt x="954" y="708"/>
                      </a:lnTo>
                      <a:lnTo>
                        <a:pt x="954" y="696"/>
                      </a:lnTo>
                      <a:lnTo>
                        <a:pt x="960" y="678"/>
                      </a:lnTo>
                      <a:lnTo>
                        <a:pt x="966" y="666"/>
                      </a:lnTo>
                      <a:lnTo>
                        <a:pt x="978" y="648"/>
                      </a:lnTo>
                      <a:lnTo>
                        <a:pt x="984" y="636"/>
                      </a:lnTo>
                      <a:lnTo>
                        <a:pt x="1002" y="618"/>
                      </a:lnTo>
                      <a:lnTo>
                        <a:pt x="1026" y="588"/>
                      </a:lnTo>
                      <a:lnTo>
                        <a:pt x="1050" y="564"/>
                      </a:lnTo>
                      <a:lnTo>
                        <a:pt x="1068" y="540"/>
                      </a:lnTo>
                      <a:lnTo>
                        <a:pt x="1074" y="534"/>
                      </a:lnTo>
                      <a:lnTo>
                        <a:pt x="1092" y="288"/>
                      </a:lnTo>
                      <a:lnTo>
                        <a:pt x="1110" y="252"/>
                      </a:lnTo>
                      <a:lnTo>
                        <a:pt x="1080" y="216"/>
                      </a:lnTo>
                      <a:lnTo>
                        <a:pt x="1074" y="192"/>
                      </a:lnTo>
                      <a:lnTo>
                        <a:pt x="1044" y="156"/>
                      </a:lnTo>
                      <a:lnTo>
                        <a:pt x="1056" y="108"/>
                      </a:lnTo>
                      <a:lnTo>
                        <a:pt x="1038" y="42"/>
                      </a:lnTo>
                      <a:lnTo>
                        <a:pt x="1020" y="48"/>
                      </a:lnTo>
                      <a:lnTo>
                        <a:pt x="1002" y="60"/>
                      </a:lnTo>
                      <a:lnTo>
                        <a:pt x="990" y="66"/>
                      </a:lnTo>
                      <a:lnTo>
                        <a:pt x="984" y="66"/>
                      </a:lnTo>
                      <a:lnTo>
                        <a:pt x="978" y="60"/>
                      </a:lnTo>
                      <a:lnTo>
                        <a:pt x="966" y="54"/>
                      </a:lnTo>
                      <a:lnTo>
                        <a:pt x="960" y="42"/>
                      </a:lnTo>
                      <a:lnTo>
                        <a:pt x="954" y="36"/>
                      </a:lnTo>
                      <a:lnTo>
                        <a:pt x="942" y="30"/>
                      </a:lnTo>
                      <a:lnTo>
                        <a:pt x="936" y="24"/>
                      </a:lnTo>
                      <a:lnTo>
                        <a:pt x="930" y="24"/>
                      </a:lnTo>
                      <a:lnTo>
                        <a:pt x="918" y="18"/>
                      </a:lnTo>
                      <a:lnTo>
                        <a:pt x="900" y="12"/>
                      </a:lnTo>
                      <a:lnTo>
                        <a:pt x="888" y="12"/>
                      </a:lnTo>
                      <a:lnTo>
                        <a:pt x="876" y="6"/>
                      </a:lnTo>
                      <a:lnTo>
                        <a:pt x="864" y="6"/>
                      </a:lnTo>
                      <a:lnTo>
                        <a:pt x="828" y="0"/>
                      </a:lnTo>
                      <a:lnTo>
                        <a:pt x="816" y="6"/>
                      </a:lnTo>
                      <a:lnTo>
                        <a:pt x="786" y="30"/>
                      </a:lnTo>
                      <a:lnTo>
                        <a:pt x="738" y="66"/>
                      </a:lnTo>
                      <a:lnTo>
                        <a:pt x="684" y="102"/>
                      </a:lnTo>
                      <a:lnTo>
                        <a:pt x="624" y="144"/>
                      </a:lnTo>
                      <a:lnTo>
                        <a:pt x="576" y="180"/>
                      </a:lnTo>
                      <a:lnTo>
                        <a:pt x="534" y="210"/>
                      </a:lnTo>
                      <a:lnTo>
                        <a:pt x="510" y="222"/>
                      </a:lnTo>
                      <a:lnTo>
                        <a:pt x="480" y="246"/>
                      </a:lnTo>
                      <a:lnTo>
                        <a:pt x="450" y="282"/>
                      </a:lnTo>
                      <a:lnTo>
                        <a:pt x="414" y="312"/>
                      </a:lnTo>
                      <a:lnTo>
                        <a:pt x="390" y="330"/>
                      </a:lnTo>
                      <a:lnTo>
                        <a:pt x="366" y="336"/>
                      </a:lnTo>
                      <a:lnTo>
                        <a:pt x="324" y="342"/>
                      </a:lnTo>
                      <a:lnTo>
                        <a:pt x="282" y="354"/>
                      </a:lnTo>
                      <a:lnTo>
                        <a:pt x="282" y="558"/>
                      </a:lnTo>
                      <a:lnTo>
                        <a:pt x="264" y="582"/>
                      </a:lnTo>
                      <a:lnTo>
                        <a:pt x="264" y="594"/>
                      </a:lnTo>
                      <a:lnTo>
                        <a:pt x="258" y="606"/>
                      </a:lnTo>
                      <a:lnTo>
                        <a:pt x="258" y="624"/>
                      </a:lnTo>
                      <a:lnTo>
                        <a:pt x="252" y="636"/>
                      </a:lnTo>
                      <a:lnTo>
                        <a:pt x="240" y="642"/>
                      </a:lnTo>
                      <a:lnTo>
                        <a:pt x="222" y="648"/>
                      </a:lnTo>
                      <a:lnTo>
                        <a:pt x="198" y="648"/>
                      </a:lnTo>
                      <a:lnTo>
                        <a:pt x="186" y="654"/>
                      </a:lnTo>
                      <a:lnTo>
                        <a:pt x="138" y="648"/>
                      </a:lnTo>
                      <a:lnTo>
                        <a:pt x="138" y="666"/>
                      </a:lnTo>
                      <a:lnTo>
                        <a:pt x="72" y="660"/>
                      </a:lnTo>
                      <a:lnTo>
                        <a:pt x="48" y="678"/>
                      </a:lnTo>
                      <a:lnTo>
                        <a:pt x="0" y="690"/>
                      </a:lnTo>
                      <a:lnTo>
                        <a:pt x="0" y="726"/>
                      </a:lnTo>
                      <a:lnTo>
                        <a:pt x="6" y="738"/>
                      </a:lnTo>
                      <a:lnTo>
                        <a:pt x="6" y="762"/>
                      </a:lnTo>
                      <a:lnTo>
                        <a:pt x="18" y="786"/>
                      </a:lnTo>
                      <a:lnTo>
                        <a:pt x="30" y="792"/>
                      </a:lnTo>
                      <a:lnTo>
                        <a:pt x="54" y="79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6" name="Mozambique">
                  <a:extLst>
                    <a:ext uri="{FF2B5EF4-FFF2-40B4-BE49-F238E27FC236}">
                      <a16:creationId xmlns:a16="http://schemas.microsoft.com/office/drawing/2014/main" id="{2F1990EE-353C-49F0-8C46-C2B758A22458}"/>
                    </a:ext>
                  </a:extLst>
                </p:cNvPr>
                <p:cNvSpPr>
                  <a:spLocks/>
                </p:cNvSpPr>
                <p:nvPr/>
              </p:nvSpPr>
              <p:spPr bwMode="gray">
                <a:xfrm>
                  <a:off x="5042442" y="3700786"/>
                  <a:ext cx="287093" cy="504235"/>
                </a:xfrm>
                <a:custGeom>
                  <a:avLst/>
                  <a:gdLst>
                    <a:gd name="T0" fmla="*/ 2147483647 w 762"/>
                    <a:gd name="T1" fmla="*/ 2147483647 h 1338"/>
                    <a:gd name="T2" fmla="*/ 2147483647 w 762"/>
                    <a:gd name="T3" fmla="*/ 2147483647 h 1338"/>
                    <a:gd name="T4" fmla="*/ 2147483647 w 762"/>
                    <a:gd name="T5" fmla="*/ 2147483647 h 1338"/>
                    <a:gd name="T6" fmla="*/ 2147483647 w 762"/>
                    <a:gd name="T7" fmla="*/ 2147483647 h 1338"/>
                    <a:gd name="T8" fmla="*/ 2147483647 w 762"/>
                    <a:gd name="T9" fmla="*/ 2147483647 h 1338"/>
                    <a:gd name="T10" fmla="*/ 2147483647 w 762"/>
                    <a:gd name="T11" fmla="*/ 2147483647 h 1338"/>
                    <a:gd name="T12" fmla="*/ 2147483647 w 762"/>
                    <a:gd name="T13" fmla="*/ 2147483647 h 1338"/>
                    <a:gd name="T14" fmla="*/ 2147483647 w 762"/>
                    <a:gd name="T15" fmla="*/ 2147483647 h 1338"/>
                    <a:gd name="T16" fmla="*/ 2147483647 w 762"/>
                    <a:gd name="T17" fmla="*/ 2147483647 h 1338"/>
                    <a:gd name="T18" fmla="*/ 2147483647 w 762"/>
                    <a:gd name="T19" fmla="*/ 2147483647 h 1338"/>
                    <a:gd name="T20" fmla="*/ 2147483647 w 762"/>
                    <a:gd name="T21" fmla="*/ 2147483647 h 1338"/>
                    <a:gd name="T22" fmla="*/ 2147483647 w 762"/>
                    <a:gd name="T23" fmla="*/ 2147483647 h 1338"/>
                    <a:gd name="T24" fmla="*/ 2147483647 w 762"/>
                    <a:gd name="T25" fmla="*/ 2147483647 h 1338"/>
                    <a:gd name="T26" fmla="*/ 2147483647 w 762"/>
                    <a:gd name="T27" fmla="*/ 2147483647 h 1338"/>
                    <a:gd name="T28" fmla="*/ 2147483647 w 762"/>
                    <a:gd name="T29" fmla="*/ 2147483647 h 1338"/>
                    <a:gd name="T30" fmla="*/ 2147483647 w 762"/>
                    <a:gd name="T31" fmla="*/ 2147483647 h 1338"/>
                    <a:gd name="T32" fmla="*/ 2147483647 w 762"/>
                    <a:gd name="T33" fmla="*/ 2147483647 h 1338"/>
                    <a:gd name="T34" fmla="*/ 2147483647 w 762"/>
                    <a:gd name="T35" fmla="*/ 2147483647 h 1338"/>
                    <a:gd name="T36" fmla="*/ 2147483647 w 762"/>
                    <a:gd name="T37" fmla="*/ 2147483647 h 1338"/>
                    <a:gd name="T38" fmla="*/ 2147483647 w 762"/>
                    <a:gd name="T39" fmla="*/ 2147483647 h 1338"/>
                    <a:gd name="T40" fmla="*/ 2147483647 w 762"/>
                    <a:gd name="T41" fmla="*/ 2147483647 h 1338"/>
                    <a:gd name="T42" fmla="*/ 2147483647 w 762"/>
                    <a:gd name="T43" fmla="*/ 2147483647 h 1338"/>
                    <a:gd name="T44" fmla="*/ 2147483647 w 762"/>
                    <a:gd name="T45" fmla="*/ 2147483647 h 1338"/>
                    <a:gd name="T46" fmla="*/ 2147483647 w 762"/>
                    <a:gd name="T47" fmla="*/ 2147483647 h 1338"/>
                    <a:gd name="T48" fmla="*/ 2147483647 w 762"/>
                    <a:gd name="T49" fmla="*/ 2147483647 h 1338"/>
                    <a:gd name="T50" fmla="*/ 2147483647 w 762"/>
                    <a:gd name="T51" fmla="*/ 2147483647 h 1338"/>
                    <a:gd name="T52" fmla="*/ 2147483647 w 762"/>
                    <a:gd name="T53" fmla="*/ 2147483647 h 1338"/>
                    <a:gd name="T54" fmla="*/ 2147483647 w 762"/>
                    <a:gd name="T55" fmla="*/ 2147483647 h 1338"/>
                    <a:gd name="T56" fmla="*/ 0 w 762"/>
                    <a:gd name="T57" fmla="*/ 2147483647 h 1338"/>
                    <a:gd name="T58" fmla="*/ 2147483647 w 762"/>
                    <a:gd name="T59" fmla="*/ 2147483647 h 1338"/>
                    <a:gd name="T60" fmla="*/ 2147483647 w 762"/>
                    <a:gd name="T61" fmla="*/ 2147483647 h 1338"/>
                    <a:gd name="T62" fmla="*/ 2147483647 w 762"/>
                    <a:gd name="T63" fmla="*/ 2147483647 h 1338"/>
                    <a:gd name="T64" fmla="*/ 2147483647 w 762"/>
                    <a:gd name="T65" fmla="*/ 2147483647 h 1338"/>
                    <a:gd name="T66" fmla="*/ 2147483647 w 762"/>
                    <a:gd name="T67" fmla="*/ 2147483647 h 1338"/>
                    <a:gd name="T68" fmla="*/ 2147483647 w 762"/>
                    <a:gd name="T69" fmla="*/ 2147483647 h 1338"/>
                    <a:gd name="T70" fmla="*/ 2147483647 w 762"/>
                    <a:gd name="T71" fmla="*/ 2147483647 h 1338"/>
                    <a:gd name="T72" fmla="*/ 2147483647 w 762"/>
                    <a:gd name="T73" fmla="*/ 2147483647 h 1338"/>
                    <a:gd name="T74" fmla="*/ 2147483647 w 762"/>
                    <a:gd name="T75" fmla="*/ 2147483647 h 1338"/>
                    <a:gd name="T76" fmla="*/ 2147483647 w 762"/>
                    <a:gd name="T77" fmla="*/ 2147483647 h 1338"/>
                    <a:gd name="T78" fmla="*/ 2147483647 w 762"/>
                    <a:gd name="T79" fmla="*/ 2147483647 h 1338"/>
                    <a:gd name="T80" fmla="*/ 2147483647 w 762"/>
                    <a:gd name="T81" fmla="*/ 2147483647 h 1338"/>
                    <a:gd name="T82" fmla="*/ 2147483647 w 762"/>
                    <a:gd name="T83" fmla="*/ 2147483647 h 1338"/>
                    <a:gd name="T84" fmla="*/ 2147483647 w 762"/>
                    <a:gd name="T85" fmla="*/ 2147483647 h 1338"/>
                    <a:gd name="T86" fmla="*/ 2147483647 w 762"/>
                    <a:gd name="T87" fmla="*/ 2147483647 h 1338"/>
                    <a:gd name="T88" fmla="*/ 2147483647 w 762"/>
                    <a:gd name="T89" fmla="*/ 2147483647 h 1338"/>
                    <a:gd name="T90" fmla="*/ 2147483647 w 762"/>
                    <a:gd name="T91" fmla="*/ 2147483647 h 1338"/>
                    <a:gd name="T92" fmla="*/ 2147483647 w 762"/>
                    <a:gd name="T93" fmla="*/ 2147483647 h 1338"/>
                    <a:gd name="T94" fmla="*/ 2147483647 w 762"/>
                    <a:gd name="T95" fmla="*/ 2147483647 h 1338"/>
                    <a:gd name="T96" fmla="*/ 2147483647 w 762"/>
                    <a:gd name="T97" fmla="*/ 2147483647 h 1338"/>
                    <a:gd name="T98" fmla="*/ 2147483647 w 762"/>
                    <a:gd name="T99" fmla="*/ 2147483647 h 1338"/>
                    <a:gd name="T100" fmla="*/ 2147483647 w 762"/>
                    <a:gd name="T101" fmla="*/ 2147483647 h 1338"/>
                    <a:gd name="T102" fmla="*/ 2147483647 w 762"/>
                    <a:gd name="T103" fmla="*/ 2147483647 h 1338"/>
                    <a:gd name="T104" fmla="*/ 2147483647 w 762"/>
                    <a:gd name="T105" fmla="*/ 2147483647 h 1338"/>
                    <a:gd name="T106" fmla="*/ 2147483647 w 762"/>
                    <a:gd name="T107" fmla="*/ 2147483647 h 1338"/>
                    <a:gd name="T108" fmla="*/ 2147483647 w 762"/>
                    <a:gd name="T109" fmla="*/ 2147483647 h 1338"/>
                    <a:gd name="T110" fmla="*/ 2147483647 w 762"/>
                    <a:gd name="T111" fmla="*/ 2147483647 h 1338"/>
                    <a:gd name="T112" fmla="*/ 2147483647 w 762"/>
                    <a:gd name="T113" fmla="*/ 2147483647 h 1338"/>
                    <a:gd name="T114" fmla="*/ 2147483647 w 762"/>
                    <a:gd name="T115" fmla="*/ 2147483647 h 1338"/>
                    <a:gd name="T116" fmla="*/ 2147483647 w 762"/>
                    <a:gd name="T117" fmla="*/ 2147483647 h 1338"/>
                    <a:gd name="T118" fmla="*/ 2147483647 w 762"/>
                    <a:gd name="T119" fmla="*/ 2147483647 h 1338"/>
                    <a:gd name="T120" fmla="*/ 2147483647 w 762"/>
                    <a:gd name="T121" fmla="*/ 2147483647 h 1338"/>
                    <a:gd name="T122" fmla="*/ 2147483647 w 762"/>
                    <a:gd name="T123" fmla="*/ 2147483647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1338"/>
                    <a:gd name="T188" fmla="*/ 762 w 762"/>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1338">
                      <a:moveTo>
                        <a:pt x="762" y="342"/>
                      </a:moveTo>
                      <a:lnTo>
                        <a:pt x="762" y="324"/>
                      </a:lnTo>
                      <a:lnTo>
                        <a:pt x="756" y="318"/>
                      </a:lnTo>
                      <a:lnTo>
                        <a:pt x="744" y="318"/>
                      </a:lnTo>
                      <a:lnTo>
                        <a:pt x="744" y="258"/>
                      </a:lnTo>
                      <a:lnTo>
                        <a:pt x="732" y="246"/>
                      </a:lnTo>
                      <a:lnTo>
                        <a:pt x="750" y="234"/>
                      </a:lnTo>
                      <a:lnTo>
                        <a:pt x="738" y="186"/>
                      </a:lnTo>
                      <a:lnTo>
                        <a:pt x="750" y="156"/>
                      </a:lnTo>
                      <a:lnTo>
                        <a:pt x="738" y="120"/>
                      </a:lnTo>
                      <a:lnTo>
                        <a:pt x="738" y="108"/>
                      </a:lnTo>
                      <a:lnTo>
                        <a:pt x="750" y="72"/>
                      </a:lnTo>
                      <a:lnTo>
                        <a:pt x="756" y="42"/>
                      </a:lnTo>
                      <a:lnTo>
                        <a:pt x="756" y="12"/>
                      </a:lnTo>
                      <a:lnTo>
                        <a:pt x="744" y="0"/>
                      </a:lnTo>
                      <a:lnTo>
                        <a:pt x="666" y="54"/>
                      </a:lnTo>
                      <a:lnTo>
                        <a:pt x="636" y="60"/>
                      </a:lnTo>
                      <a:lnTo>
                        <a:pt x="630" y="60"/>
                      </a:lnTo>
                      <a:lnTo>
                        <a:pt x="618" y="72"/>
                      </a:lnTo>
                      <a:lnTo>
                        <a:pt x="606" y="78"/>
                      </a:lnTo>
                      <a:lnTo>
                        <a:pt x="594" y="78"/>
                      </a:lnTo>
                      <a:lnTo>
                        <a:pt x="594" y="72"/>
                      </a:lnTo>
                      <a:lnTo>
                        <a:pt x="588" y="66"/>
                      </a:lnTo>
                      <a:lnTo>
                        <a:pt x="564" y="66"/>
                      </a:lnTo>
                      <a:lnTo>
                        <a:pt x="558" y="72"/>
                      </a:lnTo>
                      <a:lnTo>
                        <a:pt x="552" y="84"/>
                      </a:lnTo>
                      <a:lnTo>
                        <a:pt x="540" y="90"/>
                      </a:lnTo>
                      <a:lnTo>
                        <a:pt x="528" y="102"/>
                      </a:lnTo>
                      <a:lnTo>
                        <a:pt x="510" y="102"/>
                      </a:lnTo>
                      <a:lnTo>
                        <a:pt x="498" y="96"/>
                      </a:lnTo>
                      <a:lnTo>
                        <a:pt x="492" y="90"/>
                      </a:lnTo>
                      <a:lnTo>
                        <a:pt x="486" y="90"/>
                      </a:lnTo>
                      <a:lnTo>
                        <a:pt x="468" y="108"/>
                      </a:lnTo>
                      <a:lnTo>
                        <a:pt x="456" y="108"/>
                      </a:lnTo>
                      <a:lnTo>
                        <a:pt x="450" y="102"/>
                      </a:lnTo>
                      <a:lnTo>
                        <a:pt x="438" y="96"/>
                      </a:lnTo>
                      <a:lnTo>
                        <a:pt x="432" y="84"/>
                      </a:lnTo>
                      <a:lnTo>
                        <a:pt x="420" y="78"/>
                      </a:lnTo>
                      <a:lnTo>
                        <a:pt x="408" y="78"/>
                      </a:lnTo>
                      <a:lnTo>
                        <a:pt x="396" y="90"/>
                      </a:lnTo>
                      <a:lnTo>
                        <a:pt x="390" y="90"/>
                      </a:lnTo>
                      <a:lnTo>
                        <a:pt x="384" y="96"/>
                      </a:lnTo>
                      <a:lnTo>
                        <a:pt x="354" y="96"/>
                      </a:lnTo>
                      <a:lnTo>
                        <a:pt x="354" y="114"/>
                      </a:lnTo>
                      <a:lnTo>
                        <a:pt x="330" y="138"/>
                      </a:lnTo>
                      <a:lnTo>
                        <a:pt x="330" y="150"/>
                      </a:lnTo>
                      <a:lnTo>
                        <a:pt x="342" y="162"/>
                      </a:lnTo>
                      <a:lnTo>
                        <a:pt x="348" y="174"/>
                      </a:lnTo>
                      <a:lnTo>
                        <a:pt x="348" y="204"/>
                      </a:lnTo>
                      <a:lnTo>
                        <a:pt x="342" y="216"/>
                      </a:lnTo>
                      <a:lnTo>
                        <a:pt x="336" y="234"/>
                      </a:lnTo>
                      <a:lnTo>
                        <a:pt x="336" y="246"/>
                      </a:lnTo>
                      <a:lnTo>
                        <a:pt x="342" y="246"/>
                      </a:lnTo>
                      <a:lnTo>
                        <a:pt x="342" y="252"/>
                      </a:lnTo>
                      <a:lnTo>
                        <a:pt x="348" y="252"/>
                      </a:lnTo>
                      <a:lnTo>
                        <a:pt x="372" y="276"/>
                      </a:lnTo>
                      <a:lnTo>
                        <a:pt x="384" y="300"/>
                      </a:lnTo>
                      <a:lnTo>
                        <a:pt x="390" y="306"/>
                      </a:lnTo>
                      <a:lnTo>
                        <a:pt x="396" y="318"/>
                      </a:lnTo>
                      <a:lnTo>
                        <a:pt x="408" y="336"/>
                      </a:lnTo>
                      <a:lnTo>
                        <a:pt x="420" y="348"/>
                      </a:lnTo>
                      <a:lnTo>
                        <a:pt x="420" y="366"/>
                      </a:lnTo>
                      <a:lnTo>
                        <a:pt x="414" y="372"/>
                      </a:lnTo>
                      <a:lnTo>
                        <a:pt x="408" y="384"/>
                      </a:lnTo>
                      <a:lnTo>
                        <a:pt x="402" y="390"/>
                      </a:lnTo>
                      <a:lnTo>
                        <a:pt x="402" y="450"/>
                      </a:lnTo>
                      <a:lnTo>
                        <a:pt x="396" y="456"/>
                      </a:lnTo>
                      <a:lnTo>
                        <a:pt x="372" y="456"/>
                      </a:lnTo>
                      <a:lnTo>
                        <a:pt x="360" y="462"/>
                      </a:lnTo>
                      <a:lnTo>
                        <a:pt x="354" y="474"/>
                      </a:lnTo>
                      <a:lnTo>
                        <a:pt x="354" y="492"/>
                      </a:lnTo>
                      <a:lnTo>
                        <a:pt x="360" y="492"/>
                      </a:lnTo>
                      <a:lnTo>
                        <a:pt x="366" y="498"/>
                      </a:lnTo>
                      <a:lnTo>
                        <a:pt x="366" y="528"/>
                      </a:lnTo>
                      <a:lnTo>
                        <a:pt x="354" y="534"/>
                      </a:lnTo>
                      <a:lnTo>
                        <a:pt x="348" y="540"/>
                      </a:lnTo>
                      <a:lnTo>
                        <a:pt x="342" y="534"/>
                      </a:lnTo>
                      <a:lnTo>
                        <a:pt x="342" y="522"/>
                      </a:lnTo>
                      <a:lnTo>
                        <a:pt x="348" y="516"/>
                      </a:lnTo>
                      <a:lnTo>
                        <a:pt x="348" y="504"/>
                      </a:lnTo>
                      <a:lnTo>
                        <a:pt x="336" y="498"/>
                      </a:lnTo>
                      <a:lnTo>
                        <a:pt x="330" y="492"/>
                      </a:lnTo>
                      <a:lnTo>
                        <a:pt x="318" y="486"/>
                      </a:lnTo>
                      <a:lnTo>
                        <a:pt x="312" y="480"/>
                      </a:lnTo>
                      <a:lnTo>
                        <a:pt x="300" y="474"/>
                      </a:lnTo>
                      <a:lnTo>
                        <a:pt x="300" y="444"/>
                      </a:lnTo>
                      <a:lnTo>
                        <a:pt x="288" y="444"/>
                      </a:lnTo>
                      <a:lnTo>
                        <a:pt x="288" y="438"/>
                      </a:lnTo>
                      <a:lnTo>
                        <a:pt x="294" y="432"/>
                      </a:lnTo>
                      <a:lnTo>
                        <a:pt x="306" y="426"/>
                      </a:lnTo>
                      <a:lnTo>
                        <a:pt x="312" y="420"/>
                      </a:lnTo>
                      <a:lnTo>
                        <a:pt x="300" y="402"/>
                      </a:lnTo>
                      <a:lnTo>
                        <a:pt x="312" y="396"/>
                      </a:lnTo>
                      <a:lnTo>
                        <a:pt x="318" y="366"/>
                      </a:lnTo>
                      <a:lnTo>
                        <a:pt x="312" y="366"/>
                      </a:lnTo>
                      <a:lnTo>
                        <a:pt x="312" y="330"/>
                      </a:lnTo>
                      <a:lnTo>
                        <a:pt x="306" y="324"/>
                      </a:lnTo>
                      <a:lnTo>
                        <a:pt x="288" y="324"/>
                      </a:lnTo>
                      <a:lnTo>
                        <a:pt x="282" y="330"/>
                      </a:lnTo>
                      <a:lnTo>
                        <a:pt x="252" y="330"/>
                      </a:lnTo>
                      <a:lnTo>
                        <a:pt x="222" y="282"/>
                      </a:lnTo>
                      <a:lnTo>
                        <a:pt x="216" y="282"/>
                      </a:lnTo>
                      <a:lnTo>
                        <a:pt x="210" y="288"/>
                      </a:lnTo>
                      <a:lnTo>
                        <a:pt x="192" y="294"/>
                      </a:lnTo>
                      <a:lnTo>
                        <a:pt x="180" y="300"/>
                      </a:lnTo>
                      <a:lnTo>
                        <a:pt x="162" y="312"/>
                      </a:lnTo>
                      <a:lnTo>
                        <a:pt x="138" y="324"/>
                      </a:lnTo>
                      <a:lnTo>
                        <a:pt x="132" y="324"/>
                      </a:lnTo>
                      <a:lnTo>
                        <a:pt x="120" y="330"/>
                      </a:lnTo>
                      <a:lnTo>
                        <a:pt x="102" y="336"/>
                      </a:lnTo>
                      <a:lnTo>
                        <a:pt x="84" y="336"/>
                      </a:lnTo>
                      <a:lnTo>
                        <a:pt x="72" y="342"/>
                      </a:lnTo>
                      <a:lnTo>
                        <a:pt x="60" y="342"/>
                      </a:lnTo>
                      <a:lnTo>
                        <a:pt x="42" y="360"/>
                      </a:lnTo>
                      <a:lnTo>
                        <a:pt x="12" y="360"/>
                      </a:lnTo>
                      <a:lnTo>
                        <a:pt x="0" y="372"/>
                      </a:lnTo>
                      <a:lnTo>
                        <a:pt x="18" y="390"/>
                      </a:lnTo>
                      <a:lnTo>
                        <a:pt x="24" y="444"/>
                      </a:lnTo>
                      <a:lnTo>
                        <a:pt x="84" y="444"/>
                      </a:lnTo>
                      <a:lnTo>
                        <a:pt x="96" y="462"/>
                      </a:lnTo>
                      <a:lnTo>
                        <a:pt x="114" y="462"/>
                      </a:lnTo>
                      <a:lnTo>
                        <a:pt x="132" y="486"/>
                      </a:lnTo>
                      <a:lnTo>
                        <a:pt x="138" y="486"/>
                      </a:lnTo>
                      <a:lnTo>
                        <a:pt x="150" y="480"/>
                      </a:lnTo>
                      <a:lnTo>
                        <a:pt x="162" y="480"/>
                      </a:lnTo>
                      <a:lnTo>
                        <a:pt x="180" y="498"/>
                      </a:lnTo>
                      <a:lnTo>
                        <a:pt x="192" y="498"/>
                      </a:lnTo>
                      <a:lnTo>
                        <a:pt x="204" y="510"/>
                      </a:lnTo>
                      <a:lnTo>
                        <a:pt x="204" y="516"/>
                      </a:lnTo>
                      <a:lnTo>
                        <a:pt x="198" y="528"/>
                      </a:lnTo>
                      <a:lnTo>
                        <a:pt x="192" y="534"/>
                      </a:lnTo>
                      <a:lnTo>
                        <a:pt x="204" y="552"/>
                      </a:lnTo>
                      <a:lnTo>
                        <a:pt x="192" y="564"/>
                      </a:lnTo>
                      <a:lnTo>
                        <a:pt x="204" y="576"/>
                      </a:lnTo>
                      <a:lnTo>
                        <a:pt x="198" y="582"/>
                      </a:lnTo>
                      <a:lnTo>
                        <a:pt x="198" y="588"/>
                      </a:lnTo>
                      <a:lnTo>
                        <a:pt x="192" y="594"/>
                      </a:lnTo>
                      <a:lnTo>
                        <a:pt x="192" y="606"/>
                      </a:lnTo>
                      <a:lnTo>
                        <a:pt x="204" y="630"/>
                      </a:lnTo>
                      <a:lnTo>
                        <a:pt x="204" y="642"/>
                      </a:lnTo>
                      <a:lnTo>
                        <a:pt x="198" y="648"/>
                      </a:lnTo>
                      <a:lnTo>
                        <a:pt x="198" y="654"/>
                      </a:lnTo>
                      <a:lnTo>
                        <a:pt x="192" y="654"/>
                      </a:lnTo>
                      <a:lnTo>
                        <a:pt x="192" y="666"/>
                      </a:lnTo>
                      <a:lnTo>
                        <a:pt x="174" y="678"/>
                      </a:lnTo>
                      <a:lnTo>
                        <a:pt x="192" y="702"/>
                      </a:lnTo>
                      <a:lnTo>
                        <a:pt x="174" y="720"/>
                      </a:lnTo>
                      <a:lnTo>
                        <a:pt x="174" y="732"/>
                      </a:lnTo>
                      <a:lnTo>
                        <a:pt x="198" y="756"/>
                      </a:lnTo>
                      <a:lnTo>
                        <a:pt x="198" y="762"/>
                      </a:lnTo>
                      <a:lnTo>
                        <a:pt x="192" y="774"/>
                      </a:lnTo>
                      <a:lnTo>
                        <a:pt x="180" y="786"/>
                      </a:lnTo>
                      <a:lnTo>
                        <a:pt x="180" y="798"/>
                      </a:lnTo>
                      <a:lnTo>
                        <a:pt x="168" y="810"/>
                      </a:lnTo>
                      <a:lnTo>
                        <a:pt x="156" y="816"/>
                      </a:lnTo>
                      <a:lnTo>
                        <a:pt x="156" y="846"/>
                      </a:lnTo>
                      <a:lnTo>
                        <a:pt x="144" y="858"/>
                      </a:lnTo>
                      <a:lnTo>
                        <a:pt x="156" y="876"/>
                      </a:lnTo>
                      <a:lnTo>
                        <a:pt x="138" y="882"/>
                      </a:lnTo>
                      <a:lnTo>
                        <a:pt x="72" y="966"/>
                      </a:lnTo>
                      <a:lnTo>
                        <a:pt x="72" y="996"/>
                      </a:lnTo>
                      <a:lnTo>
                        <a:pt x="78" y="1014"/>
                      </a:lnTo>
                      <a:lnTo>
                        <a:pt x="78" y="1032"/>
                      </a:lnTo>
                      <a:lnTo>
                        <a:pt x="84" y="1044"/>
                      </a:lnTo>
                      <a:lnTo>
                        <a:pt x="84" y="1062"/>
                      </a:lnTo>
                      <a:lnTo>
                        <a:pt x="114" y="1122"/>
                      </a:lnTo>
                      <a:lnTo>
                        <a:pt x="114" y="1212"/>
                      </a:lnTo>
                      <a:lnTo>
                        <a:pt x="90" y="1248"/>
                      </a:lnTo>
                      <a:lnTo>
                        <a:pt x="114" y="1248"/>
                      </a:lnTo>
                      <a:lnTo>
                        <a:pt x="108" y="1260"/>
                      </a:lnTo>
                      <a:lnTo>
                        <a:pt x="108" y="1284"/>
                      </a:lnTo>
                      <a:lnTo>
                        <a:pt x="114" y="1290"/>
                      </a:lnTo>
                      <a:lnTo>
                        <a:pt x="120" y="1290"/>
                      </a:lnTo>
                      <a:lnTo>
                        <a:pt x="126" y="1314"/>
                      </a:lnTo>
                      <a:lnTo>
                        <a:pt x="144" y="1314"/>
                      </a:lnTo>
                      <a:lnTo>
                        <a:pt x="156" y="1326"/>
                      </a:lnTo>
                      <a:lnTo>
                        <a:pt x="162" y="1338"/>
                      </a:lnTo>
                      <a:lnTo>
                        <a:pt x="168" y="1320"/>
                      </a:lnTo>
                      <a:lnTo>
                        <a:pt x="168" y="1284"/>
                      </a:lnTo>
                      <a:lnTo>
                        <a:pt x="162" y="1272"/>
                      </a:lnTo>
                      <a:lnTo>
                        <a:pt x="156" y="1266"/>
                      </a:lnTo>
                      <a:lnTo>
                        <a:pt x="150" y="1266"/>
                      </a:lnTo>
                      <a:lnTo>
                        <a:pt x="150" y="1242"/>
                      </a:lnTo>
                      <a:lnTo>
                        <a:pt x="162" y="1230"/>
                      </a:lnTo>
                      <a:lnTo>
                        <a:pt x="222" y="1188"/>
                      </a:lnTo>
                      <a:lnTo>
                        <a:pt x="276" y="1158"/>
                      </a:lnTo>
                      <a:lnTo>
                        <a:pt x="294" y="1146"/>
                      </a:lnTo>
                      <a:lnTo>
                        <a:pt x="312" y="1140"/>
                      </a:lnTo>
                      <a:lnTo>
                        <a:pt x="330" y="1128"/>
                      </a:lnTo>
                      <a:lnTo>
                        <a:pt x="342" y="1122"/>
                      </a:lnTo>
                      <a:lnTo>
                        <a:pt x="360" y="1104"/>
                      </a:lnTo>
                      <a:lnTo>
                        <a:pt x="360" y="1080"/>
                      </a:lnTo>
                      <a:lnTo>
                        <a:pt x="354" y="1080"/>
                      </a:lnTo>
                      <a:lnTo>
                        <a:pt x="354" y="1086"/>
                      </a:lnTo>
                      <a:lnTo>
                        <a:pt x="348" y="1080"/>
                      </a:lnTo>
                      <a:lnTo>
                        <a:pt x="342" y="1080"/>
                      </a:lnTo>
                      <a:lnTo>
                        <a:pt x="342" y="1068"/>
                      </a:lnTo>
                      <a:lnTo>
                        <a:pt x="366" y="1020"/>
                      </a:lnTo>
                      <a:lnTo>
                        <a:pt x="366" y="990"/>
                      </a:lnTo>
                      <a:lnTo>
                        <a:pt x="360" y="984"/>
                      </a:lnTo>
                      <a:lnTo>
                        <a:pt x="360" y="978"/>
                      </a:lnTo>
                      <a:lnTo>
                        <a:pt x="372" y="948"/>
                      </a:lnTo>
                      <a:lnTo>
                        <a:pt x="366" y="942"/>
                      </a:lnTo>
                      <a:lnTo>
                        <a:pt x="348" y="960"/>
                      </a:lnTo>
                      <a:lnTo>
                        <a:pt x="354" y="918"/>
                      </a:lnTo>
                      <a:lnTo>
                        <a:pt x="348" y="906"/>
                      </a:lnTo>
                      <a:lnTo>
                        <a:pt x="336" y="900"/>
                      </a:lnTo>
                      <a:lnTo>
                        <a:pt x="330" y="888"/>
                      </a:lnTo>
                      <a:lnTo>
                        <a:pt x="330" y="870"/>
                      </a:lnTo>
                      <a:lnTo>
                        <a:pt x="336" y="858"/>
                      </a:lnTo>
                      <a:lnTo>
                        <a:pt x="336" y="834"/>
                      </a:lnTo>
                      <a:lnTo>
                        <a:pt x="324" y="822"/>
                      </a:lnTo>
                      <a:lnTo>
                        <a:pt x="318" y="822"/>
                      </a:lnTo>
                      <a:lnTo>
                        <a:pt x="312" y="816"/>
                      </a:lnTo>
                      <a:lnTo>
                        <a:pt x="312" y="792"/>
                      </a:lnTo>
                      <a:lnTo>
                        <a:pt x="318" y="780"/>
                      </a:lnTo>
                      <a:lnTo>
                        <a:pt x="324" y="762"/>
                      </a:lnTo>
                      <a:lnTo>
                        <a:pt x="336" y="750"/>
                      </a:lnTo>
                      <a:lnTo>
                        <a:pt x="372" y="732"/>
                      </a:lnTo>
                      <a:lnTo>
                        <a:pt x="378" y="726"/>
                      </a:lnTo>
                      <a:lnTo>
                        <a:pt x="378" y="714"/>
                      </a:lnTo>
                      <a:lnTo>
                        <a:pt x="390" y="690"/>
                      </a:lnTo>
                      <a:lnTo>
                        <a:pt x="396" y="684"/>
                      </a:lnTo>
                      <a:lnTo>
                        <a:pt x="402" y="684"/>
                      </a:lnTo>
                      <a:lnTo>
                        <a:pt x="414" y="678"/>
                      </a:lnTo>
                      <a:lnTo>
                        <a:pt x="420" y="678"/>
                      </a:lnTo>
                      <a:lnTo>
                        <a:pt x="426" y="672"/>
                      </a:lnTo>
                      <a:lnTo>
                        <a:pt x="450" y="660"/>
                      </a:lnTo>
                      <a:lnTo>
                        <a:pt x="462" y="648"/>
                      </a:lnTo>
                      <a:lnTo>
                        <a:pt x="474" y="612"/>
                      </a:lnTo>
                      <a:lnTo>
                        <a:pt x="498" y="576"/>
                      </a:lnTo>
                      <a:lnTo>
                        <a:pt x="522" y="564"/>
                      </a:lnTo>
                      <a:lnTo>
                        <a:pt x="558" y="552"/>
                      </a:lnTo>
                      <a:lnTo>
                        <a:pt x="600" y="534"/>
                      </a:lnTo>
                      <a:lnTo>
                        <a:pt x="624" y="522"/>
                      </a:lnTo>
                      <a:lnTo>
                        <a:pt x="630" y="516"/>
                      </a:lnTo>
                      <a:lnTo>
                        <a:pt x="666" y="498"/>
                      </a:lnTo>
                      <a:lnTo>
                        <a:pt x="672" y="492"/>
                      </a:lnTo>
                      <a:lnTo>
                        <a:pt x="684" y="486"/>
                      </a:lnTo>
                      <a:lnTo>
                        <a:pt x="684" y="474"/>
                      </a:lnTo>
                      <a:lnTo>
                        <a:pt x="714" y="444"/>
                      </a:lnTo>
                      <a:lnTo>
                        <a:pt x="714" y="432"/>
                      </a:lnTo>
                      <a:lnTo>
                        <a:pt x="720" y="420"/>
                      </a:lnTo>
                      <a:lnTo>
                        <a:pt x="732" y="414"/>
                      </a:lnTo>
                      <a:lnTo>
                        <a:pt x="738" y="402"/>
                      </a:lnTo>
                      <a:lnTo>
                        <a:pt x="744" y="396"/>
                      </a:lnTo>
                      <a:lnTo>
                        <a:pt x="744" y="378"/>
                      </a:lnTo>
                      <a:lnTo>
                        <a:pt x="750" y="372"/>
                      </a:lnTo>
                      <a:lnTo>
                        <a:pt x="762" y="348"/>
                      </a:lnTo>
                      <a:lnTo>
                        <a:pt x="762" y="3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7" name="Malawi">
                  <a:extLst>
                    <a:ext uri="{FF2B5EF4-FFF2-40B4-BE49-F238E27FC236}">
                      <a16:creationId xmlns:a16="http://schemas.microsoft.com/office/drawing/2014/main" id="{8678F08A-EF10-47C5-B873-DBEE09243EFB}"/>
                    </a:ext>
                  </a:extLst>
                </p:cNvPr>
                <p:cNvSpPr>
                  <a:spLocks/>
                </p:cNvSpPr>
                <p:nvPr/>
              </p:nvSpPr>
              <p:spPr bwMode="gray">
                <a:xfrm>
                  <a:off x="5110868" y="3668062"/>
                  <a:ext cx="89252" cy="236499"/>
                </a:xfrm>
                <a:custGeom>
                  <a:avLst/>
                  <a:gdLst>
                    <a:gd name="T0" fmla="*/ 2147483647 w 234"/>
                    <a:gd name="T1" fmla="*/ 2147483647 h 624"/>
                    <a:gd name="T2" fmla="*/ 2147483647 w 234"/>
                    <a:gd name="T3" fmla="*/ 2147483647 h 624"/>
                    <a:gd name="T4" fmla="*/ 2147483647 w 234"/>
                    <a:gd name="T5" fmla="*/ 2147483647 h 624"/>
                    <a:gd name="T6" fmla="*/ 2147483647 w 234"/>
                    <a:gd name="T7" fmla="*/ 2147483647 h 624"/>
                    <a:gd name="T8" fmla="*/ 2147483647 w 234"/>
                    <a:gd name="T9" fmla="*/ 2147483647 h 624"/>
                    <a:gd name="T10" fmla="*/ 2147483647 w 234"/>
                    <a:gd name="T11" fmla="*/ 2147483647 h 624"/>
                    <a:gd name="T12" fmla="*/ 2147483647 w 234"/>
                    <a:gd name="T13" fmla="*/ 2147483647 h 624"/>
                    <a:gd name="T14" fmla="*/ 2147483647 w 234"/>
                    <a:gd name="T15" fmla="*/ 2147483647 h 624"/>
                    <a:gd name="T16" fmla="*/ 2147483647 w 234"/>
                    <a:gd name="T17" fmla="*/ 2147483647 h 624"/>
                    <a:gd name="T18" fmla="*/ 2147483647 w 234"/>
                    <a:gd name="T19" fmla="*/ 2147483647 h 624"/>
                    <a:gd name="T20" fmla="*/ 2147483647 w 234"/>
                    <a:gd name="T21" fmla="*/ 2147483647 h 624"/>
                    <a:gd name="T22" fmla="*/ 2147483647 w 234"/>
                    <a:gd name="T23" fmla="*/ 2147483647 h 624"/>
                    <a:gd name="T24" fmla="*/ 2147483647 w 234"/>
                    <a:gd name="T25" fmla="*/ 2147483647 h 624"/>
                    <a:gd name="T26" fmla="*/ 2147483647 w 234"/>
                    <a:gd name="T27" fmla="*/ 2147483647 h 624"/>
                    <a:gd name="T28" fmla="*/ 2147483647 w 234"/>
                    <a:gd name="T29" fmla="*/ 2147483647 h 624"/>
                    <a:gd name="T30" fmla="*/ 2147483647 w 234"/>
                    <a:gd name="T31" fmla="*/ 2147483647 h 624"/>
                    <a:gd name="T32" fmla="*/ 2147483647 w 234"/>
                    <a:gd name="T33" fmla="*/ 2147483647 h 624"/>
                    <a:gd name="T34" fmla="*/ 2147483647 w 234"/>
                    <a:gd name="T35" fmla="*/ 2147483647 h 624"/>
                    <a:gd name="T36" fmla="*/ 2147483647 w 234"/>
                    <a:gd name="T37" fmla="*/ 2147483647 h 624"/>
                    <a:gd name="T38" fmla="*/ 2147483647 w 234"/>
                    <a:gd name="T39" fmla="*/ 2147483647 h 624"/>
                    <a:gd name="T40" fmla="*/ 2147483647 w 234"/>
                    <a:gd name="T41" fmla="*/ 2147483647 h 624"/>
                    <a:gd name="T42" fmla="*/ 2147483647 w 234"/>
                    <a:gd name="T43" fmla="*/ 2147483647 h 624"/>
                    <a:gd name="T44" fmla="*/ 2147483647 w 234"/>
                    <a:gd name="T45" fmla="*/ 2147483647 h 624"/>
                    <a:gd name="T46" fmla="*/ 2147483647 w 234"/>
                    <a:gd name="T47" fmla="*/ 0 h 624"/>
                    <a:gd name="T48" fmla="*/ 2147483647 w 234"/>
                    <a:gd name="T49" fmla="*/ 2147483647 h 624"/>
                    <a:gd name="T50" fmla="*/ 2147483647 w 234"/>
                    <a:gd name="T51" fmla="*/ 2147483647 h 624"/>
                    <a:gd name="T52" fmla="*/ 2147483647 w 234"/>
                    <a:gd name="T53" fmla="*/ 2147483647 h 624"/>
                    <a:gd name="T54" fmla="*/ 2147483647 w 234"/>
                    <a:gd name="T55" fmla="*/ 2147483647 h 624"/>
                    <a:gd name="T56" fmla="*/ 2147483647 w 234"/>
                    <a:gd name="T57" fmla="*/ 2147483647 h 624"/>
                    <a:gd name="T58" fmla="*/ 2147483647 w 234"/>
                    <a:gd name="T59" fmla="*/ 2147483647 h 624"/>
                    <a:gd name="T60" fmla="*/ 2147483647 w 234"/>
                    <a:gd name="T61" fmla="*/ 2147483647 h 624"/>
                    <a:gd name="T62" fmla="*/ 2147483647 w 234"/>
                    <a:gd name="T63" fmla="*/ 2147483647 h 624"/>
                    <a:gd name="T64" fmla="*/ 2147483647 w 234"/>
                    <a:gd name="T65" fmla="*/ 2147483647 h 624"/>
                    <a:gd name="T66" fmla="*/ 2147483647 w 234"/>
                    <a:gd name="T67" fmla="*/ 2147483647 h 624"/>
                    <a:gd name="T68" fmla="*/ 2147483647 w 234"/>
                    <a:gd name="T69" fmla="*/ 2147483647 h 624"/>
                    <a:gd name="T70" fmla="*/ 2147483647 w 234"/>
                    <a:gd name="T71" fmla="*/ 2147483647 h 624"/>
                    <a:gd name="T72" fmla="*/ 2147483647 w 234"/>
                    <a:gd name="T73" fmla="*/ 2147483647 h 624"/>
                    <a:gd name="T74" fmla="*/ 0 w 234"/>
                    <a:gd name="T75" fmla="*/ 2147483647 h 624"/>
                    <a:gd name="T76" fmla="*/ 2147483647 w 234"/>
                    <a:gd name="T77" fmla="*/ 2147483647 h 624"/>
                    <a:gd name="T78" fmla="*/ 2147483647 w 234"/>
                    <a:gd name="T79" fmla="*/ 2147483647 h 624"/>
                    <a:gd name="T80" fmla="*/ 2147483647 w 234"/>
                    <a:gd name="T81" fmla="*/ 2147483647 h 624"/>
                    <a:gd name="T82" fmla="*/ 2147483647 w 234"/>
                    <a:gd name="T83" fmla="*/ 2147483647 h 624"/>
                    <a:gd name="T84" fmla="*/ 2147483647 w 234"/>
                    <a:gd name="T85" fmla="*/ 2147483647 h 624"/>
                    <a:gd name="T86" fmla="*/ 2147483647 w 234"/>
                    <a:gd name="T87" fmla="*/ 2147483647 h 624"/>
                    <a:gd name="T88" fmla="*/ 2147483647 w 234"/>
                    <a:gd name="T89" fmla="*/ 2147483647 h 624"/>
                    <a:gd name="T90" fmla="*/ 2147483647 w 234"/>
                    <a:gd name="T91" fmla="*/ 2147483647 h 624"/>
                    <a:gd name="T92" fmla="*/ 2147483647 w 234"/>
                    <a:gd name="T93" fmla="*/ 2147483647 h 624"/>
                    <a:gd name="T94" fmla="*/ 2147483647 w 234"/>
                    <a:gd name="T95" fmla="*/ 2147483647 h 624"/>
                    <a:gd name="T96" fmla="*/ 2147483647 w 234"/>
                    <a:gd name="T97" fmla="*/ 2147483647 h 624"/>
                    <a:gd name="T98" fmla="*/ 2147483647 w 234"/>
                    <a:gd name="T99" fmla="*/ 2147483647 h 624"/>
                    <a:gd name="T100" fmla="*/ 2147483647 w 234"/>
                    <a:gd name="T101" fmla="*/ 2147483647 h 624"/>
                    <a:gd name="T102" fmla="*/ 2147483647 w 234"/>
                    <a:gd name="T103" fmla="*/ 2147483647 h 624"/>
                    <a:gd name="T104" fmla="*/ 2147483647 w 234"/>
                    <a:gd name="T105" fmla="*/ 2147483647 h 624"/>
                    <a:gd name="T106" fmla="*/ 2147483647 w 234"/>
                    <a:gd name="T107" fmla="*/ 2147483647 h 624"/>
                    <a:gd name="T108" fmla="*/ 2147483647 w 234"/>
                    <a:gd name="T109" fmla="*/ 2147483647 h 624"/>
                    <a:gd name="T110" fmla="*/ 2147483647 w 234"/>
                    <a:gd name="T111" fmla="*/ 2147483647 h 624"/>
                    <a:gd name="T112" fmla="*/ 2147483647 w 234"/>
                    <a:gd name="T113" fmla="*/ 2147483647 h 624"/>
                    <a:gd name="T114" fmla="*/ 2147483647 w 234"/>
                    <a:gd name="T115" fmla="*/ 2147483647 h 624"/>
                    <a:gd name="T116" fmla="*/ 2147483647 w 234"/>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624"/>
                    <a:gd name="T179" fmla="*/ 234 w 234"/>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624">
                      <a:moveTo>
                        <a:pt x="234" y="432"/>
                      </a:moveTo>
                      <a:lnTo>
                        <a:pt x="222" y="420"/>
                      </a:lnTo>
                      <a:lnTo>
                        <a:pt x="210" y="402"/>
                      </a:lnTo>
                      <a:lnTo>
                        <a:pt x="204" y="390"/>
                      </a:lnTo>
                      <a:lnTo>
                        <a:pt x="198" y="384"/>
                      </a:lnTo>
                      <a:lnTo>
                        <a:pt x="186" y="360"/>
                      </a:lnTo>
                      <a:lnTo>
                        <a:pt x="162" y="336"/>
                      </a:lnTo>
                      <a:lnTo>
                        <a:pt x="156" y="336"/>
                      </a:lnTo>
                      <a:lnTo>
                        <a:pt x="156" y="330"/>
                      </a:lnTo>
                      <a:lnTo>
                        <a:pt x="150" y="330"/>
                      </a:lnTo>
                      <a:lnTo>
                        <a:pt x="150" y="342"/>
                      </a:lnTo>
                      <a:lnTo>
                        <a:pt x="156" y="342"/>
                      </a:lnTo>
                      <a:lnTo>
                        <a:pt x="168" y="354"/>
                      </a:lnTo>
                      <a:lnTo>
                        <a:pt x="168" y="366"/>
                      </a:lnTo>
                      <a:lnTo>
                        <a:pt x="174" y="378"/>
                      </a:lnTo>
                      <a:lnTo>
                        <a:pt x="174" y="390"/>
                      </a:lnTo>
                      <a:lnTo>
                        <a:pt x="168" y="396"/>
                      </a:lnTo>
                      <a:lnTo>
                        <a:pt x="162" y="396"/>
                      </a:lnTo>
                      <a:lnTo>
                        <a:pt x="162" y="390"/>
                      </a:lnTo>
                      <a:lnTo>
                        <a:pt x="156" y="384"/>
                      </a:lnTo>
                      <a:lnTo>
                        <a:pt x="156" y="378"/>
                      </a:lnTo>
                      <a:lnTo>
                        <a:pt x="144" y="384"/>
                      </a:lnTo>
                      <a:lnTo>
                        <a:pt x="132" y="384"/>
                      </a:lnTo>
                      <a:lnTo>
                        <a:pt x="132" y="360"/>
                      </a:lnTo>
                      <a:lnTo>
                        <a:pt x="126" y="354"/>
                      </a:lnTo>
                      <a:lnTo>
                        <a:pt x="126" y="342"/>
                      </a:lnTo>
                      <a:lnTo>
                        <a:pt x="120" y="330"/>
                      </a:lnTo>
                      <a:lnTo>
                        <a:pt x="120" y="282"/>
                      </a:lnTo>
                      <a:lnTo>
                        <a:pt x="84" y="246"/>
                      </a:lnTo>
                      <a:lnTo>
                        <a:pt x="90" y="240"/>
                      </a:lnTo>
                      <a:lnTo>
                        <a:pt x="90" y="222"/>
                      </a:lnTo>
                      <a:lnTo>
                        <a:pt x="96" y="210"/>
                      </a:lnTo>
                      <a:lnTo>
                        <a:pt x="114" y="192"/>
                      </a:lnTo>
                      <a:lnTo>
                        <a:pt x="120" y="180"/>
                      </a:lnTo>
                      <a:lnTo>
                        <a:pt x="126" y="174"/>
                      </a:lnTo>
                      <a:lnTo>
                        <a:pt x="126" y="156"/>
                      </a:lnTo>
                      <a:lnTo>
                        <a:pt x="120" y="150"/>
                      </a:lnTo>
                      <a:lnTo>
                        <a:pt x="120" y="102"/>
                      </a:lnTo>
                      <a:lnTo>
                        <a:pt x="114" y="78"/>
                      </a:lnTo>
                      <a:lnTo>
                        <a:pt x="114" y="60"/>
                      </a:lnTo>
                      <a:lnTo>
                        <a:pt x="102" y="60"/>
                      </a:lnTo>
                      <a:lnTo>
                        <a:pt x="84" y="42"/>
                      </a:lnTo>
                      <a:lnTo>
                        <a:pt x="84" y="36"/>
                      </a:lnTo>
                      <a:lnTo>
                        <a:pt x="90" y="24"/>
                      </a:lnTo>
                      <a:lnTo>
                        <a:pt x="90" y="18"/>
                      </a:lnTo>
                      <a:lnTo>
                        <a:pt x="60" y="18"/>
                      </a:lnTo>
                      <a:lnTo>
                        <a:pt x="54" y="0"/>
                      </a:lnTo>
                      <a:lnTo>
                        <a:pt x="30" y="0"/>
                      </a:lnTo>
                      <a:lnTo>
                        <a:pt x="30" y="12"/>
                      </a:lnTo>
                      <a:lnTo>
                        <a:pt x="42" y="12"/>
                      </a:lnTo>
                      <a:lnTo>
                        <a:pt x="54" y="24"/>
                      </a:lnTo>
                      <a:lnTo>
                        <a:pt x="54" y="66"/>
                      </a:lnTo>
                      <a:lnTo>
                        <a:pt x="60" y="66"/>
                      </a:lnTo>
                      <a:lnTo>
                        <a:pt x="66" y="60"/>
                      </a:lnTo>
                      <a:lnTo>
                        <a:pt x="66" y="84"/>
                      </a:lnTo>
                      <a:lnTo>
                        <a:pt x="78" y="84"/>
                      </a:lnTo>
                      <a:lnTo>
                        <a:pt x="78" y="96"/>
                      </a:lnTo>
                      <a:lnTo>
                        <a:pt x="54" y="108"/>
                      </a:lnTo>
                      <a:lnTo>
                        <a:pt x="48" y="114"/>
                      </a:lnTo>
                      <a:lnTo>
                        <a:pt x="42" y="114"/>
                      </a:lnTo>
                      <a:lnTo>
                        <a:pt x="42" y="132"/>
                      </a:lnTo>
                      <a:lnTo>
                        <a:pt x="54" y="138"/>
                      </a:lnTo>
                      <a:lnTo>
                        <a:pt x="48" y="156"/>
                      </a:lnTo>
                      <a:lnTo>
                        <a:pt x="48" y="228"/>
                      </a:lnTo>
                      <a:lnTo>
                        <a:pt x="60" y="228"/>
                      </a:lnTo>
                      <a:lnTo>
                        <a:pt x="60" y="234"/>
                      </a:lnTo>
                      <a:lnTo>
                        <a:pt x="42" y="252"/>
                      </a:lnTo>
                      <a:lnTo>
                        <a:pt x="30" y="258"/>
                      </a:lnTo>
                      <a:lnTo>
                        <a:pt x="24" y="264"/>
                      </a:lnTo>
                      <a:lnTo>
                        <a:pt x="18" y="264"/>
                      </a:lnTo>
                      <a:lnTo>
                        <a:pt x="24" y="300"/>
                      </a:lnTo>
                      <a:lnTo>
                        <a:pt x="18" y="312"/>
                      </a:lnTo>
                      <a:lnTo>
                        <a:pt x="12" y="318"/>
                      </a:lnTo>
                      <a:lnTo>
                        <a:pt x="6" y="330"/>
                      </a:lnTo>
                      <a:lnTo>
                        <a:pt x="0" y="336"/>
                      </a:lnTo>
                      <a:lnTo>
                        <a:pt x="0" y="342"/>
                      </a:lnTo>
                      <a:lnTo>
                        <a:pt x="12" y="348"/>
                      </a:lnTo>
                      <a:lnTo>
                        <a:pt x="24" y="360"/>
                      </a:lnTo>
                      <a:lnTo>
                        <a:pt x="36" y="366"/>
                      </a:lnTo>
                      <a:lnTo>
                        <a:pt x="66" y="414"/>
                      </a:lnTo>
                      <a:lnTo>
                        <a:pt x="96" y="414"/>
                      </a:lnTo>
                      <a:lnTo>
                        <a:pt x="102" y="408"/>
                      </a:lnTo>
                      <a:lnTo>
                        <a:pt x="120" y="408"/>
                      </a:lnTo>
                      <a:lnTo>
                        <a:pt x="126" y="414"/>
                      </a:lnTo>
                      <a:lnTo>
                        <a:pt x="126" y="450"/>
                      </a:lnTo>
                      <a:lnTo>
                        <a:pt x="132" y="450"/>
                      </a:lnTo>
                      <a:lnTo>
                        <a:pt x="126" y="480"/>
                      </a:lnTo>
                      <a:lnTo>
                        <a:pt x="114" y="486"/>
                      </a:lnTo>
                      <a:lnTo>
                        <a:pt x="126" y="504"/>
                      </a:lnTo>
                      <a:lnTo>
                        <a:pt x="120" y="510"/>
                      </a:lnTo>
                      <a:lnTo>
                        <a:pt x="108" y="516"/>
                      </a:lnTo>
                      <a:lnTo>
                        <a:pt x="102" y="522"/>
                      </a:lnTo>
                      <a:lnTo>
                        <a:pt x="102" y="528"/>
                      </a:lnTo>
                      <a:lnTo>
                        <a:pt x="114" y="528"/>
                      </a:lnTo>
                      <a:lnTo>
                        <a:pt x="114" y="558"/>
                      </a:lnTo>
                      <a:lnTo>
                        <a:pt x="126" y="564"/>
                      </a:lnTo>
                      <a:lnTo>
                        <a:pt x="132" y="570"/>
                      </a:lnTo>
                      <a:lnTo>
                        <a:pt x="144" y="576"/>
                      </a:lnTo>
                      <a:lnTo>
                        <a:pt x="150" y="582"/>
                      </a:lnTo>
                      <a:lnTo>
                        <a:pt x="162" y="588"/>
                      </a:lnTo>
                      <a:lnTo>
                        <a:pt x="162" y="600"/>
                      </a:lnTo>
                      <a:lnTo>
                        <a:pt x="156" y="606"/>
                      </a:lnTo>
                      <a:lnTo>
                        <a:pt x="156" y="618"/>
                      </a:lnTo>
                      <a:lnTo>
                        <a:pt x="162" y="624"/>
                      </a:lnTo>
                      <a:lnTo>
                        <a:pt x="168" y="618"/>
                      </a:lnTo>
                      <a:lnTo>
                        <a:pt x="180" y="612"/>
                      </a:lnTo>
                      <a:lnTo>
                        <a:pt x="180" y="582"/>
                      </a:lnTo>
                      <a:lnTo>
                        <a:pt x="174" y="576"/>
                      </a:lnTo>
                      <a:lnTo>
                        <a:pt x="168" y="576"/>
                      </a:lnTo>
                      <a:lnTo>
                        <a:pt x="168" y="558"/>
                      </a:lnTo>
                      <a:lnTo>
                        <a:pt x="174" y="546"/>
                      </a:lnTo>
                      <a:lnTo>
                        <a:pt x="186" y="540"/>
                      </a:lnTo>
                      <a:lnTo>
                        <a:pt x="210" y="540"/>
                      </a:lnTo>
                      <a:lnTo>
                        <a:pt x="216" y="534"/>
                      </a:lnTo>
                      <a:lnTo>
                        <a:pt x="216" y="474"/>
                      </a:lnTo>
                      <a:lnTo>
                        <a:pt x="222" y="468"/>
                      </a:lnTo>
                      <a:lnTo>
                        <a:pt x="228" y="456"/>
                      </a:lnTo>
                      <a:lnTo>
                        <a:pt x="234" y="450"/>
                      </a:lnTo>
                      <a:lnTo>
                        <a:pt x="234" y="43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8" name="Madagascar">
                  <a:extLst>
                    <a:ext uri="{FF2B5EF4-FFF2-40B4-BE49-F238E27FC236}">
                      <a16:creationId xmlns:a16="http://schemas.microsoft.com/office/drawing/2014/main" id="{7E9B25B2-00F1-487B-A320-CC232A18A1F2}"/>
                    </a:ext>
                  </a:extLst>
                </p:cNvPr>
                <p:cNvSpPr>
                  <a:spLocks/>
                </p:cNvSpPr>
                <p:nvPr/>
              </p:nvSpPr>
              <p:spPr bwMode="gray">
                <a:xfrm>
                  <a:off x="5369698" y="3755820"/>
                  <a:ext cx="223129" cy="410527"/>
                </a:xfrm>
                <a:custGeom>
                  <a:avLst/>
                  <a:gdLst>
                    <a:gd name="T0" fmla="*/ 2147483647 w 594"/>
                    <a:gd name="T1" fmla="*/ 2147483647 h 1092"/>
                    <a:gd name="T2" fmla="*/ 2147483647 w 594"/>
                    <a:gd name="T3" fmla="*/ 2147483647 h 1092"/>
                    <a:gd name="T4" fmla="*/ 2147483647 w 594"/>
                    <a:gd name="T5" fmla="*/ 2147483647 h 1092"/>
                    <a:gd name="T6" fmla="*/ 2147483647 w 594"/>
                    <a:gd name="T7" fmla="*/ 2147483647 h 1092"/>
                    <a:gd name="T8" fmla="*/ 2147483647 w 594"/>
                    <a:gd name="T9" fmla="*/ 2147483647 h 1092"/>
                    <a:gd name="T10" fmla="*/ 2147483647 w 594"/>
                    <a:gd name="T11" fmla="*/ 2147483647 h 1092"/>
                    <a:gd name="T12" fmla="*/ 2147483647 w 594"/>
                    <a:gd name="T13" fmla="*/ 2147483647 h 1092"/>
                    <a:gd name="T14" fmla="*/ 2147483647 w 594"/>
                    <a:gd name="T15" fmla="*/ 2147483647 h 1092"/>
                    <a:gd name="T16" fmla="*/ 2147483647 w 594"/>
                    <a:gd name="T17" fmla="*/ 2147483647 h 1092"/>
                    <a:gd name="T18" fmla="*/ 2147483647 w 594"/>
                    <a:gd name="T19" fmla="*/ 2147483647 h 1092"/>
                    <a:gd name="T20" fmla="*/ 2147483647 w 594"/>
                    <a:gd name="T21" fmla="*/ 2147483647 h 1092"/>
                    <a:gd name="T22" fmla="*/ 2147483647 w 594"/>
                    <a:gd name="T23" fmla="*/ 2147483647 h 1092"/>
                    <a:gd name="T24" fmla="*/ 2147483647 w 594"/>
                    <a:gd name="T25" fmla="*/ 2147483647 h 1092"/>
                    <a:gd name="T26" fmla="*/ 2147483647 w 594"/>
                    <a:gd name="T27" fmla="*/ 2147483647 h 1092"/>
                    <a:gd name="T28" fmla="*/ 2147483647 w 594"/>
                    <a:gd name="T29" fmla="*/ 2147483647 h 1092"/>
                    <a:gd name="T30" fmla="*/ 2147483647 w 594"/>
                    <a:gd name="T31" fmla="*/ 2147483647 h 1092"/>
                    <a:gd name="T32" fmla="*/ 2147483647 w 594"/>
                    <a:gd name="T33" fmla="*/ 0 h 1092"/>
                    <a:gd name="T34" fmla="*/ 2147483647 w 594"/>
                    <a:gd name="T35" fmla="*/ 2147483647 h 1092"/>
                    <a:gd name="T36" fmla="*/ 2147483647 w 594"/>
                    <a:gd name="T37" fmla="*/ 2147483647 h 1092"/>
                    <a:gd name="T38" fmla="*/ 2147483647 w 594"/>
                    <a:gd name="T39" fmla="*/ 2147483647 h 1092"/>
                    <a:gd name="T40" fmla="*/ 2147483647 w 594"/>
                    <a:gd name="T41" fmla="*/ 2147483647 h 1092"/>
                    <a:gd name="T42" fmla="*/ 2147483647 w 594"/>
                    <a:gd name="T43" fmla="*/ 2147483647 h 1092"/>
                    <a:gd name="T44" fmla="*/ 2147483647 w 594"/>
                    <a:gd name="T45" fmla="*/ 2147483647 h 1092"/>
                    <a:gd name="T46" fmla="*/ 2147483647 w 594"/>
                    <a:gd name="T47" fmla="*/ 2147483647 h 1092"/>
                    <a:gd name="T48" fmla="*/ 2147483647 w 594"/>
                    <a:gd name="T49" fmla="*/ 2147483647 h 1092"/>
                    <a:gd name="T50" fmla="*/ 2147483647 w 594"/>
                    <a:gd name="T51" fmla="*/ 2147483647 h 1092"/>
                    <a:gd name="T52" fmla="*/ 2147483647 w 594"/>
                    <a:gd name="T53" fmla="*/ 2147483647 h 1092"/>
                    <a:gd name="T54" fmla="*/ 2147483647 w 594"/>
                    <a:gd name="T55" fmla="*/ 2147483647 h 1092"/>
                    <a:gd name="T56" fmla="*/ 2147483647 w 594"/>
                    <a:gd name="T57" fmla="*/ 2147483647 h 1092"/>
                    <a:gd name="T58" fmla="*/ 2147483647 w 594"/>
                    <a:gd name="T59" fmla="*/ 2147483647 h 1092"/>
                    <a:gd name="T60" fmla="*/ 2147483647 w 594"/>
                    <a:gd name="T61" fmla="*/ 2147483647 h 1092"/>
                    <a:gd name="T62" fmla="*/ 2147483647 w 594"/>
                    <a:gd name="T63" fmla="*/ 2147483647 h 1092"/>
                    <a:gd name="T64" fmla="*/ 2147483647 w 594"/>
                    <a:gd name="T65" fmla="*/ 2147483647 h 1092"/>
                    <a:gd name="T66" fmla="*/ 2147483647 w 594"/>
                    <a:gd name="T67" fmla="*/ 2147483647 h 1092"/>
                    <a:gd name="T68" fmla="*/ 2147483647 w 594"/>
                    <a:gd name="T69" fmla="*/ 2147483647 h 1092"/>
                    <a:gd name="T70" fmla="*/ 2147483647 w 594"/>
                    <a:gd name="T71" fmla="*/ 2147483647 h 1092"/>
                    <a:gd name="T72" fmla="*/ 2147483647 w 594"/>
                    <a:gd name="T73" fmla="*/ 2147483647 h 1092"/>
                    <a:gd name="T74" fmla="*/ 2147483647 w 594"/>
                    <a:gd name="T75" fmla="*/ 2147483647 h 1092"/>
                    <a:gd name="T76" fmla="*/ 2147483647 w 594"/>
                    <a:gd name="T77" fmla="*/ 2147483647 h 1092"/>
                    <a:gd name="T78" fmla="*/ 2147483647 w 594"/>
                    <a:gd name="T79" fmla="*/ 2147483647 h 1092"/>
                    <a:gd name="T80" fmla="*/ 2147483647 w 594"/>
                    <a:gd name="T81" fmla="*/ 2147483647 h 1092"/>
                    <a:gd name="T82" fmla="*/ 2147483647 w 594"/>
                    <a:gd name="T83" fmla="*/ 2147483647 h 1092"/>
                    <a:gd name="T84" fmla="*/ 2147483647 w 594"/>
                    <a:gd name="T85" fmla="*/ 2147483647 h 1092"/>
                    <a:gd name="T86" fmla="*/ 0 w 594"/>
                    <a:gd name="T87" fmla="*/ 2147483647 h 1092"/>
                    <a:gd name="T88" fmla="*/ 2147483647 w 594"/>
                    <a:gd name="T89" fmla="*/ 2147483647 h 1092"/>
                    <a:gd name="T90" fmla="*/ 2147483647 w 594"/>
                    <a:gd name="T91" fmla="*/ 2147483647 h 1092"/>
                    <a:gd name="T92" fmla="*/ 2147483647 w 594"/>
                    <a:gd name="T93" fmla="*/ 2147483647 h 1092"/>
                    <a:gd name="T94" fmla="*/ 2147483647 w 594"/>
                    <a:gd name="T95" fmla="*/ 2147483647 h 1092"/>
                    <a:gd name="T96" fmla="*/ 2147483647 w 594"/>
                    <a:gd name="T97" fmla="*/ 2147483647 h 1092"/>
                    <a:gd name="T98" fmla="*/ 2147483647 w 594"/>
                    <a:gd name="T99" fmla="*/ 2147483647 h 1092"/>
                    <a:gd name="T100" fmla="*/ 2147483647 w 594"/>
                    <a:gd name="T101" fmla="*/ 2147483647 h 1092"/>
                    <a:gd name="T102" fmla="*/ 2147483647 w 594"/>
                    <a:gd name="T103" fmla="*/ 2147483647 h 10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1092"/>
                    <a:gd name="T158" fmla="*/ 594 w 594"/>
                    <a:gd name="T159" fmla="*/ 1092 h 10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1092">
                      <a:moveTo>
                        <a:pt x="120" y="330"/>
                      </a:moveTo>
                      <a:lnTo>
                        <a:pt x="144" y="324"/>
                      </a:lnTo>
                      <a:lnTo>
                        <a:pt x="192" y="324"/>
                      </a:lnTo>
                      <a:lnTo>
                        <a:pt x="192" y="300"/>
                      </a:lnTo>
                      <a:lnTo>
                        <a:pt x="252" y="312"/>
                      </a:lnTo>
                      <a:lnTo>
                        <a:pt x="270" y="282"/>
                      </a:lnTo>
                      <a:lnTo>
                        <a:pt x="312" y="288"/>
                      </a:lnTo>
                      <a:lnTo>
                        <a:pt x="312" y="258"/>
                      </a:lnTo>
                      <a:lnTo>
                        <a:pt x="324" y="228"/>
                      </a:lnTo>
                      <a:lnTo>
                        <a:pt x="324" y="258"/>
                      </a:lnTo>
                      <a:lnTo>
                        <a:pt x="336" y="276"/>
                      </a:lnTo>
                      <a:lnTo>
                        <a:pt x="348" y="240"/>
                      </a:lnTo>
                      <a:lnTo>
                        <a:pt x="348" y="210"/>
                      </a:lnTo>
                      <a:lnTo>
                        <a:pt x="354" y="192"/>
                      </a:lnTo>
                      <a:lnTo>
                        <a:pt x="354" y="186"/>
                      </a:lnTo>
                      <a:lnTo>
                        <a:pt x="360" y="186"/>
                      </a:lnTo>
                      <a:lnTo>
                        <a:pt x="372" y="198"/>
                      </a:lnTo>
                      <a:lnTo>
                        <a:pt x="372" y="204"/>
                      </a:lnTo>
                      <a:lnTo>
                        <a:pt x="378" y="204"/>
                      </a:lnTo>
                      <a:lnTo>
                        <a:pt x="402" y="180"/>
                      </a:lnTo>
                      <a:lnTo>
                        <a:pt x="396" y="168"/>
                      </a:lnTo>
                      <a:lnTo>
                        <a:pt x="396" y="150"/>
                      </a:lnTo>
                      <a:lnTo>
                        <a:pt x="390" y="138"/>
                      </a:lnTo>
                      <a:lnTo>
                        <a:pt x="402" y="126"/>
                      </a:lnTo>
                      <a:lnTo>
                        <a:pt x="414" y="126"/>
                      </a:lnTo>
                      <a:lnTo>
                        <a:pt x="420" y="132"/>
                      </a:lnTo>
                      <a:lnTo>
                        <a:pt x="426" y="132"/>
                      </a:lnTo>
                      <a:lnTo>
                        <a:pt x="432" y="126"/>
                      </a:lnTo>
                      <a:lnTo>
                        <a:pt x="438" y="114"/>
                      </a:lnTo>
                      <a:lnTo>
                        <a:pt x="450" y="102"/>
                      </a:lnTo>
                      <a:lnTo>
                        <a:pt x="456" y="90"/>
                      </a:lnTo>
                      <a:lnTo>
                        <a:pt x="462" y="72"/>
                      </a:lnTo>
                      <a:lnTo>
                        <a:pt x="462" y="42"/>
                      </a:lnTo>
                      <a:lnTo>
                        <a:pt x="492" y="0"/>
                      </a:lnTo>
                      <a:lnTo>
                        <a:pt x="546" y="60"/>
                      </a:lnTo>
                      <a:lnTo>
                        <a:pt x="546" y="90"/>
                      </a:lnTo>
                      <a:lnTo>
                        <a:pt x="552" y="96"/>
                      </a:lnTo>
                      <a:lnTo>
                        <a:pt x="558" y="114"/>
                      </a:lnTo>
                      <a:lnTo>
                        <a:pt x="576" y="150"/>
                      </a:lnTo>
                      <a:lnTo>
                        <a:pt x="582" y="156"/>
                      </a:lnTo>
                      <a:lnTo>
                        <a:pt x="582" y="162"/>
                      </a:lnTo>
                      <a:lnTo>
                        <a:pt x="564" y="216"/>
                      </a:lnTo>
                      <a:lnTo>
                        <a:pt x="594" y="276"/>
                      </a:lnTo>
                      <a:lnTo>
                        <a:pt x="594" y="288"/>
                      </a:lnTo>
                      <a:lnTo>
                        <a:pt x="588" y="294"/>
                      </a:lnTo>
                      <a:lnTo>
                        <a:pt x="576" y="294"/>
                      </a:lnTo>
                      <a:lnTo>
                        <a:pt x="564" y="288"/>
                      </a:lnTo>
                      <a:lnTo>
                        <a:pt x="558" y="282"/>
                      </a:lnTo>
                      <a:lnTo>
                        <a:pt x="552" y="282"/>
                      </a:lnTo>
                      <a:lnTo>
                        <a:pt x="522" y="288"/>
                      </a:lnTo>
                      <a:lnTo>
                        <a:pt x="528" y="330"/>
                      </a:lnTo>
                      <a:lnTo>
                        <a:pt x="522" y="336"/>
                      </a:lnTo>
                      <a:lnTo>
                        <a:pt x="516" y="348"/>
                      </a:lnTo>
                      <a:lnTo>
                        <a:pt x="504" y="354"/>
                      </a:lnTo>
                      <a:lnTo>
                        <a:pt x="486" y="390"/>
                      </a:lnTo>
                      <a:lnTo>
                        <a:pt x="486" y="402"/>
                      </a:lnTo>
                      <a:lnTo>
                        <a:pt x="492" y="414"/>
                      </a:lnTo>
                      <a:lnTo>
                        <a:pt x="504" y="450"/>
                      </a:lnTo>
                      <a:lnTo>
                        <a:pt x="498" y="468"/>
                      </a:lnTo>
                      <a:lnTo>
                        <a:pt x="486" y="510"/>
                      </a:lnTo>
                      <a:lnTo>
                        <a:pt x="462" y="570"/>
                      </a:lnTo>
                      <a:lnTo>
                        <a:pt x="432" y="642"/>
                      </a:lnTo>
                      <a:lnTo>
                        <a:pt x="390" y="720"/>
                      </a:lnTo>
                      <a:lnTo>
                        <a:pt x="324" y="852"/>
                      </a:lnTo>
                      <a:lnTo>
                        <a:pt x="312" y="894"/>
                      </a:lnTo>
                      <a:lnTo>
                        <a:pt x="306" y="912"/>
                      </a:lnTo>
                      <a:lnTo>
                        <a:pt x="306" y="948"/>
                      </a:lnTo>
                      <a:lnTo>
                        <a:pt x="294" y="984"/>
                      </a:lnTo>
                      <a:lnTo>
                        <a:pt x="276" y="1014"/>
                      </a:lnTo>
                      <a:lnTo>
                        <a:pt x="258" y="1032"/>
                      </a:lnTo>
                      <a:lnTo>
                        <a:pt x="240" y="1044"/>
                      </a:lnTo>
                      <a:lnTo>
                        <a:pt x="222" y="1062"/>
                      </a:lnTo>
                      <a:lnTo>
                        <a:pt x="216" y="1062"/>
                      </a:lnTo>
                      <a:lnTo>
                        <a:pt x="210" y="1068"/>
                      </a:lnTo>
                      <a:lnTo>
                        <a:pt x="186" y="1068"/>
                      </a:lnTo>
                      <a:lnTo>
                        <a:pt x="150" y="1086"/>
                      </a:lnTo>
                      <a:lnTo>
                        <a:pt x="114" y="1092"/>
                      </a:lnTo>
                      <a:lnTo>
                        <a:pt x="78" y="1074"/>
                      </a:lnTo>
                      <a:lnTo>
                        <a:pt x="60" y="1056"/>
                      </a:lnTo>
                      <a:lnTo>
                        <a:pt x="48" y="1038"/>
                      </a:lnTo>
                      <a:lnTo>
                        <a:pt x="36" y="1026"/>
                      </a:lnTo>
                      <a:lnTo>
                        <a:pt x="36" y="1020"/>
                      </a:lnTo>
                      <a:lnTo>
                        <a:pt x="30" y="1014"/>
                      </a:lnTo>
                      <a:lnTo>
                        <a:pt x="48" y="990"/>
                      </a:lnTo>
                      <a:lnTo>
                        <a:pt x="42" y="978"/>
                      </a:lnTo>
                      <a:lnTo>
                        <a:pt x="24" y="948"/>
                      </a:lnTo>
                      <a:lnTo>
                        <a:pt x="12" y="900"/>
                      </a:lnTo>
                      <a:lnTo>
                        <a:pt x="0" y="834"/>
                      </a:lnTo>
                      <a:lnTo>
                        <a:pt x="0" y="786"/>
                      </a:lnTo>
                      <a:lnTo>
                        <a:pt x="6" y="756"/>
                      </a:lnTo>
                      <a:lnTo>
                        <a:pt x="18" y="738"/>
                      </a:lnTo>
                      <a:lnTo>
                        <a:pt x="60" y="696"/>
                      </a:lnTo>
                      <a:lnTo>
                        <a:pt x="72" y="678"/>
                      </a:lnTo>
                      <a:lnTo>
                        <a:pt x="90" y="672"/>
                      </a:lnTo>
                      <a:lnTo>
                        <a:pt x="96" y="660"/>
                      </a:lnTo>
                      <a:lnTo>
                        <a:pt x="108" y="654"/>
                      </a:lnTo>
                      <a:lnTo>
                        <a:pt x="108" y="636"/>
                      </a:lnTo>
                      <a:lnTo>
                        <a:pt x="102" y="600"/>
                      </a:lnTo>
                      <a:lnTo>
                        <a:pt x="96" y="558"/>
                      </a:lnTo>
                      <a:lnTo>
                        <a:pt x="96" y="522"/>
                      </a:lnTo>
                      <a:lnTo>
                        <a:pt x="78" y="432"/>
                      </a:lnTo>
                      <a:lnTo>
                        <a:pt x="90" y="408"/>
                      </a:lnTo>
                      <a:lnTo>
                        <a:pt x="132" y="366"/>
                      </a:lnTo>
                      <a:lnTo>
                        <a:pt x="132" y="360"/>
                      </a:lnTo>
                      <a:lnTo>
                        <a:pt x="120" y="3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9" name="Libya">
                  <a:extLst>
                    <a:ext uri="{FF2B5EF4-FFF2-40B4-BE49-F238E27FC236}">
                      <a16:creationId xmlns:a16="http://schemas.microsoft.com/office/drawing/2014/main" id="{B894068E-1DED-4D3D-971E-BA7077A31F0D}"/>
                    </a:ext>
                  </a:extLst>
                </p:cNvPr>
                <p:cNvSpPr>
                  <a:spLocks/>
                </p:cNvSpPr>
                <p:nvPr/>
              </p:nvSpPr>
              <p:spPr bwMode="gray">
                <a:xfrm>
                  <a:off x="4489081" y="2372521"/>
                  <a:ext cx="415021" cy="417965"/>
                </a:xfrm>
                <a:custGeom>
                  <a:avLst/>
                  <a:gdLst>
                    <a:gd name="T0" fmla="*/ 2147483647 w 1098"/>
                    <a:gd name="T1" fmla="*/ 2147483647 h 1110"/>
                    <a:gd name="T2" fmla="*/ 2147483647 w 1098"/>
                    <a:gd name="T3" fmla="*/ 2147483647 h 1110"/>
                    <a:gd name="T4" fmla="*/ 2147483647 w 1098"/>
                    <a:gd name="T5" fmla="*/ 2147483647 h 1110"/>
                    <a:gd name="T6" fmla="*/ 2147483647 w 1098"/>
                    <a:gd name="T7" fmla="*/ 2147483647 h 1110"/>
                    <a:gd name="T8" fmla="*/ 2147483647 w 1098"/>
                    <a:gd name="T9" fmla="*/ 2147483647 h 1110"/>
                    <a:gd name="T10" fmla="*/ 2147483647 w 1098"/>
                    <a:gd name="T11" fmla="*/ 2147483647 h 1110"/>
                    <a:gd name="T12" fmla="*/ 2147483647 w 1098"/>
                    <a:gd name="T13" fmla="*/ 2147483647 h 1110"/>
                    <a:gd name="T14" fmla="*/ 2147483647 w 1098"/>
                    <a:gd name="T15" fmla="*/ 2147483647 h 1110"/>
                    <a:gd name="T16" fmla="*/ 2147483647 w 1098"/>
                    <a:gd name="T17" fmla="*/ 2147483647 h 1110"/>
                    <a:gd name="T18" fmla="*/ 2147483647 w 1098"/>
                    <a:gd name="T19" fmla="*/ 2147483647 h 1110"/>
                    <a:gd name="T20" fmla="*/ 2147483647 w 1098"/>
                    <a:gd name="T21" fmla="*/ 2147483647 h 1110"/>
                    <a:gd name="T22" fmla="*/ 2147483647 w 1098"/>
                    <a:gd name="T23" fmla="*/ 2147483647 h 1110"/>
                    <a:gd name="T24" fmla="*/ 0 w 1098"/>
                    <a:gd name="T25" fmla="*/ 2147483647 h 1110"/>
                    <a:gd name="T26" fmla="*/ 2147483647 w 1098"/>
                    <a:gd name="T27" fmla="*/ 2147483647 h 1110"/>
                    <a:gd name="T28" fmla="*/ 2147483647 w 1098"/>
                    <a:gd name="T29" fmla="*/ 2147483647 h 1110"/>
                    <a:gd name="T30" fmla="*/ 2147483647 w 1098"/>
                    <a:gd name="T31" fmla="*/ 2147483647 h 1110"/>
                    <a:gd name="T32" fmla="*/ 2147483647 w 1098"/>
                    <a:gd name="T33" fmla="*/ 2147483647 h 1110"/>
                    <a:gd name="T34" fmla="*/ 2147483647 w 1098"/>
                    <a:gd name="T35" fmla="*/ 2147483647 h 1110"/>
                    <a:gd name="T36" fmla="*/ 2147483647 w 1098"/>
                    <a:gd name="T37" fmla="*/ 2147483647 h 1110"/>
                    <a:gd name="T38" fmla="*/ 2147483647 w 1098"/>
                    <a:gd name="T39" fmla="*/ 2147483647 h 1110"/>
                    <a:gd name="T40" fmla="*/ 2147483647 w 1098"/>
                    <a:gd name="T41" fmla="*/ 2147483647 h 1110"/>
                    <a:gd name="T42" fmla="*/ 2147483647 w 1098"/>
                    <a:gd name="T43" fmla="*/ 2147483647 h 1110"/>
                    <a:gd name="T44" fmla="*/ 2147483647 w 1098"/>
                    <a:gd name="T45" fmla="*/ 2147483647 h 1110"/>
                    <a:gd name="T46" fmla="*/ 2147483647 w 1098"/>
                    <a:gd name="T47" fmla="*/ 2147483647 h 1110"/>
                    <a:gd name="T48" fmla="*/ 2147483647 w 1098"/>
                    <a:gd name="T49" fmla="*/ 2147483647 h 1110"/>
                    <a:gd name="T50" fmla="*/ 2147483647 w 1098"/>
                    <a:gd name="T51" fmla="*/ 2147483647 h 1110"/>
                    <a:gd name="T52" fmla="*/ 2147483647 w 1098"/>
                    <a:gd name="T53" fmla="*/ 2147483647 h 1110"/>
                    <a:gd name="T54" fmla="*/ 2147483647 w 1098"/>
                    <a:gd name="T55" fmla="*/ 2147483647 h 1110"/>
                    <a:gd name="T56" fmla="*/ 2147483647 w 1098"/>
                    <a:gd name="T57" fmla="*/ 2147483647 h 1110"/>
                    <a:gd name="T58" fmla="*/ 2147483647 w 1098"/>
                    <a:gd name="T59" fmla="*/ 2147483647 h 1110"/>
                    <a:gd name="T60" fmla="*/ 2147483647 w 1098"/>
                    <a:gd name="T61" fmla="*/ 2147483647 h 1110"/>
                    <a:gd name="T62" fmla="*/ 2147483647 w 1098"/>
                    <a:gd name="T63" fmla="*/ 2147483647 h 1110"/>
                    <a:gd name="T64" fmla="*/ 2147483647 w 1098"/>
                    <a:gd name="T65" fmla="*/ 2147483647 h 1110"/>
                    <a:gd name="T66" fmla="*/ 2147483647 w 1098"/>
                    <a:gd name="T67" fmla="*/ 2147483647 h 1110"/>
                    <a:gd name="T68" fmla="*/ 2147483647 w 1098"/>
                    <a:gd name="T69" fmla="*/ 2147483647 h 1110"/>
                    <a:gd name="T70" fmla="*/ 2147483647 w 1098"/>
                    <a:gd name="T71" fmla="*/ 2147483647 h 1110"/>
                    <a:gd name="T72" fmla="*/ 2147483647 w 1098"/>
                    <a:gd name="T73" fmla="*/ 2147483647 h 1110"/>
                    <a:gd name="T74" fmla="*/ 2147483647 w 1098"/>
                    <a:gd name="T75" fmla="*/ 2147483647 h 1110"/>
                    <a:gd name="T76" fmla="*/ 2147483647 w 1098"/>
                    <a:gd name="T77" fmla="*/ 2147483647 h 1110"/>
                    <a:gd name="T78" fmla="*/ 2147483647 w 1098"/>
                    <a:gd name="T79" fmla="*/ 2147483647 h 1110"/>
                    <a:gd name="T80" fmla="*/ 2147483647 w 1098"/>
                    <a:gd name="T81" fmla="*/ 2147483647 h 1110"/>
                    <a:gd name="T82" fmla="*/ 2147483647 w 1098"/>
                    <a:gd name="T83" fmla="*/ 2147483647 h 1110"/>
                    <a:gd name="T84" fmla="*/ 2147483647 w 1098"/>
                    <a:gd name="T85" fmla="*/ 2147483647 h 1110"/>
                    <a:gd name="T86" fmla="*/ 2147483647 w 1098"/>
                    <a:gd name="T87" fmla="*/ 2147483647 h 1110"/>
                    <a:gd name="T88" fmla="*/ 2147483647 w 1098"/>
                    <a:gd name="T89" fmla="*/ 2147483647 h 1110"/>
                    <a:gd name="T90" fmla="*/ 2147483647 w 1098"/>
                    <a:gd name="T91" fmla="*/ 2147483647 h 1110"/>
                    <a:gd name="T92" fmla="*/ 2147483647 w 1098"/>
                    <a:gd name="T93" fmla="*/ 2147483647 h 1110"/>
                    <a:gd name="T94" fmla="*/ 2147483647 w 1098"/>
                    <a:gd name="T95" fmla="*/ 2147483647 h 1110"/>
                    <a:gd name="T96" fmla="*/ 2147483647 w 1098"/>
                    <a:gd name="T97" fmla="*/ 2147483647 h 1110"/>
                    <a:gd name="T98" fmla="*/ 2147483647 w 1098"/>
                    <a:gd name="T99" fmla="*/ 2147483647 h 1110"/>
                    <a:gd name="T100" fmla="*/ 2147483647 w 1098"/>
                    <a:gd name="T101" fmla="*/ 2147483647 h 1110"/>
                    <a:gd name="T102" fmla="*/ 2147483647 w 1098"/>
                    <a:gd name="T103" fmla="*/ 2147483647 h 1110"/>
                    <a:gd name="T104" fmla="*/ 2147483647 w 1098"/>
                    <a:gd name="T105" fmla="*/ 2147483647 h 1110"/>
                    <a:gd name="T106" fmla="*/ 2147483647 w 1098"/>
                    <a:gd name="T107" fmla="*/ 2147483647 h 1110"/>
                    <a:gd name="T108" fmla="*/ 2147483647 w 1098"/>
                    <a:gd name="T109" fmla="*/ 2147483647 h 1110"/>
                    <a:gd name="T110" fmla="*/ 2147483647 w 1098"/>
                    <a:gd name="T111" fmla="*/ 2147483647 h 1110"/>
                    <a:gd name="T112" fmla="*/ 2147483647 w 1098"/>
                    <a:gd name="T113" fmla="*/ 2147483647 h 1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8"/>
                    <a:gd name="T172" fmla="*/ 0 h 1110"/>
                    <a:gd name="T173" fmla="*/ 1098 w 1098"/>
                    <a:gd name="T174" fmla="*/ 1110 h 1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8" h="1110">
                      <a:moveTo>
                        <a:pt x="156" y="60"/>
                      </a:moveTo>
                      <a:lnTo>
                        <a:pt x="150" y="66"/>
                      </a:lnTo>
                      <a:lnTo>
                        <a:pt x="126" y="78"/>
                      </a:lnTo>
                      <a:lnTo>
                        <a:pt x="114" y="78"/>
                      </a:lnTo>
                      <a:lnTo>
                        <a:pt x="102" y="84"/>
                      </a:lnTo>
                      <a:lnTo>
                        <a:pt x="96" y="90"/>
                      </a:lnTo>
                      <a:lnTo>
                        <a:pt x="90" y="102"/>
                      </a:lnTo>
                      <a:lnTo>
                        <a:pt x="84" y="108"/>
                      </a:lnTo>
                      <a:lnTo>
                        <a:pt x="78" y="120"/>
                      </a:lnTo>
                      <a:lnTo>
                        <a:pt x="72" y="120"/>
                      </a:lnTo>
                      <a:lnTo>
                        <a:pt x="54" y="138"/>
                      </a:lnTo>
                      <a:lnTo>
                        <a:pt x="54" y="156"/>
                      </a:lnTo>
                      <a:lnTo>
                        <a:pt x="66" y="180"/>
                      </a:lnTo>
                      <a:lnTo>
                        <a:pt x="66" y="204"/>
                      </a:lnTo>
                      <a:lnTo>
                        <a:pt x="36" y="234"/>
                      </a:lnTo>
                      <a:lnTo>
                        <a:pt x="30" y="234"/>
                      </a:lnTo>
                      <a:lnTo>
                        <a:pt x="24" y="240"/>
                      </a:lnTo>
                      <a:lnTo>
                        <a:pt x="12" y="246"/>
                      </a:lnTo>
                      <a:lnTo>
                        <a:pt x="6" y="246"/>
                      </a:lnTo>
                      <a:lnTo>
                        <a:pt x="0" y="252"/>
                      </a:lnTo>
                      <a:lnTo>
                        <a:pt x="12" y="270"/>
                      </a:lnTo>
                      <a:lnTo>
                        <a:pt x="36" y="330"/>
                      </a:lnTo>
                      <a:lnTo>
                        <a:pt x="48" y="354"/>
                      </a:lnTo>
                      <a:lnTo>
                        <a:pt x="48" y="360"/>
                      </a:lnTo>
                      <a:lnTo>
                        <a:pt x="42" y="372"/>
                      </a:lnTo>
                      <a:lnTo>
                        <a:pt x="42" y="402"/>
                      </a:lnTo>
                      <a:lnTo>
                        <a:pt x="36" y="408"/>
                      </a:lnTo>
                      <a:lnTo>
                        <a:pt x="36" y="414"/>
                      </a:lnTo>
                      <a:lnTo>
                        <a:pt x="42" y="432"/>
                      </a:lnTo>
                      <a:lnTo>
                        <a:pt x="30" y="456"/>
                      </a:lnTo>
                      <a:lnTo>
                        <a:pt x="36" y="510"/>
                      </a:lnTo>
                      <a:lnTo>
                        <a:pt x="36" y="516"/>
                      </a:lnTo>
                      <a:lnTo>
                        <a:pt x="42" y="522"/>
                      </a:lnTo>
                      <a:lnTo>
                        <a:pt x="42" y="534"/>
                      </a:lnTo>
                      <a:lnTo>
                        <a:pt x="36" y="546"/>
                      </a:lnTo>
                      <a:lnTo>
                        <a:pt x="30" y="552"/>
                      </a:lnTo>
                      <a:lnTo>
                        <a:pt x="18" y="558"/>
                      </a:lnTo>
                      <a:lnTo>
                        <a:pt x="6" y="558"/>
                      </a:lnTo>
                      <a:lnTo>
                        <a:pt x="0" y="564"/>
                      </a:lnTo>
                      <a:lnTo>
                        <a:pt x="0" y="570"/>
                      </a:lnTo>
                      <a:lnTo>
                        <a:pt x="6" y="582"/>
                      </a:lnTo>
                      <a:lnTo>
                        <a:pt x="18" y="594"/>
                      </a:lnTo>
                      <a:lnTo>
                        <a:pt x="24" y="612"/>
                      </a:lnTo>
                      <a:lnTo>
                        <a:pt x="36" y="624"/>
                      </a:lnTo>
                      <a:lnTo>
                        <a:pt x="42" y="636"/>
                      </a:lnTo>
                      <a:lnTo>
                        <a:pt x="48" y="642"/>
                      </a:lnTo>
                      <a:lnTo>
                        <a:pt x="48" y="684"/>
                      </a:lnTo>
                      <a:lnTo>
                        <a:pt x="72" y="708"/>
                      </a:lnTo>
                      <a:lnTo>
                        <a:pt x="96" y="696"/>
                      </a:lnTo>
                      <a:lnTo>
                        <a:pt x="102" y="696"/>
                      </a:lnTo>
                      <a:lnTo>
                        <a:pt x="138" y="714"/>
                      </a:lnTo>
                      <a:lnTo>
                        <a:pt x="150" y="714"/>
                      </a:lnTo>
                      <a:lnTo>
                        <a:pt x="162" y="726"/>
                      </a:lnTo>
                      <a:lnTo>
                        <a:pt x="162" y="732"/>
                      </a:lnTo>
                      <a:lnTo>
                        <a:pt x="168" y="744"/>
                      </a:lnTo>
                      <a:lnTo>
                        <a:pt x="174" y="762"/>
                      </a:lnTo>
                      <a:lnTo>
                        <a:pt x="180" y="774"/>
                      </a:lnTo>
                      <a:lnTo>
                        <a:pt x="186" y="780"/>
                      </a:lnTo>
                      <a:lnTo>
                        <a:pt x="186" y="786"/>
                      </a:lnTo>
                      <a:lnTo>
                        <a:pt x="222" y="792"/>
                      </a:lnTo>
                      <a:lnTo>
                        <a:pt x="234" y="792"/>
                      </a:lnTo>
                      <a:lnTo>
                        <a:pt x="246" y="798"/>
                      </a:lnTo>
                      <a:lnTo>
                        <a:pt x="258" y="798"/>
                      </a:lnTo>
                      <a:lnTo>
                        <a:pt x="276" y="804"/>
                      </a:lnTo>
                      <a:lnTo>
                        <a:pt x="288" y="810"/>
                      </a:lnTo>
                      <a:lnTo>
                        <a:pt x="294" y="810"/>
                      </a:lnTo>
                      <a:lnTo>
                        <a:pt x="300" y="816"/>
                      </a:lnTo>
                      <a:lnTo>
                        <a:pt x="312" y="822"/>
                      </a:lnTo>
                      <a:lnTo>
                        <a:pt x="318" y="828"/>
                      </a:lnTo>
                      <a:lnTo>
                        <a:pt x="324" y="840"/>
                      </a:lnTo>
                      <a:lnTo>
                        <a:pt x="336" y="846"/>
                      </a:lnTo>
                      <a:lnTo>
                        <a:pt x="342" y="852"/>
                      </a:lnTo>
                      <a:lnTo>
                        <a:pt x="360" y="846"/>
                      </a:lnTo>
                      <a:lnTo>
                        <a:pt x="396" y="828"/>
                      </a:lnTo>
                      <a:lnTo>
                        <a:pt x="456" y="792"/>
                      </a:lnTo>
                      <a:lnTo>
                        <a:pt x="468" y="786"/>
                      </a:lnTo>
                      <a:lnTo>
                        <a:pt x="1026" y="1110"/>
                      </a:lnTo>
                      <a:lnTo>
                        <a:pt x="1026" y="1062"/>
                      </a:lnTo>
                      <a:lnTo>
                        <a:pt x="1098" y="1062"/>
                      </a:lnTo>
                      <a:lnTo>
                        <a:pt x="1098" y="828"/>
                      </a:lnTo>
                      <a:lnTo>
                        <a:pt x="1092" y="750"/>
                      </a:lnTo>
                      <a:lnTo>
                        <a:pt x="1092" y="660"/>
                      </a:lnTo>
                      <a:lnTo>
                        <a:pt x="1086" y="564"/>
                      </a:lnTo>
                      <a:lnTo>
                        <a:pt x="1086" y="468"/>
                      </a:lnTo>
                      <a:lnTo>
                        <a:pt x="1080" y="390"/>
                      </a:lnTo>
                      <a:lnTo>
                        <a:pt x="1080" y="306"/>
                      </a:lnTo>
                      <a:lnTo>
                        <a:pt x="1068" y="270"/>
                      </a:lnTo>
                      <a:lnTo>
                        <a:pt x="1056" y="258"/>
                      </a:lnTo>
                      <a:lnTo>
                        <a:pt x="1050" y="246"/>
                      </a:lnTo>
                      <a:lnTo>
                        <a:pt x="1050" y="240"/>
                      </a:lnTo>
                      <a:lnTo>
                        <a:pt x="1056" y="228"/>
                      </a:lnTo>
                      <a:lnTo>
                        <a:pt x="1062" y="222"/>
                      </a:lnTo>
                      <a:lnTo>
                        <a:pt x="1068" y="210"/>
                      </a:lnTo>
                      <a:lnTo>
                        <a:pt x="1074" y="204"/>
                      </a:lnTo>
                      <a:lnTo>
                        <a:pt x="1074" y="198"/>
                      </a:lnTo>
                      <a:lnTo>
                        <a:pt x="1068" y="186"/>
                      </a:lnTo>
                      <a:lnTo>
                        <a:pt x="1056" y="180"/>
                      </a:lnTo>
                      <a:lnTo>
                        <a:pt x="1056" y="150"/>
                      </a:lnTo>
                      <a:lnTo>
                        <a:pt x="1080" y="126"/>
                      </a:lnTo>
                      <a:lnTo>
                        <a:pt x="1074" y="114"/>
                      </a:lnTo>
                      <a:lnTo>
                        <a:pt x="1074" y="96"/>
                      </a:lnTo>
                      <a:lnTo>
                        <a:pt x="1056" y="102"/>
                      </a:lnTo>
                      <a:lnTo>
                        <a:pt x="1044" y="90"/>
                      </a:lnTo>
                      <a:lnTo>
                        <a:pt x="1032" y="102"/>
                      </a:lnTo>
                      <a:lnTo>
                        <a:pt x="1026" y="102"/>
                      </a:lnTo>
                      <a:lnTo>
                        <a:pt x="1020" y="96"/>
                      </a:lnTo>
                      <a:lnTo>
                        <a:pt x="1008" y="90"/>
                      </a:lnTo>
                      <a:lnTo>
                        <a:pt x="1002" y="84"/>
                      </a:lnTo>
                      <a:lnTo>
                        <a:pt x="990" y="78"/>
                      </a:lnTo>
                      <a:lnTo>
                        <a:pt x="978" y="78"/>
                      </a:lnTo>
                      <a:lnTo>
                        <a:pt x="966" y="84"/>
                      </a:lnTo>
                      <a:lnTo>
                        <a:pt x="954" y="84"/>
                      </a:lnTo>
                      <a:lnTo>
                        <a:pt x="942" y="78"/>
                      </a:lnTo>
                      <a:lnTo>
                        <a:pt x="936" y="72"/>
                      </a:lnTo>
                      <a:lnTo>
                        <a:pt x="936" y="48"/>
                      </a:lnTo>
                      <a:lnTo>
                        <a:pt x="930" y="42"/>
                      </a:lnTo>
                      <a:lnTo>
                        <a:pt x="918" y="36"/>
                      </a:lnTo>
                      <a:lnTo>
                        <a:pt x="882" y="36"/>
                      </a:lnTo>
                      <a:lnTo>
                        <a:pt x="876" y="30"/>
                      </a:lnTo>
                      <a:lnTo>
                        <a:pt x="864" y="30"/>
                      </a:lnTo>
                      <a:lnTo>
                        <a:pt x="852" y="24"/>
                      </a:lnTo>
                      <a:lnTo>
                        <a:pt x="840" y="24"/>
                      </a:lnTo>
                      <a:lnTo>
                        <a:pt x="834" y="30"/>
                      </a:lnTo>
                      <a:lnTo>
                        <a:pt x="834" y="36"/>
                      </a:lnTo>
                      <a:lnTo>
                        <a:pt x="798" y="36"/>
                      </a:lnTo>
                      <a:lnTo>
                        <a:pt x="780" y="42"/>
                      </a:lnTo>
                      <a:lnTo>
                        <a:pt x="768" y="48"/>
                      </a:lnTo>
                      <a:lnTo>
                        <a:pt x="732" y="84"/>
                      </a:lnTo>
                      <a:lnTo>
                        <a:pt x="720" y="108"/>
                      </a:lnTo>
                      <a:lnTo>
                        <a:pt x="720" y="120"/>
                      </a:lnTo>
                      <a:lnTo>
                        <a:pt x="726" y="138"/>
                      </a:lnTo>
                      <a:lnTo>
                        <a:pt x="738" y="150"/>
                      </a:lnTo>
                      <a:lnTo>
                        <a:pt x="744" y="162"/>
                      </a:lnTo>
                      <a:lnTo>
                        <a:pt x="744" y="180"/>
                      </a:lnTo>
                      <a:lnTo>
                        <a:pt x="738" y="192"/>
                      </a:lnTo>
                      <a:lnTo>
                        <a:pt x="714" y="216"/>
                      </a:lnTo>
                      <a:lnTo>
                        <a:pt x="708" y="228"/>
                      </a:lnTo>
                      <a:lnTo>
                        <a:pt x="696" y="234"/>
                      </a:lnTo>
                      <a:lnTo>
                        <a:pt x="666" y="234"/>
                      </a:lnTo>
                      <a:lnTo>
                        <a:pt x="648" y="228"/>
                      </a:lnTo>
                      <a:lnTo>
                        <a:pt x="630" y="216"/>
                      </a:lnTo>
                      <a:lnTo>
                        <a:pt x="612" y="198"/>
                      </a:lnTo>
                      <a:lnTo>
                        <a:pt x="582" y="180"/>
                      </a:lnTo>
                      <a:lnTo>
                        <a:pt x="552" y="168"/>
                      </a:lnTo>
                      <a:lnTo>
                        <a:pt x="528" y="162"/>
                      </a:lnTo>
                      <a:lnTo>
                        <a:pt x="462" y="162"/>
                      </a:lnTo>
                      <a:lnTo>
                        <a:pt x="438" y="150"/>
                      </a:lnTo>
                      <a:lnTo>
                        <a:pt x="426" y="138"/>
                      </a:lnTo>
                      <a:lnTo>
                        <a:pt x="420" y="126"/>
                      </a:lnTo>
                      <a:lnTo>
                        <a:pt x="414" y="108"/>
                      </a:lnTo>
                      <a:lnTo>
                        <a:pt x="414" y="96"/>
                      </a:lnTo>
                      <a:lnTo>
                        <a:pt x="402" y="72"/>
                      </a:lnTo>
                      <a:lnTo>
                        <a:pt x="378" y="60"/>
                      </a:lnTo>
                      <a:lnTo>
                        <a:pt x="366" y="60"/>
                      </a:lnTo>
                      <a:lnTo>
                        <a:pt x="354" y="54"/>
                      </a:lnTo>
                      <a:lnTo>
                        <a:pt x="348" y="48"/>
                      </a:lnTo>
                      <a:lnTo>
                        <a:pt x="324" y="36"/>
                      </a:lnTo>
                      <a:lnTo>
                        <a:pt x="318" y="36"/>
                      </a:lnTo>
                      <a:lnTo>
                        <a:pt x="306" y="30"/>
                      </a:lnTo>
                      <a:lnTo>
                        <a:pt x="264" y="30"/>
                      </a:lnTo>
                      <a:lnTo>
                        <a:pt x="252" y="36"/>
                      </a:lnTo>
                      <a:lnTo>
                        <a:pt x="216" y="36"/>
                      </a:lnTo>
                      <a:lnTo>
                        <a:pt x="192" y="24"/>
                      </a:lnTo>
                      <a:lnTo>
                        <a:pt x="180" y="12"/>
                      </a:lnTo>
                      <a:lnTo>
                        <a:pt x="168" y="6"/>
                      </a:lnTo>
                      <a:lnTo>
                        <a:pt x="150" y="6"/>
                      </a:lnTo>
                      <a:lnTo>
                        <a:pt x="144" y="0"/>
                      </a:lnTo>
                      <a:lnTo>
                        <a:pt x="138" y="42"/>
                      </a:lnTo>
                      <a:lnTo>
                        <a:pt x="144" y="42"/>
                      </a:lnTo>
                      <a:lnTo>
                        <a:pt x="156" y="54"/>
                      </a:lnTo>
                      <a:lnTo>
                        <a:pt x="156"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0" name="Lesotho">
                  <a:extLst>
                    <a:ext uri="{FF2B5EF4-FFF2-40B4-BE49-F238E27FC236}">
                      <a16:creationId xmlns:a16="http://schemas.microsoft.com/office/drawing/2014/main" id="{4858AC2C-E5C2-47E9-A336-60CC1DD23B3A}"/>
                    </a:ext>
                  </a:extLst>
                </p:cNvPr>
                <p:cNvSpPr>
                  <a:spLocks/>
                </p:cNvSpPr>
                <p:nvPr/>
              </p:nvSpPr>
              <p:spPr bwMode="gray">
                <a:xfrm>
                  <a:off x="4945753" y="4252617"/>
                  <a:ext cx="63964" cy="60985"/>
                </a:xfrm>
                <a:custGeom>
                  <a:avLst/>
                  <a:gdLst>
                    <a:gd name="T0" fmla="*/ 0 w 168"/>
                    <a:gd name="T1" fmla="*/ 2147483647 h 162"/>
                    <a:gd name="T2" fmla="*/ 2147483647 w 168"/>
                    <a:gd name="T3" fmla="*/ 2147483647 h 162"/>
                    <a:gd name="T4" fmla="*/ 2147483647 w 168"/>
                    <a:gd name="T5" fmla="*/ 2147483647 h 162"/>
                    <a:gd name="T6" fmla="*/ 2147483647 w 168"/>
                    <a:gd name="T7" fmla="*/ 2147483647 h 162"/>
                    <a:gd name="T8" fmla="*/ 2147483647 w 168"/>
                    <a:gd name="T9" fmla="*/ 2147483647 h 162"/>
                    <a:gd name="T10" fmla="*/ 2147483647 w 168"/>
                    <a:gd name="T11" fmla="*/ 2147483647 h 162"/>
                    <a:gd name="T12" fmla="*/ 2147483647 w 168"/>
                    <a:gd name="T13" fmla="*/ 2147483647 h 162"/>
                    <a:gd name="T14" fmla="*/ 2147483647 w 168"/>
                    <a:gd name="T15" fmla="*/ 2147483647 h 162"/>
                    <a:gd name="T16" fmla="*/ 2147483647 w 168"/>
                    <a:gd name="T17" fmla="*/ 2147483647 h 162"/>
                    <a:gd name="T18" fmla="*/ 2147483647 w 168"/>
                    <a:gd name="T19" fmla="*/ 2147483647 h 162"/>
                    <a:gd name="T20" fmla="*/ 2147483647 w 168"/>
                    <a:gd name="T21" fmla="*/ 2147483647 h 162"/>
                    <a:gd name="T22" fmla="*/ 2147483647 w 168"/>
                    <a:gd name="T23" fmla="*/ 2147483647 h 162"/>
                    <a:gd name="T24" fmla="*/ 2147483647 w 168"/>
                    <a:gd name="T25" fmla="*/ 2147483647 h 162"/>
                    <a:gd name="T26" fmla="*/ 2147483647 w 168"/>
                    <a:gd name="T27" fmla="*/ 2147483647 h 162"/>
                    <a:gd name="T28" fmla="*/ 2147483647 w 168"/>
                    <a:gd name="T29" fmla="*/ 2147483647 h 162"/>
                    <a:gd name="T30" fmla="*/ 2147483647 w 168"/>
                    <a:gd name="T31" fmla="*/ 2147483647 h 162"/>
                    <a:gd name="T32" fmla="*/ 2147483647 w 168"/>
                    <a:gd name="T33" fmla="*/ 2147483647 h 162"/>
                    <a:gd name="T34" fmla="*/ 2147483647 w 168"/>
                    <a:gd name="T35" fmla="*/ 2147483647 h 162"/>
                    <a:gd name="T36" fmla="*/ 2147483647 w 168"/>
                    <a:gd name="T37" fmla="*/ 2147483647 h 162"/>
                    <a:gd name="T38" fmla="*/ 2147483647 w 168"/>
                    <a:gd name="T39" fmla="*/ 2147483647 h 162"/>
                    <a:gd name="T40" fmla="*/ 2147483647 w 168"/>
                    <a:gd name="T41" fmla="*/ 2147483647 h 162"/>
                    <a:gd name="T42" fmla="*/ 2147483647 w 168"/>
                    <a:gd name="T43" fmla="*/ 0 h 162"/>
                    <a:gd name="T44" fmla="*/ 2147483647 w 168"/>
                    <a:gd name="T45" fmla="*/ 0 h 162"/>
                    <a:gd name="T46" fmla="*/ 2147483647 w 168"/>
                    <a:gd name="T47" fmla="*/ 2147483647 h 162"/>
                    <a:gd name="T48" fmla="*/ 2147483647 w 168"/>
                    <a:gd name="T49" fmla="*/ 2147483647 h 162"/>
                    <a:gd name="T50" fmla="*/ 2147483647 w 168"/>
                    <a:gd name="T51" fmla="*/ 2147483647 h 162"/>
                    <a:gd name="T52" fmla="*/ 2147483647 w 168"/>
                    <a:gd name="T53" fmla="*/ 2147483647 h 162"/>
                    <a:gd name="T54" fmla="*/ 2147483647 w 168"/>
                    <a:gd name="T55" fmla="*/ 2147483647 h 162"/>
                    <a:gd name="T56" fmla="*/ 2147483647 w 168"/>
                    <a:gd name="T57" fmla="*/ 2147483647 h 162"/>
                    <a:gd name="T58" fmla="*/ 2147483647 w 168"/>
                    <a:gd name="T59" fmla="*/ 2147483647 h 162"/>
                    <a:gd name="T60" fmla="*/ 0 w 168"/>
                    <a:gd name="T61" fmla="*/ 2147483647 h 1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162"/>
                    <a:gd name="T95" fmla="*/ 168 w 168"/>
                    <a:gd name="T96" fmla="*/ 162 h 1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162">
                      <a:moveTo>
                        <a:pt x="0" y="78"/>
                      </a:moveTo>
                      <a:lnTo>
                        <a:pt x="24" y="114"/>
                      </a:lnTo>
                      <a:lnTo>
                        <a:pt x="24" y="132"/>
                      </a:lnTo>
                      <a:lnTo>
                        <a:pt x="54" y="162"/>
                      </a:lnTo>
                      <a:lnTo>
                        <a:pt x="72" y="162"/>
                      </a:lnTo>
                      <a:lnTo>
                        <a:pt x="72" y="150"/>
                      </a:lnTo>
                      <a:lnTo>
                        <a:pt x="78" y="144"/>
                      </a:lnTo>
                      <a:lnTo>
                        <a:pt x="84" y="132"/>
                      </a:lnTo>
                      <a:lnTo>
                        <a:pt x="90" y="126"/>
                      </a:lnTo>
                      <a:lnTo>
                        <a:pt x="102" y="120"/>
                      </a:lnTo>
                      <a:lnTo>
                        <a:pt x="120" y="120"/>
                      </a:lnTo>
                      <a:lnTo>
                        <a:pt x="132" y="114"/>
                      </a:lnTo>
                      <a:lnTo>
                        <a:pt x="138" y="108"/>
                      </a:lnTo>
                      <a:lnTo>
                        <a:pt x="150" y="102"/>
                      </a:lnTo>
                      <a:lnTo>
                        <a:pt x="144" y="84"/>
                      </a:lnTo>
                      <a:lnTo>
                        <a:pt x="168" y="66"/>
                      </a:lnTo>
                      <a:lnTo>
                        <a:pt x="162" y="42"/>
                      </a:lnTo>
                      <a:lnTo>
                        <a:pt x="150" y="36"/>
                      </a:lnTo>
                      <a:lnTo>
                        <a:pt x="144" y="24"/>
                      </a:lnTo>
                      <a:lnTo>
                        <a:pt x="138" y="18"/>
                      </a:lnTo>
                      <a:lnTo>
                        <a:pt x="132" y="6"/>
                      </a:lnTo>
                      <a:lnTo>
                        <a:pt x="126" y="0"/>
                      </a:lnTo>
                      <a:lnTo>
                        <a:pt x="90" y="0"/>
                      </a:lnTo>
                      <a:lnTo>
                        <a:pt x="78" y="6"/>
                      </a:lnTo>
                      <a:lnTo>
                        <a:pt x="78" y="18"/>
                      </a:lnTo>
                      <a:lnTo>
                        <a:pt x="54" y="18"/>
                      </a:lnTo>
                      <a:lnTo>
                        <a:pt x="48" y="24"/>
                      </a:lnTo>
                      <a:lnTo>
                        <a:pt x="48" y="42"/>
                      </a:lnTo>
                      <a:lnTo>
                        <a:pt x="30" y="60"/>
                      </a:lnTo>
                      <a:lnTo>
                        <a:pt x="24" y="78"/>
                      </a:lnTo>
                      <a:lnTo>
                        <a:pt x="0" y="7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1" name="Lebanon">
                  <a:extLst>
                    <a:ext uri="{FF2B5EF4-FFF2-40B4-BE49-F238E27FC236}">
                      <a16:creationId xmlns:a16="http://schemas.microsoft.com/office/drawing/2014/main" id="{C9F8B6C4-77A6-4635-A45A-D36558746840}"/>
                    </a:ext>
                  </a:extLst>
                </p:cNvPr>
                <p:cNvSpPr>
                  <a:spLocks/>
                </p:cNvSpPr>
                <p:nvPr/>
              </p:nvSpPr>
              <p:spPr bwMode="gray">
                <a:xfrm>
                  <a:off x="5140619" y="2329386"/>
                  <a:ext cx="41651" cy="59497"/>
                </a:xfrm>
                <a:custGeom>
                  <a:avLst/>
                  <a:gdLst>
                    <a:gd name="T0" fmla="*/ 2147483647 w 108"/>
                    <a:gd name="T1" fmla="*/ 2147483647 h 156"/>
                    <a:gd name="T2" fmla="*/ 2147483647 w 108"/>
                    <a:gd name="T3" fmla="*/ 2147483647 h 156"/>
                    <a:gd name="T4" fmla="*/ 2147483647 w 108"/>
                    <a:gd name="T5" fmla="*/ 2147483647 h 156"/>
                    <a:gd name="T6" fmla="*/ 2147483647 w 108"/>
                    <a:gd name="T7" fmla="*/ 2147483647 h 156"/>
                    <a:gd name="T8" fmla="*/ 2147483647 w 108"/>
                    <a:gd name="T9" fmla="*/ 2147483647 h 156"/>
                    <a:gd name="T10" fmla="*/ 2147483647 w 108"/>
                    <a:gd name="T11" fmla="*/ 2147483647 h 156"/>
                    <a:gd name="T12" fmla="*/ 2147483647 w 108"/>
                    <a:gd name="T13" fmla="*/ 2147483647 h 156"/>
                    <a:gd name="T14" fmla="*/ 2147483647 w 108"/>
                    <a:gd name="T15" fmla="*/ 2147483647 h 156"/>
                    <a:gd name="T16" fmla="*/ 2147483647 w 108"/>
                    <a:gd name="T17" fmla="*/ 2147483647 h 156"/>
                    <a:gd name="T18" fmla="*/ 2147483647 w 108"/>
                    <a:gd name="T19" fmla="*/ 2147483647 h 156"/>
                    <a:gd name="T20" fmla="*/ 2147483647 w 108"/>
                    <a:gd name="T21" fmla="*/ 0 h 156"/>
                    <a:gd name="T22" fmla="*/ 2147483647 w 108"/>
                    <a:gd name="T23" fmla="*/ 0 h 156"/>
                    <a:gd name="T24" fmla="*/ 2147483647 w 108"/>
                    <a:gd name="T25" fmla="*/ 0 h 156"/>
                    <a:gd name="T26" fmla="*/ 2147483647 w 108"/>
                    <a:gd name="T27" fmla="*/ 2147483647 h 156"/>
                    <a:gd name="T28" fmla="*/ 2147483647 w 108"/>
                    <a:gd name="T29" fmla="*/ 2147483647 h 156"/>
                    <a:gd name="T30" fmla="*/ 2147483647 w 108"/>
                    <a:gd name="T31" fmla="*/ 2147483647 h 156"/>
                    <a:gd name="T32" fmla="*/ 2147483647 w 108"/>
                    <a:gd name="T33" fmla="*/ 2147483647 h 156"/>
                    <a:gd name="T34" fmla="*/ 2147483647 w 108"/>
                    <a:gd name="T35" fmla="*/ 2147483647 h 156"/>
                    <a:gd name="T36" fmla="*/ 2147483647 w 108"/>
                    <a:gd name="T37" fmla="*/ 2147483647 h 156"/>
                    <a:gd name="T38" fmla="*/ 2147483647 w 108"/>
                    <a:gd name="T39" fmla="*/ 2147483647 h 156"/>
                    <a:gd name="T40" fmla="*/ 2147483647 w 108"/>
                    <a:gd name="T41" fmla="*/ 2147483647 h 156"/>
                    <a:gd name="T42" fmla="*/ 0 w 108"/>
                    <a:gd name="T43" fmla="*/ 2147483647 h 156"/>
                    <a:gd name="T44" fmla="*/ 0 w 108"/>
                    <a:gd name="T45" fmla="*/ 2147483647 h 156"/>
                    <a:gd name="T46" fmla="*/ 2147483647 w 108"/>
                    <a:gd name="T47" fmla="*/ 2147483647 h 156"/>
                    <a:gd name="T48" fmla="*/ 2147483647 w 108"/>
                    <a:gd name="T49" fmla="*/ 2147483647 h 156"/>
                    <a:gd name="T50" fmla="*/ 2147483647 w 108"/>
                    <a:gd name="T51" fmla="*/ 2147483647 h 156"/>
                    <a:gd name="T52" fmla="*/ 2147483647 w 108"/>
                    <a:gd name="T53" fmla="*/ 2147483647 h 156"/>
                    <a:gd name="T54" fmla="*/ 2147483647 w 108"/>
                    <a:gd name="T55" fmla="*/ 2147483647 h 156"/>
                    <a:gd name="T56" fmla="*/ 2147483647 w 108"/>
                    <a:gd name="T57" fmla="*/ 2147483647 h 156"/>
                    <a:gd name="T58" fmla="*/ 2147483647 w 108"/>
                    <a:gd name="T59" fmla="*/ 2147483647 h 156"/>
                    <a:gd name="T60" fmla="*/ 2147483647 w 108"/>
                    <a:gd name="T61" fmla="*/ 2147483647 h 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156"/>
                    <a:gd name="T95" fmla="*/ 108 w 108"/>
                    <a:gd name="T96" fmla="*/ 156 h 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156">
                      <a:moveTo>
                        <a:pt x="72" y="96"/>
                      </a:moveTo>
                      <a:lnTo>
                        <a:pt x="72" y="72"/>
                      </a:lnTo>
                      <a:lnTo>
                        <a:pt x="78" y="66"/>
                      </a:lnTo>
                      <a:lnTo>
                        <a:pt x="84" y="66"/>
                      </a:lnTo>
                      <a:lnTo>
                        <a:pt x="96" y="60"/>
                      </a:lnTo>
                      <a:lnTo>
                        <a:pt x="102" y="60"/>
                      </a:lnTo>
                      <a:lnTo>
                        <a:pt x="108" y="48"/>
                      </a:lnTo>
                      <a:lnTo>
                        <a:pt x="108" y="30"/>
                      </a:lnTo>
                      <a:lnTo>
                        <a:pt x="102" y="18"/>
                      </a:lnTo>
                      <a:lnTo>
                        <a:pt x="96" y="12"/>
                      </a:lnTo>
                      <a:lnTo>
                        <a:pt x="102" y="0"/>
                      </a:lnTo>
                      <a:lnTo>
                        <a:pt x="54" y="0"/>
                      </a:lnTo>
                      <a:lnTo>
                        <a:pt x="60" y="0"/>
                      </a:lnTo>
                      <a:lnTo>
                        <a:pt x="60" y="6"/>
                      </a:lnTo>
                      <a:lnTo>
                        <a:pt x="54" y="6"/>
                      </a:lnTo>
                      <a:lnTo>
                        <a:pt x="48" y="18"/>
                      </a:lnTo>
                      <a:lnTo>
                        <a:pt x="36" y="24"/>
                      </a:lnTo>
                      <a:lnTo>
                        <a:pt x="30" y="30"/>
                      </a:lnTo>
                      <a:lnTo>
                        <a:pt x="18" y="66"/>
                      </a:lnTo>
                      <a:lnTo>
                        <a:pt x="12" y="78"/>
                      </a:lnTo>
                      <a:lnTo>
                        <a:pt x="12" y="90"/>
                      </a:lnTo>
                      <a:lnTo>
                        <a:pt x="0" y="114"/>
                      </a:lnTo>
                      <a:lnTo>
                        <a:pt x="0" y="156"/>
                      </a:lnTo>
                      <a:lnTo>
                        <a:pt x="12" y="150"/>
                      </a:lnTo>
                      <a:lnTo>
                        <a:pt x="24" y="126"/>
                      </a:lnTo>
                      <a:lnTo>
                        <a:pt x="30" y="132"/>
                      </a:lnTo>
                      <a:lnTo>
                        <a:pt x="36" y="132"/>
                      </a:lnTo>
                      <a:lnTo>
                        <a:pt x="42" y="126"/>
                      </a:lnTo>
                      <a:lnTo>
                        <a:pt x="48" y="114"/>
                      </a:lnTo>
                      <a:lnTo>
                        <a:pt x="48" y="102"/>
                      </a:lnTo>
                      <a:lnTo>
                        <a:pt x="72" y="9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2" name="Kenya">
                  <a:extLst>
                    <a:ext uri="{FF2B5EF4-FFF2-40B4-BE49-F238E27FC236}">
                      <a16:creationId xmlns:a16="http://schemas.microsoft.com/office/drawing/2014/main" id="{EEDFE163-E354-47F9-A99B-B92C3399B431}"/>
                    </a:ext>
                  </a:extLst>
                </p:cNvPr>
                <p:cNvSpPr>
                  <a:spLocks/>
                </p:cNvSpPr>
                <p:nvPr/>
              </p:nvSpPr>
              <p:spPr bwMode="gray">
                <a:xfrm>
                  <a:off x="5152519" y="3239685"/>
                  <a:ext cx="212716" cy="287072"/>
                </a:xfrm>
                <a:custGeom>
                  <a:avLst/>
                  <a:gdLst>
                    <a:gd name="T0" fmla="*/ 2147483647 w 564"/>
                    <a:gd name="T1" fmla="*/ 2147483647 h 762"/>
                    <a:gd name="T2" fmla="*/ 2147483647 w 564"/>
                    <a:gd name="T3" fmla="*/ 2147483647 h 762"/>
                    <a:gd name="T4" fmla="*/ 2147483647 w 564"/>
                    <a:gd name="T5" fmla="*/ 2147483647 h 762"/>
                    <a:gd name="T6" fmla="*/ 2147483647 w 564"/>
                    <a:gd name="T7" fmla="*/ 2147483647 h 762"/>
                    <a:gd name="T8" fmla="*/ 2147483647 w 564"/>
                    <a:gd name="T9" fmla="*/ 2147483647 h 762"/>
                    <a:gd name="T10" fmla="*/ 2147483647 w 564"/>
                    <a:gd name="T11" fmla="*/ 2147483647 h 762"/>
                    <a:gd name="T12" fmla="*/ 2147483647 w 564"/>
                    <a:gd name="T13" fmla="*/ 2147483647 h 762"/>
                    <a:gd name="T14" fmla="*/ 2147483647 w 564"/>
                    <a:gd name="T15" fmla="*/ 2147483647 h 762"/>
                    <a:gd name="T16" fmla="*/ 2147483647 w 564"/>
                    <a:gd name="T17" fmla="*/ 2147483647 h 762"/>
                    <a:gd name="T18" fmla="*/ 2147483647 w 564"/>
                    <a:gd name="T19" fmla="*/ 2147483647 h 762"/>
                    <a:gd name="T20" fmla="*/ 2147483647 w 564"/>
                    <a:gd name="T21" fmla="*/ 2147483647 h 762"/>
                    <a:gd name="T22" fmla="*/ 2147483647 w 564"/>
                    <a:gd name="T23" fmla="*/ 2147483647 h 762"/>
                    <a:gd name="T24" fmla="*/ 2147483647 w 564"/>
                    <a:gd name="T25" fmla="*/ 0 h 762"/>
                    <a:gd name="T26" fmla="*/ 2147483647 w 564"/>
                    <a:gd name="T27" fmla="*/ 2147483647 h 762"/>
                    <a:gd name="T28" fmla="*/ 2147483647 w 564"/>
                    <a:gd name="T29" fmla="*/ 2147483647 h 762"/>
                    <a:gd name="T30" fmla="*/ 2147483647 w 564"/>
                    <a:gd name="T31" fmla="*/ 2147483647 h 762"/>
                    <a:gd name="T32" fmla="*/ 2147483647 w 564"/>
                    <a:gd name="T33" fmla="*/ 2147483647 h 762"/>
                    <a:gd name="T34" fmla="*/ 2147483647 w 564"/>
                    <a:gd name="T35" fmla="*/ 2147483647 h 762"/>
                    <a:gd name="T36" fmla="*/ 2147483647 w 564"/>
                    <a:gd name="T37" fmla="*/ 2147483647 h 762"/>
                    <a:gd name="T38" fmla="*/ 2147483647 w 564"/>
                    <a:gd name="T39" fmla="*/ 2147483647 h 762"/>
                    <a:gd name="T40" fmla="*/ 2147483647 w 564"/>
                    <a:gd name="T41" fmla="*/ 2147483647 h 762"/>
                    <a:gd name="T42" fmla="*/ 2147483647 w 564"/>
                    <a:gd name="T43" fmla="*/ 2147483647 h 762"/>
                    <a:gd name="T44" fmla="*/ 2147483647 w 564"/>
                    <a:gd name="T45" fmla="*/ 2147483647 h 762"/>
                    <a:gd name="T46" fmla="*/ 2147483647 w 564"/>
                    <a:gd name="T47" fmla="*/ 2147483647 h 762"/>
                    <a:gd name="T48" fmla="*/ 2147483647 w 564"/>
                    <a:gd name="T49" fmla="*/ 2147483647 h 762"/>
                    <a:gd name="T50" fmla="*/ 2147483647 w 564"/>
                    <a:gd name="T51" fmla="*/ 2147483647 h 762"/>
                    <a:gd name="T52" fmla="*/ 2147483647 w 564"/>
                    <a:gd name="T53" fmla="*/ 2147483647 h 762"/>
                    <a:gd name="T54" fmla="*/ 2147483647 w 564"/>
                    <a:gd name="T55" fmla="*/ 2147483647 h 762"/>
                    <a:gd name="T56" fmla="*/ 2147483647 w 564"/>
                    <a:gd name="T57" fmla="*/ 2147483647 h 762"/>
                    <a:gd name="T58" fmla="*/ 0 w 564"/>
                    <a:gd name="T59" fmla="*/ 2147483647 h 762"/>
                    <a:gd name="T60" fmla="*/ 2147483647 w 564"/>
                    <a:gd name="T61" fmla="*/ 2147483647 h 762"/>
                    <a:gd name="T62" fmla="*/ 2147483647 w 564"/>
                    <a:gd name="T63" fmla="*/ 2147483647 h 762"/>
                    <a:gd name="T64" fmla="*/ 2147483647 w 564"/>
                    <a:gd name="T65" fmla="*/ 2147483647 h 762"/>
                    <a:gd name="T66" fmla="*/ 2147483647 w 564"/>
                    <a:gd name="T67" fmla="*/ 2147483647 h 762"/>
                    <a:gd name="T68" fmla="*/ 2147483647 w 564"/>
                    <a:gd name="T69" fmla="*/ 2147483647 h 762"/>
                    <a:gd name="T70" fmla="*/ 0 w 564"/>
                    <a:gd name="T71" fmla="*/ 2147483647 h 762"/>
                    <a:gd name="T72" fmla="*/ 2147483647 w 564"/>
                    <a:gd name="T73" fmla="*/ 2147483647 h 762"/>
                    <a:gd name="T74" fmla="*/ 2147483647 w 564"/>
                    <a:gd name="T75" fmla="*/ 2147483647 h 762"/>
                    <a:gd name="T76" fmla="*/ 2147483647 w 564"/>
                    <a:gd name="T77" fmla="*/ 2147483647 h 762"/>
                    <a:gd name="T78" fmla="*/ 2147483647 w 564"/>
                    <a:gd name="T79" fmla="*/ 2147483647 h 762"/>
                    <a:gd name="T80" fmla="*/ 2147483647 w 564"/>
                    <a:gd name="T81" fmla="*/ 2147483647 h 762"/>
                    <a:gd name="T82" fmla="*/ 2147483647 w 564"/>
                    <a:gd name="T83" fmla="*/ 2147483647 h 762"/>
                    <a:gd name="T84" fmla="*/ 2147483647 w 564"/>
                    <a:gd name="T85" fmla="*/ 2147483647 h 762"/>
                    <a:gd name="T86" fmla="*/ 2147483647 w 564"/>
                    <a:gd name="T87" fmla="*/ 2147483647 h 762"/>
                    <a:gd name="T88" fmla="*/ 2147483647 w 564"/>
                    <a:gd name="T89" fmla="*/ 2147483647 h 762"/>
                    <a:gd name="T90" fmla="*/ 2147483647 w 564"/>
                    <a:gd name="T91" fmla="*/ 2147483647 h 762"/>
                    <a:gd name="T92" fmla="*/ 2147483647 w 564"/>
                    <a:gd name="T93" fmla="*/ 2147483647 h 762"/>
                    <a:gd name="T94" fmla="*/ 2147483647 w 564"/>
                    <a:gd name="T95" fmla="*/ 2147483647 h 762"/>
                    <a:gd name="T96" fmla="*/ 2147483647 w 564"/>
                    <a:gd name="T97" fmla="*/ 2147483647 h 762"/>
                    <a:gd name="T98" fmla="*/ 2147483647 w 564"/>
                    <a:gd name="T99" fmla="*/ 2147483647 h 762"/>
                    <a:gd name="T100" fmla="*/ 2147483647 w 564"/>
                    <a:gd name="T101" fmla="*/ 2147483647 h 7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4"/>
                    <a:gd name="T154" fmla="*/ 0 h 762"/>
                    <a:gd name="T155" fmla="*/ 564 w 564"/>
                    <a:gd name="T156" fmla="*/ 762 h 7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4" h="762">
                      <a:moveTo>
                        <a:pt x="498" y="150"/>
                      </a:moveTo>
                      <a:lnTo>
                        <a:pt x="540" y="108"/>
                      </a:lnTo>
                      <a:lnTo>
                        <a:pt x="558" y="72"/>
                      </a:lnTo>
                      <a:lnTo>
                        <a:pt x="564" y="66"/>
                      </a:lnTo>
                      <a:lnTo>
                        <a:pt x="564" y="60"/>
                      </a:lnTo>
                      <a:lnTo>
                        <a:pt x="540" y="54"/>
                      </a:lnTo>
                      <a:lnTo>
                        <a:pt x="534" y="60"/>
                      </a:lnTo>
                      <a:lnTo>
                        <a:pt x="504" y="60"/>
                      </a:lnTo>
                      <a:lnTo>
                        <a:pt x="480" y="30"/>
                      </a:lnTo>
                      <a:lnTo>
                        <a:pt x="462" y="48"/>
                      </a:lnTo>
                      <a:lnTo>
                        <a:pt x="456" y="48"/>
                      </a:lnTo>
                      <a:lnTo>
                        <a:pt x="450" y="54"/>
                      </a:lnTo>
                      <a:lnTo>
                        <a:pt x="438" y="60"/>
                      </a:lnTo>
                      <a:lnTo>
                        <a:pt x="426" y="60"/>
                      </a:lnTo>
                      <a:lnTo>
                        <a:pt x="414" y="72"/>
                      </a:lnTo>
                      <a:lnTo>
                        <a:pt x="414" y="84"/>
                      </a:lnTo>
                      <a:lnTo>
                        <a:pt x="390" y="102"/>
                      </a:lnTo>
                      <a:lnTo>
                        <a:pt x="378" y="96"/>
                      </a:lnTo>
                      <a:lnTo>
                        <a:pt x="372" y="96"/>
                      </a:lnTo>
                      <a:lnTo>
                        <a:pt x="360" y="90"/>
                      </a:lnTo>
                      <a:lnTo>
                        <a:pt x="330" y="90"/>
                      </a:lnTo>
                      <a:lnTo>
                        <a:pt x="318" y="84"/>
                      </a:lnTo>
                      <a:lnTo>
                        <a:pt x="288" y="84"/>
                      </a:lnTo>
                      <a:lnTo>
                        <a:pt x="210" y="24"/>
                      </a:lnTo>
                      <a:lnTo>
                        <a:pt x="138" y="18"/>
                      </a:lnTo>
                      <a:lnTo>
                        <a:pt x="132" y="0"/>
                      </a:lnTo>
                      <a:lnTo>
                        <a:pt x="108" y="12"/>
                      </a:lnTo>
                      <a:lnTo>
                        <a:pt x="18" y="12"/>
                      </a:lnTo>
                      <a:lnTo>
                        <a:pt x="0" y="42"/>
                      </a:lnTo>
                      <a:lnTo>
                        <a:pt x="6" y="48"/>
                      </a:lnTo>
                      <a:lnTo>
                        <a:pt x="12" y="60"/>
                      </a:lnTo>
                      <a:lnTo>
                        <a:pt x="12" y="84"/>
                      </a:lnTo>
                      <a:lnTo>
                        <a:pt x="18" y="84"/>
                      </a:lnTo>
                      <a:lnTo>
                        <a:pt x="24" y="90"/>
                      </a:lnTo>
                      <a:lnTo>
                        <a:pt x="24" y="84"/>
                      </a:lnTo>
                      <a:lnTo>
                        <a:pt x="30" y="84"/>
                      </a:lnTo>
                      <a:lnTo>
                        <a:pt x="30" y="96"/>
                      </a:lnTo>
                      <a:lnTo>
                        <a:pt x="24" y="102"/>
                      </a:lnTo>
                      <a:lnTo>
                        <a:pt x="24" y="108"/>
                      </a:lnTo>
                      <a:lnTo>
                        <a:pt x="42" y="126"/>
                      </a:lnTo>
                      <a:lnTo>
                        <a:pt x="36" y="132"/>
                      </a:lnTo>
                      <a:lnTo>
                        <a:pt x="72" y="174"/>
                      </a:lnTo>
                      <a:lnTo>
                        <a:pt x="66" y="180"/>
                      </a:lnTo>
                      <a:lnTo>
                        <a:pt x="60" y="180"/>
                      </a:lnTo>
                      <a:lnTo>
                        <a:pt x="54" y="186"/>
                      </a:lnTo>
                      <a:lnTo>
                        <a:pt x="54" y="192"/>
                      </a:lnTo>
                      <a:lnTo>
                        <a:pt x="66" y="216"/>
                      </a:lnTo>
                      <a:lnTo>
                        <a:pt x="72" y="222"/>
                      </a:lnTo>
                      <a:lnTo>
                        <a:pt x="78" y="234"/>
                      </a:lnTo>
                      <a:lnTo>
                        <a:pt x="78" y="246"/>
                      </a:lnTo>
                      <a:lnTo>
                        <a:pt x="66" y="258"/>
                      </a:lnTo>
                      <a:lnTo>
                        <a:pt x="60" y="282"/>
                      </a:lnTo>
                      <a:lnTo>
                        <a:pt x="42" y="282"/>
                      </a:lnTo>
                      <a:lnTo>
                        <a:pt x="36" y="288"/>
                      </a:lnTo>
                      <a:lnTo>
                        <a:pt x="36" y="312"/>
                      </a:lnTo>
                      <a:lnTo>
                        <a:pt x="18" y="324"/>
                      </a:lnTo>
                      <a:lnTo>
                        <a:pt x="12" y="342"/>
                      </a:lnTo>
                      <a:lnTo>
                        <a:pt x="6" y="348"/>
                      </a:lnTo>
                      <a:lnTo>
                        <a:pt x="0" y="360"/>
                      </a:lnTo>
                      <a:lnTo>
                        <a:pt x="0" y="384"/>
                      </a:lnTo>
                      <a:lnTo>
                        <a:pt x="18" y="402"/>
                      </a:lnTo>
                      <a:lnTo>
                        <a:pt x="30" y="402"/>
                      </a:lnTo>
                      <a:lnTo>
                        <a:pt x="30" y="390"/>
                      </a:lnTo>
                      <a:lnTo>
                        <a:pt x="54" y="390"/>
                      </a:lnTo>
                      <a:lnTo>
                        <a:pt x="60" y="408"/>
                      </a:lnTo>
                      <a:lnTo>
                        <a:pt x="42" y="408"/>
                      </a:lnTo>
                      <a:lnTo>
                        <a:pt x="30" y="420"/>
                      </a:lnTo>
                      <a:lnTo>
                        <a:pt x="24" y="414"/>
                      </a:lnTo>
                      <a:lnTo>
                        <a:pt x="18" y="414"/>
                      </a:lnTo>
                      <a:lnTo>
                        <a:pt x="6" y="420"/>
                      </a:lnTo>
                      <a:lnTo>
                        <a:pt x="0" y="432"/>
                      </a:lnTo>
                      <a:lnTo>
                        <a:pt x="0" y="438"/>
                      </a:lnTo>
                      <a:lnTo>
                        <a:pt x="12" y="450"/>
                      </a:lnTo>
                      <a:lnTo>
                        <a:pt x="6" y="468"/>
                      </a:lnTo>
                      <a:lnTo>
                        <a:pt x="258" y="624"/>
                      </a:lnTo>
                      <a:lnTo>
                        <a:pt x="270" y="636"/>
                      </a:lnTo>
                      <a:lnTo>
                        <a:pt x="270" y="642"/>
                      </a:lnTo>
                      <a:lnTo>
                        <a:pt x="264" y="648"/>
                      </a:lnTo>
                      <a:lnTo>
                        <a:pt x="258" y="648"/>
                      </a:lnTo>
                      <a:lnTo>
                        <a:pt x="252" y="654"/>
                      </a:lnTo>
                      <a:lnTo>
                        <a:pt x="366" y="762"/>
                      </a:lnTo>
                      <a:lnTo>
                        <a:pt x="384" y="756"/>
                      </a:lnTo>
                      <a:lnTo>
                        <a:pt x="414" y="690"/>
                      </a:lnTo>
                      <a:lnTo>
                        <a:pt x="414" y="660"/>
                      </a:lnTo>
                      <a:lnTo>
                        <a:pt x="426" y="648"/>
                      </a:lnTo>
                      <a:lnTo>
                        <a:pt x="432" y="648"/>
                      </a:lnTo>
                      <a:lnTo>
                        <a:pt x="444" y="636"/>
                      </a:lnTo>
                      <a:lnTo>
                        <a:pt x="444" y="624"/>
                      </a:lnTo>
                      <a:lnTo>
                        <a:pt x="438" y="618"/>
                      </a:lnTo>
                      <a:lnTo>
                        <a:pt x="438" y="600"/>
                      </a:lnTo>
                      <a:lnTo>
                        <a:pt x="444" y="594"/>
                      </a:lnTo>
                      <a:lnTo>
                        <a:pt x="456" y="588"/>
                      </a:lnTo>
                      <a:lnTo>
                        <a:pt x="468" y="588"/>
                      </a:lnTo>
                      <a:lnTo>
                        <a:pt x="474" y="582"/>
                      </a:lnTo>
                      <a:lnTo>
                        <a:pt x="480" y="582"/>
                      </a:lnTo>
                      <a:lnTo>
                        <a:pt x="486" y="540"/>
                      </a:lnTo>
                      <a:lnTo>
                        <a:pt x="516" y="540"/>
                      </a:lnTo>
                      <a:lnTo>
                        <a:pt x="528" y="534"/>
                      </a:lnTo>
                      <a:lnTo>
                        <a:pt x="534" y="522"/>
                      </a:lnTo>
                      <a:lnTo>
                        <a:pt x="540" y="516"/>
                      </a:lnTo>
                      <a:lnTo>
                        <a:pt x="498" y="450"/>
                      </a:lnTo>
                      <a:lnTo>
                        <a:pt x="498" y="15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3" name="Israel">
                  <a:extLst>
                    <a:ext uri="{FF2B5EF4-FFF2-40B4-BE49-F238E27FC236}">
                      <a16:creationId xmlns:a16="http://schemas.microsoft.com/office/drawing/2014/main" id="{D28EC1BC-150C-4098-A253-45294B8AFF6F}"/>
                    </a:ext>
                  </a:extLst>
                </p:cNvPr>
                <p:cNvSpPr>
                  <a:spLocks/>
                </p:cNvSpPr>
                <p:nvPr/>
              </p:nvSpPr>
              <p:spPr bwMode="gray">
                <a:xfrm>
                  <a:off x="5130206" y="2366572"/>
                  <a:ext cx="38676" cy="120481"/>
                </a:xfrm>
                <a:custGeom>
                  <a:avLst/>
                  <a:gdLst>
                    <a:gd name="T0" fmla="*/ 0 w 102"/>
                    <a:gd name="T1" fmla="*/ 2147483647 h 324"/>
                    <a:gd name="T2" fmla="*/ 2147483647 w 102"/>
                    <a:gd name="T3" fmla="*/ 2147483647 h 324"/>
                    <a:gd name="T4" fmla="*/ 2147483647 w 102"/>
                    <a:gd name="T5" fmla="*/ 2147483647 h 324"/>
                    <a:gd name="T6" fmla="*/ 2147483647 w 102"/>
                    <a:gd name="T7" fmla="*/ 2147483647 h 324"/>
                    <a:gd name="T8" fmla="*/ 2147483647 w 102"/>
                    <a:gd name="T9" fmla="*/ 2147483647 h 324"/>
                    <a:gd name="T10" fmla="*/ 2147483647 w 102"/>
                    <a:gd name="T11" fmla="*/ 2147483647 h 324"/>
                    <a:gd name="T12" fmla="*/ 2147483647 w 102"/>
                    <a:gd name="T13" fmla="*/ 2147483647 h 324"/>
                    <a:gd name="T14" fmla="*/ 2147483647 w 102"/>
                    <a:gd name="T15" fmla="*/ 2147483647 h 324"/>
                    <a:gd name="T16" fmla="*/ 2147483647 w 102"/>
                    <a:gd name="T17" fmla="*/ 2147483647 h 324"/>
                    <a:gd name="T18" fmla="*/ 2147483647 w 102"/>
                    <a:gd name="T19" fmla="*/ 2147483647 h 324"/>
                    <a:gd name="T20" fmla="*/ 2147483647 w 102"/>
                    <a:gd name="T21" fmla="*/ 2147483647 h 324"/>
                    <a:gd name="T22" fmla="*/ 2147483647 w 102"/>
                    <a:gd name="T23" fmla="*/ 2147483647 h 324"/>
                    <a:gd name="T24" fmla="*/ 2147483647 w 102"/>
                    <a:gd name="T25" fmla="*/ 2147483647 h 324"/>
                    <a:gd name="T26" fmla="*/ 2147483647 w 102"/>
                    <a:gd name="T27" fmla="*/ 2147483647 h 324"/>
                    <a:gd name="T28" fmla="*/ 2147483647 w 102"/>
                    <a:gd name="T29" fmla="*/ 2147483647 h 324"/>
                    <a:gd name="T30" fmla="*/ 2147483647 w 102"/>
                    <a:gd name="T31" fmla="*/ 2147483647 h 324"/>
                    <a:gd name="T32" fmla="*/ 2147483647 w 102"/>
                    <a:gd name="T33" fmla="*/ 2147483647 h 324"/>
                    <a:gd name="T34" fmla="*/ 2147483647 w 102"/>
                    <a:gd name="T35" fmla="*/ 2147483647 h 324"/>
                    <a:gd name="T36" fmla="*/ 2147483647 w 102"/>
                    <a:gd name="T37" fmla="*/ 2147483647 h 324"/>
                    <a:gd name="T38" fmla="*/ 2147483647 w 102"/>
                    <a:gd name="T39" fmla="*/ 2147483647 h 324"/>
                    <a:gd name="T40" fmla="*/ 2147483647 w 102"/>
                    <a:gd name="T41" fmla="*/ 2147483647 h 324"/>
                    <a:gd name="T42" fmla="*/ 2147483647 w 102"/>
                    <a:gd name="T43" fmla="*/ 2147483647 h 324"/>
                    <a:gd name="T44" fmla="*/ 2147483647 w 102"/>
                    <a:gd name="T45" fmla="*/ 2147483647 h 324"/>
                    <a:gd name="T46" fmla="*/ 2147483647 w 102"/>
                    <a:gd name="T47" fmla="*/ 2147483647 h 324"/>
                    <a:gd name="T48" fmla="*/ 2147483647 w 102"/>
                    <a:gd name="T49" fmla="*/ 0 h 324"/>
                    <a:gd name="T50" fmla="*/ 2147483647 w 102"/>
                    <a:gd name="T51" fmla="*/ 2147483647 h 324"/>
                    <a:gd name="T52" fmla="*/ 2147483647 w 102"/>
                    <a:gd name="T53" fmla="*/ 2147483647 h 324"/>
                    <a:gd name="T54" fmla="*/ 2147483647 w 102"/>
                    <a:gd name="T55" fmla="*/ 2147483647 h 324"/>
                    <a:gd name="T56" fmla="*/ 2147483647 w 102"/>
                    <a:gd name="T57" fmla="*/ 2147483647 h 324"/>
                    <a:gd name="T58" fmla="*/ 2147483647 w 102"/>
                    <a:gd name="T59" fmla="*/ 2147483647 h 324"/>
                    <a:gd name="T60" fmla="*/ 2147483647 w 102"/>
                    <a:gd name="T61" fmla="*/ 2147483647 h 324"/>
                    <a:gd name="T62" fmla="*/ 2147483647 w 102"/>
                    <a:gd name="T63" fmla="*/ 2147483647 h 324"/>
                    <a:gd name="T64" fmla="*/ 2147483647 w 102"/>
                    <a:gd name="T65" fmla="*/ 2147483647 h 324"/>
                    <a:gd name="T66" fmla="*/ 2147483647 w 102"/>
                    <a:gd name="T67" fmla="*/ 2147483647 h 324"/>
                    <a:gd name="T68" fmla="*/ 2147483647 w 102"/>
                    <a:gd name="T69" fmla="*/ 2147483647 h 324"/>
                    <a:gd name="T70" fmla="*/ 2147483647 w 102"/>
                    <a:gd name="T71" fmla="*/ 2147483647 h 324"/>
                    <a:gd name="T72" fmla="*/ 2147483647 w 102"/>
                    <a:gd name="T73" fmla="*/ 2147483647 h 324"/>
                    <a:gd name="T74" fmla="*/ 2147483647 w 102"/>
                    <a:gd name="T75" fmla="*/ 2147483647 h 324"/>
                    <a:gd name="T76" fmla="*/ 2147483647 w 102"/>
                    <a:gd name="T77" fmla="*/ 2147483647 h 324"/>
                    <a:gd name="T78" fmla="*/ 0 w 102"/>
                    <a:gd name="T79" fmla="*/ 2147483647 h 3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324"/>
                    <a:gd name="T122" fmla="*/ 102 w 102"/>
                    <a:gd name="T123" fmla="*/ 324 h 3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324">
                      <a:moveTo>
                        <a:pt x="0" y="168"/>
                      </a:moveTo>
                      <a:lnTo>
                        <a:pt x="54" y="312"/>
                      </a:lnTo>
                      <a:lnTo>
                        <a:pt x="60" y="324"/>
                      </a:lnTo>
                      <a:lnTo>
                        <a:pt x="60" y="306"/>
                      </a:lnTo>
                      <a:lnTo>
                        <a:pt x="66" y="294"/>
                      </a:lnTo>
                      <a:lnTo>
                        <a:pt x="66" y="234"/>
                      </a:lnTo>
                      <a:lnTo>
                        <a:pt x="72" y="228"/>
                      </a:lnTo>
                      <a:lnTo>
                        <a:pt x="78" y="216"/>
                      </a:lnTo>
                      <a:lnTo>
                        <a:pt x="84" y="210"/>
                      </a:lnTo>
                      <a:lnTo>
                        <a:pt x="90" y="198"/>
                      </a:lnTo>
                      <a:lnTo>
                        <a:pt x="90" y="186"/>
                      </a:lnTo>
                      <a:lnTo>
                        <a:pt x="78" y="174"/>
                      </a:lnTo>
                      <a:lnTo>
                        <a:pt x="78" y="162"/>
                      </a:lnTo>
                      <a:lnTo>
                        <a:pt x="72" y="156"/>
                      </a:lnTo>
                      <a:lnTo>
                        <a:pt x="66" y="162"/>
                      </a:lnTo>
                      <a:lnTo>
                        <a:pt x="66" y="168"/>
                      </a:lnTo>
                      <a:lnTo>
                        <a:pt x="60" y="168"/>
                      </a:lnTo>
                      <a:lnTo>
                        <a:pt x="54" y="174"/>
                      </a:lnTo>
                      <a:lnTo>
                        <a:pt x="48" y="168"/>
                      </a:lnTo>
                      <a:lnTo>
                        <a:pt x="48" y="96"/>
                      </a:lnTo>
                      <a:lnTo>
                        <a:pt x="66" y="78"/>
                      </a:lnTo>
                      <a:lnTo>
                        <a:pt x="84" y="78"/>
                      </a:lnTo>
                      <a:lnTo>
                        <a:pt x="90" y="60"/>
                      </a:lnTo>
                      <a:lnTo>
                        <a:pt x="84" y="18"/>
                      </a:lnTo>
                      <a:lnTo>
                        <a:pt x="102" y="0"/>
                      </a:lnTo>
                      <a:lnTo>
                        <a:pt x="78" y="6"/>
                      </a:lnTo>
                      <a:lnTo>
                        <a:pt x="78" y="18"/>
                      </a:lnTo>
                      <a:lnTo>
                        <a:pt x="72" y="30"/>
                      </a:lnTo>
                      <a:lnTo>
                        <a:pt x="66" y="36"/>
                      </a:lnTo>
                      <a:lnTo>
                        <a:pt x="60" y="36"/>
                      </a:lnTo>
                      <a:lnTo>
                        <a:pt x="54" y="30"/>
                      </a:lnTo>
                      <a:lnTo>
                        <a:pt x="42" y="54"/>
                      </a:lnTo>
                      <a:lnTo>
                        <a:pt x="30" y="60"/>
                      </a:lnTo>
                      <a:lnTo>
                        <a:pt x="36" y="72"/>
                      </a:lnTo>
                      <a:lnTo>
                        <a:pt x="36" y="84"/>
                      </a:lnTo>
                      <a:lnTo>
                        <a:pt x="42" y="90"/>
                      </a:lnTo>
                      <a:lnTo>
                        <a:pt x="42" y="96"/>
                      </a:lnTo>
                      <a:lnTo>
                        <a:pt x="18" y="138"/>
                      </a:lnTo>
                      <a:lnTo>
                        <a:pt x="18" y="156"/>
                      </a:lnTo>
                      <a:lnTo>
                        <a:pt x="0" y="16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4" name="Iraq">
                  <a:extLst>
                    <a:ext uri="{FF2B5EF4-FFF2-40B4-BE49-F238E27FC236}">
                      <a16:creationId xmlns:a16="http://schemas.microsoft.com/office/drawing/2014/main" id="{7313E405-8A07-4265-9A26-0838148DF018}"/>
                    </a:ext>
                  </a:extLst>
                </p:cNvPr>
                <p:cNvSpPr>
                  <a:spLocks/>
                </p:cNvSpPr>
                <p:nvPr/>
              </p:nvSpPr>
              <p:spPr bwMode="gray">
                <a:xfrm>
                  <a:off x="5241771" y="2249065"/>
                  <a:ext cx="257342" cy="248399"/>
                </a:xfrm>
                <a:custGeom>
                  <a:avLst/>
                  <a:gdLst>
                    <a:gd name="T0" fmla="*/ 2147483647 w 684"/>
                    <a:gd name="T1" fmla="*/ 2147483647 h 660"/>
                    <a:gd name="T2" fmla="*/ 2147483647 w 684"/>
                    <a:gd name="T3" fmla="*/ 2147483647 h 660"/>
                    <a:gd name="T4" fmla="*/ 2147483647 w 684"/>
                    <a:gd name="T5" fmla="*/ 2147483647 h 660"/>
                    <a:gd name="T6" fmla="*/ 2147483647 w 684"/>
                    <a:gd name="T7" fmla="*/ 2147483647 h 660"/>
                    <a:gd name="T8" fmla="*/ 2147483647 w 684"/>
                    <a:gd name="T9" fmla="*/ 2147483647 h 660"/>
                    <a:gd name="T10" fmla="*/ 2147483647 w 684"/>
                    <a:gd name="T11" fmla="*/ 2147483647 h 660"/>
                    <a:gd name="T12" fmla="*/ 2147483647 w 684"/>
                    <a:gd name="T13" fmla="*/ 2147483647 h 660"/>
                    <a:gd name="T14" fmla="*/ 2147483647 w 684"/>
                    <a:gd name="T15" fmla="*/ 2147483647 h 660"/>
                    <a:gd name="T16" fmla="*/ 2147483647 w 684"/>
                    <a:gd name="T17" fmla="*/ 2147483647 h 660"/>
                    <a:gd name="T18" fmla="*/ 2147483647 w 684"/>
                    <a:gd name="T19" fmla="*/ 2147483647 h 660"/>
                    <a:gd name="T20" fmla="*/ 2147483647 w 684"/>
                    <a:gd name="T21" fmla="*/ 2147483647 h 660"/>
                    <a:gd name="T22" fmla="*/ 2147483647 w 684"/>
                    <a:gd name="T23" fmla="*/ 2147483647 h 660"/>
                    <a:gd name="T24" fmla="*/ 2147483647 w 684"/>
                    <a:gd name="T25" fmla="*/ 2147483647 h 660"/>
                    <a:gd name="T26" fmla="*/ 2147483647 w 684"/>
                    <a:gd name="T27" fmla="*/ 2147483647 h 660"/>
                    <a:gd name="T28" fmla="*/ 2147483647 w 684"/>
                    <a:gd name="T29" fmla="*/ 2147483647 h 660"/>
                    <a:gd name="T30" fmla="*/ 2147483647 w 684"/>
                    <a:gd name="T31" fmla="*/ 2147483647 h 660"/>
                    <a:gd name="T32" fmla="*/ 2147483647 w 684"/>
                    <a:gd name="T33" fmla="*/ 2147483647 h 660"/>
                    <a:gd name="T34" fmla="*/ 2147483647 w 684"/>
                    <a:gd name="T35" fmla="*/ 2147483647 h 660"/>
                    <a:gd name="T36" fmla="*/ 2147483647 w 684"/>
                    <a:gd name="T37" fmla="*/ 2147483647 h 660"/>
                    <a:gd name="T38" fmla="*/ 2147483647 w 684"/>
                    <a:gd name="T39" fmla="*/ 2147483647 h 660"/>
                    <a:gd name="T40" fmla="*/ 2147483647 w 684"/>
                    <a:gd name="T41" fmla="*/ 2147483647 h 660"/>
                    <a:gd name="T42" fmla="*/ 2147483647 w 684"/>
                    <a:gd name="T43" fmla="*/ 2147483647 h 660"/>
                    <a:gd name="T44" fmla="*/ 2147483647 w 684"/>
                    <a:gd name="T45" fmla="*/ 2147483647 h 660"/>
                    <a:gd name="T46" fmla="*/ 2147483647 w 684"/>
                    <a:gd name="T47" fmla="*/ 2147483647 h 660"/>
                    <a:gd name="T48" fmla="*/ 2147483647 w 684"/>
                    <a:gd name="T49" fmla="*/ 2147483647 h 660"/>
                    <a:gd name="T50" fmla="*/ 2147483647 w 684"/>
                    <a:gd name="T51" fmla="*/ 2147483647 h 660"/>
                    <a:gd name="T52" fmla="*/ 2147483647 w 684"/>
                    <a:gd name="T53" fmla="*/ 0 h 660"/>
                    <a:gd name="T54" fmla="*/ 2147483647 w 684"/>
                    <a:gd name="T55" fmla="*/ 2147483647 h 660"/>
                    <a:gd name="T56" fmla="*/ 2147483647 w 684"/>
                    <a:gd name="T57" fmla="*/ 2147483647 h 660"/>
                    <a:gd name="T58" fmla="*/ 2147483647 w 684"/>
                    <a:gd name="T59" fmla="*/ 0 h 660"/>
                    <a:gd name="T60" fmla="*/ 2147483647 w 684"/>
                    <a:gd name="T61" fmla="*/ 2147483647 h 660"/>
                    <a:gd name="T62" fmla="*/ 2147483647 w 684"/>
                    <a:gd name="T63" fmla="*/ 2147483647 h 660"/>
                    <a:gd name="T64" fmla="*/ 2147483647 w 684"/>
                    <a:gd name="T65" fmla="*/ 2147483647 h 660"/>
                    <a:gd name="T66" fmla="*/ 2147483647 w 684"/>
                    <a:gd name="T67" fmla="*/ 2147483647 h 660"/>
                    <a:gd name="T68" fmla="*/ 2147483647 w 684"/>
                    <a:gd name="T69" fmla="*/ 2147483647 h 660"/>
                    <a:gd name="T70" fmla="*/ 2147483647 w 684"/>
                    <a:gd name="T71" fmla="*/ 2147483647 h 660"/>
                    <a:gd name="T72" fmla="*/ 2147483647 w 684"/>
                    <a:gd name="T73" fmla="*/ 2147483647 h 660"/>
                    <a:gd name="T74" fmla="*/ 2147483647 w 684"/>
                    <a:gd name="T75" fmla="*/ 2147483647 h 660"/>
                    <a:gd name="T76" fmla="*/ 2147483647 w 684"/>
                    <a:gd name="T77" fmla="*/ 2147483647 h 660"/>
                    <a:gd name="T78" fmla="*/ 2147483647 w 684"/>
                    <a:gd name="T79" fmla="*/ 2147483647 h 660"/>
                    <a:gd name="T80" fmla="*/ 2147483647 w 684"/>
                    <a:gd name="T81" fmla="*/ 2147483647 h 660"/>
                    <a:gd name="T82" fmla="*/ 2147483647 w 684"/>
                    <a:gd name="T83" fmla="*/ 2147483647 h 660"/>
                    <a:gd name="T84" fmla="*/ 2147483647 w 684"/>
                    <a:gd name="T85" fmla="*/ 2147483647 h 660"/>
                    <a:gd name="T86" fmla="*/ 0 w 684"/>
                    <a:gd name="T87" fmla="*/ 2147483647 h 660"/>
                    <a:gd name="T88" fmla="*/ 2147483647 w 684"/>
                    <a:gd name="T89" fmla="*/ 2147483647 h 660"/>
                    <a:gd name="T90" fmla="*/ 2147483647 w 684"/>
                    <a:gd name="T91" fmla="*/ 2147483647 h 660"/>
                    <a:gd name="T92" fmla="*/ 2147483647 w 684"/>
                    <a:gd name="T93" fmla="*/ 2147483647 h 660"/>
                    <a:gd name="T94" fmla="*/ 2147483647 w 684"/>
                    <a:gd name="T95" fmla="*/ 2147483647 h 660"/>
                    <a:gd name="T96" fmla="*/ 2147483647 w 684"/>
                    <a:gd name="T97" fmla="*/ 2147483647 h 660"/>
                    <a:gd name="T98" fmla="*/ 2147483647 w 684"/>
                    <a:gd name="T99" fmla="*/ 2147483647 h 660"/>
                    <a:gd name="T100" fmla="*/ 2147483647 w 684"/>
                    <a:gd name="T101" fmla="*/ 2147483647 h 660"/>
                    <a:gd name="T102" fmla="*/ 2147483647 w 684"/>
                    <a:gd name="T103" fmla="*/ 2147483647 h 660"/>
                    <a:gd name="T104" fmla="*/ 2147483647 w 684"/>
                    <a:gd name="T105" fmla="*/ 2147483647 h 660"/>
                    <a:gd name="T106" fmla="*/ 2147483647 w 684"/>
                    <a:gd name="T107" fmla="*/ 2147483647 h 660"/>
                    <a:gd name="T108" fmla="*/ 2147483647 w 684"/>
                    <a:gd name="T109" fmla="*/ 2147483647 h 660"/>
                    <a:gd name="T110" fmla="*/ 2147483647 w 684"/>
                    <a:gd name="T111" fmla="*/ 2147483647 h 660"/>
                    <a:gd name="T112" fmla="*/ 2147483647 w 684"/>
                    <a:gd name="T113" fmla="*/ 2147483647 h 660"/>
                    <a:gd name="T114" fmla="*/ 2147483647 w 684"/>
                    <a:gd name="T115" fmla="*/ 2147483647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84"/>
                    <a:gd name="T175" fmla="*/ 0 h 660"/>
                    <a:gd name="T176" fmla="*/ 684 w 684"/>
                    <a:gd name="T177" fmla="*/ 660 h 6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84" h="660">
                      <a:moveTo>
                        <a:pt x="678" y="564"/>
                      </a:moveTo>
                      <a:lnTo>
                        <a:pt x="666" y="552"/>
                      </a:lnTo>
                      <a:lnTo>
                        <a:pt x="654" y="546"/>
                      </a:lnTo>
                      <a:lnTo>
                        <a:pt x="648" y="516"/>
                      </a:lnTo>
                      <a:lnTo>
                        <a:pt x="642" y="516"/>
                      </a:lnTo>
                      <a:lnTo>
                        <a:pt x="636" y="510"/>
                      </a:lnTo>
                      <a:lnTo>
                        <a:pt x="624" y="504"/>
                      </a:lnTo>
                      <a:lnTo>
                        <a:pt x="618" y="498"/>
                      </a:lnTo>
                      <a:lnTo>
                        <a:pt x="618" y="462"/>
                      </a:lnTo>
                      <a:lnTo>
                        <a:pt x="624" y="450"/>
                      </a:lnTo>
                      <a:lnTo>
                        <a:pt x="624" y="438"/>
                      </a:lnTo>
                      <a:lnTo>
                        <a:pt x="594" y="402"/>
                      </a:lnTo>
                      <a:lnTo>
                        <a:pt x="588" y="390"/>
                      </a:lnTo>
                      <a:lnTo>
                        <a:pt x="582" y="384"/>
                      </a:lnTo>
                      <a:lnTo>
                        <a:pt x="564" y="384"/>
                      </a:lnTo>
                      <a:lnTo>
                        <a:pt x="546" y="366"/>
                      </a:lnTo>
                      <a:lnTo>
                        <a:pt x="534" y="360"/>
                      </a:lnTo>
                      <a:lnTo>
                        <a:pt x="528" y="354"/>
                      </a:lnTo>
                      <a:lnTo>
                        <a:pt x="504" y="354"/>
                      </a:lnTo>
                      <a:lnTo>
                        <a:pt x="504" y="312"/>
                      </a:lnTo>
                      <a:lnTo>
                        <a:pt x="498" y="312"/>
                      </a:lnTo>
                      <a:lnTo>
                        <a:pt x="492" y="306"/>
                      </a:lnTo>
                      <a:lnTo>
                        <a:pt x="468" y="294"/>
                      </a:lnTo>
                      <a:lnTo>
                        <a:pt x="456" y="282"/>
                      </a:lnTo>
                      <a:lnTo>
                        <a:pt x="444" y="276"/>
                      </a:lnTo>
                      <a:lnTo>
                        <a:pt x="438" y="270"/>
                      </a:lnTo>
                      <a:lnTo>
                        <a:pt x="438" y="264"/>
                      </a:lnTo>
                      <a:lnTo>
                        <a:pt x="444" y="252"/>
                      </a:lnTo>
                      <a:lnTo>
                        <a:pt x="450" y="246"/>
                      </a:lnTo>
                      <a:lnTo>
                        <a:pt x="438" y="234"/>
                      </a:lnTo>
                      <a:lnTo>
                        <a:pt x="438" y="228"/>
                      </a:lnTo>
                      <a:lnTo>
                        <a:pt x="450" y="216"/>
                      </a:lnTo>
                      <a:lnTo>
                        <a:pt x="462" y="216"/>
                      </a:lnTo>
                      <a:lnTo>
                        <a:pt x="462" y="186"/>
                      </a:lnTo>
                      <a:lnTo>
                        <a:pt x="468" y="186"/>
                      </a:lnTo>
                      <a:lnTo>
                        <a:pt x="480" y="174"/>
                      </a:lnTo>
                      <a:lnTo>
                        <a:pt x="480" y="168"/>
                      </a:lnTo>
                      <a:lnTo>
                        <a:pt x="474" y="156"/>
                      </a:lnTo>
                      <a:lnTo>
                        <a:pt x="462" y="144"/>
                      </a:lnTo>
                      <a:lnTo>
                        <a:pt x="462" y="138"/>
                      </a:lnTo>
                      <a:lnTo>
                        <a:pt x="480" y="120"/>
                      </a:lnTo>
                      <a:lnTo>
                        <a:pt x="480" y="114"/>
                      </a:lnTo>
                      <a:lnTo>
                        <a:pt x="468" y="114"/>
                      </a:lnTo>
                      <a:lnTo>
                        <a:pt x="456" y="120"/>
                      </a:lnTo>
                      <a:lnTo>
                        <a:pt x="450" y="126"/>
                      </a:lnTo>
                      <a:lnTo>
                        <a:pt x="438" y="108"/>
                      </a:lnTo>
                      <a:lnTo>
                        <a:pt x="414" y="102"/>
                      </a:lnTo>
                      <a:lnTo>
                        <a:pt x="414" y="84"/>
                      </a:lnTo>
                      <a:lnTo>
                        <a:pt x="402" y="72"/>
                      </a:lnTo>
                      <a:lnTo>
                        <a:pt x="378" y="24"/>
                      </a:lnTo>
                      <a:lnTo>
                        <a:pt x="378" y="12"/>
                      </a:lnTo>
                      <a:lnTo>
                        <a:pt x="336" y="24"/>
                      </a:lnTo>
                      <a:lnTo>
                        <a:pt x="336" y="6"/>
                      </a:lnTo>
                      <a:lnTo>
                        <a:pt x="330" y="0"/>
                      </a:lnTo>
                      <a:lnTo>
                        <a:pt x="306" y="0"/>
                      </a:lnTo>
                      <a:lnTo>
                        <a:pt x="306" y="6"/>
                      </a:lnTo>
                      <a:lnTo>
                        <a:pt x="300" y="12"/>
                      </a:lnTo>
                      <a:lnTo>
                        <a:pt x="288" y="12"/>
                      </a:lnTo>
                      <a:lnTo>
                        <a:pt x="276" y="0"/>
                      </a:lnTo>
                      <a:lnTo>
                        <a:pt x="234" y="0"/>
                      </a:lnTo>
                      <a:lnTo>
                        <a:pt x="234" y="12"/>
                      </a:lnTo>
                      <a:lnTo>
                        <a:pt x="228" y="18"/>
                      </a:lnTo>
                      <a:lnTo>
                        <a:pt x="216" y="24"/>
                      </a:lnTo>
                      <a:lnTo>
                        <a:pt x="204" y="36"/>
                      </a:lnTo>
                      <a:lnTo>
                        <a:pt x="198" y="48"/>
                      </a:lnTo>
                      <a:lnTo>
                        <a:pt x="192" y="54"/>
                      </a:lnTo>
                      <a:lnTo>
                        <a:pt x="180" y="54"/>
                      </a:lnTo>
                      <a:lnTo>
                        <a:pt x="168" y="60"/>
                      </a:lnTo>
                      <a:lnTo>
                        <a:pt x="156" y="60"/>
                      </a:lnTo>
                      <a:lnTo>
                        <a:pt x="150" y="66"/>
                      </a:lnTo>
                      <a:lnTo>
                        <a:pt x="144" y="78"/>
                      </a:lnTo>
                      <a:lnTo>
                        <a:pt x="144" y="90"/>
                      </a:lnTo>
                      <a:lnTo>
                        <a:pt x="150" y="102"/>
                      </a:lnTo>
                      <a:lnTo>
                        <a:pt x="156" y="108"/>
                      </a:lnTo>
                      <a:lnTo>
                        <a:pt x="156" y="120"/>
                      </a:lnTo>
                      <a:lnTo>
                        <a:pt x="162" y="132"/>
                      </a:lnTo>
                      <a:lnTo>
                        <a:pt x="162" y="162"/>
                      </a:lnTo>
                      <a:lnTo>
                        <a:pt x="156" y="174"/>
                      </a:lnTo>
                      <a:lnTo>
                        <a:pt x="150" y="192"/>
                      </a:lnTo>
                      <a:lnTo>
                        <a:pt x="150" y="198"/>
                      </a:lnTo>
                      <a:lnTo>
                        <a:pt x="168" y="216"/>
                      </a:lnTo>
                      <a:lnTo>
                        <a:pt x="168" y="222"/>
                      </a:lnTo>
                      <a:lnTo>
                        <a:pt x="162" y="228"/>
                      </a:lnTo>
                      <a:lnTo>
                        <a:pt x="138" y="240"/>
                      </a:lnTo>
                      <a:lnTo>
                        <a:pt x="78" y="264"/>
                      </a:lnTo>
                      <a:lnTo>
                        <a:pt x="66" y="270"/>
                      </a:lnTo>
                      <a:lnTo>
                        <a:pt x="6" y="318"/>
                      </a:lnTo>
                      <a:lnTo>
                        <a:pt x="0" y="318"/>
                      </a:lnTo>
                      <a:lnTo>
                        <a:pt x="0" y="324"/>
                      </a:lnTo>
                      <a:lnTo>
                        <a:pt x="24" y="366"/>
                      </a:lnTo>
                      <a:lnTo>
                        <a:pt x="24" y="384"/>
                      </a:lnTo>
                      <a:lnTo>
                        <a:pt x="48" y="402"/>
                      </a:lnTo>
                      <a:lnTo>
                        <a:pt x="48" y="414"/>
                      </a:lnTo>
                      <a:lnTo>
                        <a:pt x="60" y="426"/>
                      </a:lnTo>
                      <a:lnTo>
                        <a:pt x="126" y="426"/>
                      </a:lnTo>
                      <a:lnTo>
                        <a:pt x="156" y="456"/>
                      </a:lnTo>
                      <a:lnTo>
                        <a:pt x="168" y="462"/>
                      </a:lnTo>
                      <a:lnTo>
                        <a:pt x="180" y="474"/>
                      </a:lnTo>
                      <a:lnTo>
                        <a:pt x="228" y="498"/>
                      </a:lnTo>
                      <a:lnTo>
                        <a:pt x="234" y="504"/>
                      </a:lnTo>
                      <a:lnTo>
                        <a:pt x="246" y="510"/>
                      </a:lnTo>
                      <a:lnTo>
                        <a:pt x="438" y="654"/>
                      </a:lnTo>
                      <a:lnTo>
                        <a:pt x="522" y="654"/>
                      </a:lnTo>
                      <a:lnTo>
                        <a:pt x="570" y="660"/>
                      </a:lnTo>
                      <a:lnTo>
                        <a:pt x="564" y="660"/>
                      </a:lnTo>
                      <a:lnTo>
                        <a:pt x="570" y="654"/>
                      </a:lnTo>
                      <a:lnTo>
                        <a:pt x="588" y="618"/>
                      </a:lnTo>
                      <a:lnTo>
                        <a:pt x="588" y="606"/>
                      </a:lnTo>
                      <a:lnTo>
                        <a:pt x="594" y="600"/>
                      </a:lnTo>
                      <a:lnTo>
                        <a:pt x="600" y="588"/>
                      </a:lnTo>
                      <a:lnTo>
                        <a:pt x="648" y="588"/>
                      </a:lnTo>
                      <a:lnTo>
                        <a:pt x="654" y="594"/>
                      </a:lnTo>
                      <a:lnTo>
                        <a:pt x="678" y="582"/>
                      </a:lnTo>
                      <a:lnTo>
                        <a:pt x="684" y="576"/>
                      </a:lnTo>
                      <a:lnTo>
                        <a:pt x="678" y="570"/>
                      </a:lnTo>
                      <a:lnTo>
                        <a:pt x="678" y="56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5" name="Gabon">
                  <a:extLst>
                    <a:ext uri="{FF2B5EF4-FFF2-40B4-BE49-F238E27FC236}">
                      <a16:creationId xmlns:a16="http://schemas.microsoft.com/office/drawing/2014/main" id="{25AFAD61-97A4-4D96-B0A3-CC9F4886FA23}"/>
                    </a:ext>
                  </a:extLst>
                </p:cNvPr>
                <p:cNvSpPr>
                  <a:spLocks/>
                </p:cNvSpPr>
                <p:nvPr/>
              </p:nvSpPr>
              <p:spPr bwMode="gray">
                <a:xfrm>
                  <a:off x="4471231" y="3308107"/>
                  <a:ext cx="157678" cy="193364"/>
                </a:xfrm>
                <a:custGeom>
                  <a:avLst/>
                  <a:gdLst>
                    <a:gd name="T0" fmla="*/ 2147483647 w 420"/>
                    <a:gd name="T1" fmla="*/ 2147483647 h 510"/>
                    <a:gd name="T2" fmla="*/ 2147483647 w 420"/>
                    <a:gd name="T3" fmla="*/ 2147483647 h 510"/>
                    <a:gd name="T4" fmla="*/ 2147483647 w 420"/>
                    <a:gd name="T5" fmla="*/ 2147483647 h 510"/>
                    <a:gd name="T6" fmla="*/ 2147483647 w 420"/>
                    <a:gd name="T7" fmla="*/ 2147483647 h 510"/>
                    <a:gd name="T8" fmla="*/ 2147483647 w 420"/>
                    <a:gd name="T9" fmla="*/ 2147483647 h 510"/>
                    <a:gd name="T10" fmla="*/ 2147483647 w 420"/>
                    <a:gd name="T11" fmla="*/ 2147483647 h 510"/>
                    <a:gd name="T12" fmla="*/ 2147483647 w 420"/>
                    <a:gd name="T13" fmla="*/ 2147483647 h 510"/>
                    <a:gd name="T14" fmla="*/ 2147483647 w 420"/>
                    <a:gd name="T15" fmla="*/ 2147483647 h 510"/>
                    <a:gd name="T16" fmla="*/ 2147483647 w 420"/>
                    <a:gd name="T17" fmla="*/ 2147483647 h 510"/>
                    <a:gd name="T18" fmla="*/ 2147483647 w 420"/>
                    <a:gd name="T19" fmla="*/ 2147483647 h 510"/>
                    <a:gd name="T20" fmla="*/ 2147483647 w 420"/>
                    <a:gd name="T21" fmla="*/ 2147483647 h 510"/>
                    <a:gd name="T22" fmla="*/ 2147483647 w 420"/>
                    <a:gd name="T23" fmla="*/ 2147483647 h 510"/>
                    <a:gd name="T24" fmla="*/ 2147483647 w 420"/>
                    <a:gd name="T25" fmla="*/ 2147483647 h 510"/>
                    <a:gd name="T26" fmla="*/ 2147483647 w 420"/>
                    <a:gd name="T27" fmla="*/ 2147483647 h 510"/>
                    <a:gd name="T28" fmla="*/ 2147483647 w 420"/>
                    <a:gd name="T29" fmla="*/ 2147483647 h 510"/>
                    <a:gd name="T30" fmla="*/ 2147483647 w 420"/>
                    <a:gd name="T31" fmla="*/ 2147483647 h 510"/>
                    <a:gd name="T32" fmla="*/ 2147483647 w 420"/>
                    <a:gd name="T33" fmla="*/ 2147483647 h 510"/>
                    <a:gd name="T34" fmla="*/ 2147483647 w 420"/>
                    <a:gd name="T35" fmla="*/ 2147483647 h 510"/>
                    <a:gd name="T36" fmla="*/ 2147483647 w 420"/>
                    <a:gd name="T37" fmla="*/ 2147483647 h 510"/>
                    <a:gd name="T38" fmla="*/ 2147483647 w 420"/>
                    <a:gd name="T39" fmla="*/ 2147483647 h 510"/>
                    <a:gd name="T40" fmla="*/ 2147483647 w 420"/>
                    <a:gd name="T41" fmla="*/ 2147483647 h 510"/>
                    <a:gd name="T42" fmla="*/ 2147483647 w 420"/>
                    <a:gd name="T43" fmla="*/ 2147483647 h 510"/>
                    <a:gd name="T44" fmla="*/ 2147483647 w 420"/>
                    <a:gd name="T45" fmla="*/ 2147483647 h 510"/>
                    <a:gd name="T46" fmla="*/ 2147483647 w 420"/>
                    <a:gd name="T47" fmla="*/ 2147483647 h 510"/>
                    <a:gd name="T48" fmla="*/ 2147483647 w 420"/>
                    <a:gd name="T49" fmla="*/ 2147483647 h 510"/>
                    <a:gd name="T50" fmla="*/ 2147483647 w 420"/>
                    <a:gd name="T51" fmla="*/ 2147483647 h 510"/>
                    <a:gd name="T52" fmla="*/ 2147483647 w 420"/>
                    <a:gd name="T53" fmla="*/ 2147483647 h 510"/>
                    <a:gd name="T54" fmla="*/ 2147483647 w 420"/>
                    <a:gd name="T55" fmla="*/ 2147483647 h 510"/>
                    <a:gd name="T56" fmla="*/ 2147483647 w 420"/>
                    <a:gd name="T57" fmla="*/ 2147483647 h 510"/>
                    <a:gd name="T58" fmla="*/ 2147483647 w 420"/>
                    <a:gd name="T59" fmla="*/ 2147483647 h 510"/>
                    <a:gd name="T60" fmla="*/ 2147483647 w 420"/>
                    <a:gd name="T61" fmla="*/ 2147483647 h 510"/>
                    <a:gd name="T62" fmla="*/ 2147483647 w 420"/>
                    <a:gd name="T63" fmla="*/ 2147483647 h 510"/>
                    <a:gd name="T64" fmla="*/ 2147483647 w 420"/>
                    <a:gd name="T65" fmla="*/ 2147483647 h 510"/>
                    <a:gd name="T66" fmla="*/ 2147483647 w 420"/>
                    <a:gd name="T67" fmla="*/ 2147483647 h 510"/>
                    <a:gd name="T68" fmla="*/ 2147483647 w 420"/>
                    <a:gd name="T69" fmla="*/ 2147483647 h 510"/>
                    <a:gd name="T70" fmla="*/ 2147483647 w 420"/>
                    <a:gd name="T71" fmla="*/ 2147483647 h 510"/>
                    <a:gd name="T72" fmla="*/ 2147483647 w 420"/>
                    <a:gd name="T73" fmla="*/ 2147483647 h 510"/>
                    <a:gd name="T74" fmla="*/ 2147483647 w 420"/>
                    <a:gd name="T75" fmla="*/ 2147483647 h 510"/>
                    <a:gd name="T76" fmla="*/ 2147483647 w 420"/>
                    <a:gd name="T77" fmla="*/ 2147483647 h 510"/>
                    <a:gd name="T78" fmla="*/ 2147483647 w 420"/>
                    <a:gd name="T79" fmla="*/ 2147483647 h 510"/>
                    <a:gd name="T80" fmla="*/ 2147483647 w 420"/>
                    <a:gd name="T81" fmla="*/ 2147483647 h 510"/>
                    <a:gd name="T82" fmla="*/ 2147483647 w 420"/>
                    <a:gd name="T83" fmla="*/ 2147483647 h 510"/>
                    <a:gd name="T84" fmla="*/ 2147483647 w 420"/>
                    <a:gd name="T85" fmla="*/ 2147483647 h 510"/>
                    <a:gd name="T86" fmla="*/ 2147483647 w 420"/>
                    <a:gd name="T87" fmla="*/ 2147483647 h 510"/>
                    <a:gd name="T88" fmla="*/ 2147483647 w 420"/>
                    <a:gd name="T89" fmla="*/ 2147483647 h 510"/>
                    <a:gd name="T90" fmla="*/ 2147483647 w 420"/>
                    <a:gd name="T91" fmla="*/ 2147483647 h 510"/>
                    <a:gd name="T92" fmla="*/ 2147483647 w 420"/>
                    <a:gd name="T93" fmla="*/ 2147483647 h 510"/>
                    <a:gd name="T94" fmla="*/ 2147483647 w 420"/>
                    <a:gd name="T95" fmla="*/ 2147483647 h 510"/>
                    <a:gd name="T96" fmla="*/ 2147483647 w 420"/>
                    <a:gd name="T97" fmla="*/ 2147483647 h 510"/>
                    <a:gd name="T98" fmla="*/ 2147483647 w 420"/>
                    <a:gd name="T99" fmla="*/ 2147483647 h 510"/>
                    <a:gd name="T100" fmla="*/ 2147483647 w 420"/>
                    <a:gd name="T101" fmla="*/ 2147483647 h 510"/>
                    <a:gd name="T102" fmla="*/ 2147483647 w 420"/>
                    <a:gd name="T103" fmla="*/ 2147483647 h 510"/>
                    <a:gd name="T104" fmla="*/ 2147483647 w 420"/>
                    <a:gd name="T105" fmla="*/ 2147483647 h 510"/>
                    <a:gd name="T106" fmla="*/ 2147483647 w 420"/>
                    <a:gd name="T107" fmla="*/ 2147483647 h 510"/>
                    <a:gd name="T108" fmla="*/ 2147483647 w 420"/>
                    <a:gd name="T109" fmla="*/ 2147483647 h 510"/>
                    <a:gd name="T110" fmla="*/ 2147483647 w 420"/>
                    <a:gd name="T111" fmla="*/ 2147483647 h 5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10"/>
                    <a:gd name="T170" fmla="*/ 420 w 420"/>
                    <a:gd name="T171" fmla="*/ 510 h 5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10">
                      <a:moveTo>
                        <a:pt x="420" y="240"/>
                      </a:moveTo>
                      <a:lnTo>
                        <a:pt x="414" y="234"/>
                      </a:lnTo>
                      <a:lnTo>
                        <a:pt x="396" y="234"/>
                      </a:lnTo>
                      <a:lnTo>
                        <a:pt x="390" y="216"/>
                      </a:lnTo>
                      <a:lnTo>
                        <a:pt x="372" y="210"/>
                      </a:lnTo>
                      <a:lnTo>
                        <a:pt x="372" y="174"/>
                      </a:lnTo>
                      <a:lnTo>
                        <a:pt x="384" y="150"/>
                      </a:lnTo>
                      <a:lnTo>
                        <a:pt x="396" y="150"/>
                      </a:lnTo>
                      <a:lnTo>
                        <a:pt x="402" y="144"/>
                      </a:lnTo>
                      <a:lnTo>
                        <a:pt x="408" y="132"/>
                      </a:lnTo>
                      <a:lnTo>
                        <a:pt x="414" y="126"/>
                      </a:lnTo>
                      <a:lnTo>
                        <a:pt x="414" y="114"/>
                      </a:lnTo>
                      <a:lnTo>
                        <a:pt x="402" y="108"/>
                      </a:lnTo>
                      <a:lnTo>
                        <a:pt x="402" y="90"/>
                      </a:lnTo>
                      <a:lnTo>
                        <a:pt x="396" y="84"/>
                      </a:lnTo>
                      <a:lnTo>
                        <a:pt x="396" y="78"/>
                      </a:lnTo>
                      <a:lnTo>
                        <a:pt x="384" y="78"/>
                      </a:lnTo>
                      <a:lnTo>
                        <a:pt x="378" y="72"/>
                      </a:lnTo>
                      <a:lnTo>
                        <a:pt x="360" y="72"/>
                      </a:lnTo>
                      <a:lnTo>
                        <a:pt x="360" y="90"/>
                      </a:lnTo>
                      <a:lnTo>
                        <a:pt x="354" y="96"/>
                      </a:lnTo>
                      <a:lnTo>
                        <a:pt x="330" y="96"/>
                      </a:lnTo>
                      <a:lnTo>
                        <a:pt x="324" y="90"/>
                      </a:lnTo>
                      <a:lnTo>
                        <a:pt x="318" y="54"/>
                      </a:lnTo>
                      <a:lnTo>
                        <a:pt x="336" y="24"/>
                      </a:lnTo>
                      <a:lnTo>
                        <a:pt x="336" y="6"/>
                      </a:lnTo>
                      <a:lnTo>
                        <a:pt x="288" y="12"/>
                      </a:lnTo>
                      <a:lnTo>
                        <a:pt x="282" y="12"/>
                      </a:lnTo>
                      <a:lnTo>
                        <a:pt x="270" y="6"/>
                      </a:lnTo>
                      <a:lnTo>
                        <a:pt x="264" y="6"/>
                      </a:lnTo>
                      <a:lnTo>
                        <a:pt x="252" y="18"/>
                      </a:lnTo>
                      <a:lnTo>
                        <a:pt x="222" y="18"/>
                      </a:lnTo>
                      <a:lnTo>
                        <a:pt x="210" y="0"/>
                      </a:lnTo>
                      <a:lnTo>
                        <a:pt x="192" y="18"/>
                      </a:lnTo>
                      <a:lnTo>
                        <a:pt x="186" y="54"/>
                      </a:lnTo>
                      <a:lnTo>
                        <a:pt x="192" y="60"/>
                      </a:lnTo>
                      <a:lnTo>
                        <a:pt x="192" y="90"/>
                      </a:lnTo>
                      <a:lnTo>
                        <a:pt x="186" y="108"/>
                      </a:lnTo>
                      <a:lnTo>
                        <a:pt x="186" y="114"/>
                      </a:lnTo>
                      <a:lnTo>
                        <a:pt x="84" y="114"/>
                      </a:lnTo>
                      <a:lnTo>
                        <a:pt x="84" y="108"/>
                      </a:lnTo>
                      <a:lnTo>
                        <a:pt x="72" y="108"/>
                      </a:lnTo>
                      <a:lnTo>
                        <a:pt x="60" y="120"/>
                      </a:lnTo>
                      <a:lnTo>
                        <a:pt x="60" y="126"/>
                      </a:lnTo>
                      <a:lnTo>
                        <a:pt x="66" y="132"/>
                      </a:lnTo>
                      <a:lnTo>
                        <a:pt x="66" y="144"/>
                      </a:lnTo>
                      <a:lnTo>
                        <a:pt x="72" y="150"/>
                      </a:lnTo>
                      <a:lnTo>
                        <a:pt x="72" y="162"/>
                      </a:lnTo>
                      <a:lnTo>
                        <a:pt x="48" y="162"/>
                      </a:lnTo>
                      <a:lnTo>
                        <a:pt x="48" y="210"/>
                      </a:lnTo>
                      <a:lnTo>
                        <a:pt x="42" y="228"/>
                      </a:lnTo>
                      <a:lnTo>
                        <a:pt x="36" y="240"/>
                      </a:lnTo>
                      <a:lnTo>
                        <a:pt x="30" y="246"/>
                      </a:lnTo>
                      <a:lnTo>
                        <a:pt x="18" y="252"/>
                      </a:lnTo>
                      <a:lnTo>
                        <a:pt x="0" y="252"/>
                      </a:lnTo>
                      <a:lnTo>
                        <a:pt x="30" y="306"/>
                      </a:lnTo>
                      <a:lnTo>
                        <a:pt x="42" y="294"/>
                      </a:lnTo>
                      <a:lnTo>
                        <a:pt x="54" y="312"/>
                      </a:lnTo>
                      <a:lnTo>
                        <a:pt x="48" y="318"/>
                      </a:lnTo>
                      <a:lnTo>
                        <a:pt x="48" y="330"/>
                      </a:lnTo>
                      <a:lnTo>
                        <a:pt x="42" y="336"/>
                      </a:lnTo>
                      <a:lnTo>
                        <a:pt x="42" y="342"/>
                      </a:lnTo>
                      <a:lnTo>
                        <a:pt x="48" y="348"/>
                      </a:lnTo>
                      <a:lnTo>
                        <a:pt x="66" y="348"/>
                      </a:lnTo>
                      <a:lnTo>
                        <a:pt x="72" y="390"/>
                      </a:lnTo>
                      <a:lnTo>
                        <a:pt x="102" y="396"/>
                      </a:lnTo>
                      <a:lnTo>
                        <a:pt x="96" y="408"/>
                      </a:lnTo>
                      <a:lnTo>
                        <a:pt x="144" y="462"/>
                      </a:lnTo>
                      <a:lnTo>
                        <a:pt x="138" y="468"/>
                      </a:lnTo>
                      <a:lnTo>
                        <a:pt x="174" y="510"/>
                      </a:lnTo>
                      <a:lnTo>
                        <a:pt x="180" y="492"/>
                      </a:lnTo>
                      <a:lnTo>
                        <a:pt x="204" y="480"/>
                      </a:lnTo>
                      <a:lnTo>
                        <a:pt x="222" y="498"/>
                      </a:lnTo>
                      <a:lnTo>
                        <a:pt x="228" y="492"/>
                      </a:lnTo>
                      <a:lnTo>
                        <a:pt x="228" y="456"/>
                      </a:lnTo>
                      <a:lnTo>
                        <a:pt x="210" y="444"/>
                      </a:lnTo>
                      <a:lnTo>
                        <a:pt x="228" y="432"/>
                      </a:lnTo>
                      <a:lnTo>
                        <a:pt x="198" y="414"/>
                      </a:lnTo>
                      <a:lnTo>
                        <a:pt x="210" y="414"/>
                      </a:lnTo>
                      <a:lnTo>
                        <a:pt x="210" y="402"/>
                      </a:lnTo>
                      <a:lnTo>
                        <a:pt x="204" y="396"/>
                      </a:lnTo>
                      <a:lnTo>
                        <a:pt x="204" y="378"/>
                      </a:lnTo>
                      <a:lnTo>
                        <a:pt x="210" y="378"/>
                      </a:lnTo>
                      <a:lnTo>
                        <a:pt x="216" y="384"/>
                      </a:lnTo>
                      <a:lnTo>
                        <a:pt x="228" y="384"/>
                      </a:lnTo>
                      <a:lnTo>
                        <a:pt x="240" y="390"/>
                      </a:lnTo>
                      <a:lnTo>
                        <a:pt x="258" y="390"/>
                      </a:lnTo>
                      <a:lnTo>
                        <a:pt x="264" y="384"/>
                      </a:lnTo>
                      <a:lnTo>
                        <a:pt x="270" y="372"/>
                      </a:lnTo>
                      <a:lnTo>
                        <a:pt x="282" y="366"/>
                      </a:lnTo>
                      <a:lnTo>
                        <a:pt x="264" y="348"/>
                      </a:lnTo>
                      <a:lnTo>
                        <a:pt x="264" y="342"/>
                      </a:lnTo>
                      <a:lnTo>
                        <a:pt x="294" y="342"/>
                      </a:lnTo>
                      <a:lnTo>
                        <a:pt x="312" y="384"/>
                      </a:lnTo>
                      <a:lnTo>
                        <a:pt x="342" y="384"/>
                      </a:lnTo>
                      <a:lnTo>
                        <a:pt x="348" y="378"/>
                      </a:lnTo>
                      <a:lnTo>
                        <a:pt x="354" y="366"/>
                      </a:lnTo>
                      <a:lnTo>
                        <a:pt x="360" y="360"/>
                      </a:lnTo>
                      <a:lnTo>
                        <a:pt x="366" y="360"/>
                      </a:lnTo>
                      <a:lnTo>
                        <a:pt x="366" y="390"/>
                      </a:lnTo>
                      <a:lnTo>
                        <a:pt x="372" y="396"/>
                      </a:lnTo>
                      <a:lnTo>
                        <a:pt x="384" y="396"/>
                      </a:lnTo>
                      <a:lnTo>
                        <a:pt x="390" y="390"/>
                      </a:lnTo>
                      <a:lnTo>
                        <a:pt x="396" y="378"/>
                      </a:lnTo>
                      <a:lnTo>
                        <a:pt x="396" y="354"/>
                      </a:lnTo>
                      <a:lnTo>
                        <a:pt x="408" y="348"/>
                      </a:lnTo>
                      <a:lnTo>
                        <a:pt x="414" y="342"/>
                      </a:lnTo>
                      <a:lnTo>
                        <a:pt x="408" y="318"/>
                      </a:lnTo>
                      <a:lnTo>
                        <a:pt x="414" y="306"/>
                      </a:lnTo>
                      <a:lnTo>
                        <a:pt x="414" y="258"/>
                      </a:lnTo>
                      <a:lnTo>
                        <a:pt x="420" y="252"/>
                      </a:lnTo>
                      <a:lnTo>
                        <a:pt x="420" y="24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6" name="Ethiopia">
                  <a:extLst>
                    <a:ext uri="{FF2B5EF4-FFF2-40B4-BE49-F238E27FC236}">
                      <a16:creationId xmlns:a16="http://schemas.microsoft.com/office/drawing/2014/main" id="{20F11F68-231E-44BA-8E94-2752AA4D00DD}"/>
                    </a:ext>
                  </a:extLst>
                </p:cNvPr>
                <p:cNvSpPr>
                  <a:spLocks/>
                </p:cNvSpPr>
                <p:nvPr/>
              </p:nvSpPr>
              <p:spPr bwMode="gray">
                <a:xfrm>
                  <a:off x="5124256" y="2930302"/>
                  <a:ext cx="398657" cy="348056"/>
                </a:xfrm>
                <a:custGeom>
                  <a:avLst/>
                  <a:gdLst>
                    <a:gd name="T0" fmla="*/ 2147483647 w 1056"/>
                    <a:gd name="T1" fmla="*/ 2147483647 h 924"/>
                    <a:gd name="T2" fmla="*/ 2147483647 w 1056"/>
                    <a:gd name="T3" fmla="*/ 2147483647 h 924"/>
                    <a:gd name="T4" fmla="*/ 2147483647 w 1056"/>
                    <a:gd name="T5" fmla="*/ 2147483647 h 924"/>
                    <a:gd name="T6" fmla="*/ 2147483647 w 1056"/>
                    <a:gd name="T7" fmla="*/ 2147483647 h 924"/>
                    <a:gd name="T8" fmla="*/ 2147483647 w 1056"/>
                    <a:gd name="T9" fmla="*/ 2147483647 h 924"/>
                    <a:gd name="T10" fmla="*/ 2147483647 w 1056"/>
                    <a:gd name="T11" fmla="*/ 2147483647 h 924"/>
                    <a:gd name="T12" fmla="*/ 2147483647 w 1056"/>
                    <a:gd name="T13" fmla="*/ 2147483647 h 924"/>
                    <a:gd name="T14" fmla="*/ 2147483647 w 1056"/>
                    <a:gd name="T15" fmla="*/ 2147483647 h 924"/>
                    <a:gd name="T16" fmla="*/ 2147483647 w 1056"/>
                    <a:gd name="T17" fmla="*/ 2147483647 h 924"/>
                    <a:gd name="T18" fmla="*/ 2147483647 w 1056"/>
                    <a:gd name="T19" fmla="*/ 2147483647 h 924"/>
                    <a:gd name="T20" fmla="*/ 2147483647 w 1056"/>
                    <a:gd name="T21" fmla="*/ 2147483647 h 924"/>
                    <a:gd name="T22" fmla="*/ 2147483647 w 1056"/>
                    <a:gd name="T23" fmla="*/ 2147483647 h 924"/>
                    <a:gd name="T24" fmla="*/ 2147483647 w 1056"/>
                    <a:gd name="T25" fmla="*/ 2147483647 h 924"/>
                    <a:gd name="T26" fmla="*/ 2147483647 w 1056"/>
                    <a:gd name="T27" fmla="*/ 2147483647 h 924"/>
                    <a:gd name="T28" fmla="*/ 2147483647 w 1056"/>
                    <a:gd name="T29" fmla="*/ 2147483647 h 924"/>
                    <a:gd name="T30" fmla="*/ 2147483647 w 1056"/>
                    <a:gd name="T31" fmla="*/ 2147483647 h 924"/>
                    <a:gd name="T32" fmla="*/ 2147483647 w 1056"/>
                    <a:gd name="T33" fmla="*/ 2147483647 h 924"/>
                    <a:gd name="T34" fmla="*/ 2147483647 w 1056"/>
                    <a:gd name="T35" fmla="*/ 2147483647 h 924"/>
                    <a:gd name="T36" fmla="*/ 2147483647 w 1056"/>
                    <a:gd name="T37" fmla="*/ 2147483647 h 924"/>
                    <a:gd name="T38" fmla="*/ 2147483647 w 1056"/>
                    <a:gd name="T39" fmla="*/ 2147483647 h 924"/>
                    <a:gd name="T40" fmla="*/ 2147483647 w 1056"/>
                    <a:gd name="T41" fmla="*/ 2147483647 h 924"/>
                    <a:gd name="T42" fmla="*/ 2147483647 w 1056"/>
                    <a:gd name="T43" fmla="*/ 2147483647 h 924"/>
                    <a:gd name="T44" fmla="*/ 2147483647 w 1056"/>
                    <a:gd name="T45" fmla="*/ 2147483647 h 924"/>
                    <a:gd name="T46" fmla="*/ 2147483647 w 1056"/>
                    <a:gd name="T47" fmla="*/ 2147483647 h 924"/>
                    <a:gd name="T48" fmla="*/ 2147483647 w 1056"/>
                    <a:gd name="T49" fmla="*/ 2147483647 h 924"/>
                    <a:gd name="T50" fmla="*/ 2147483647 w 1056"/>
                    <a:gd name="T51" fmla="*/ 2147483647 h 924"/>
                    <a:gd name="T52" fmla="*/ 2147483647 w 1056"/>
                    <a:gd name="T53" fmla="*/ 2147483647 h 924"/>
                    <a:gd name="T54" fmla="*/ 2147483647 w 1056"/>
                    <a:gd name="T55" fmla="*/ 2147483647 h 924"/>
                    <a:gd name="T56" fmla="*/ 2147483647 w 1056"/>
                    <a:gd name="T57" fmla="*/ 2147483647 h 924"/>
                    <a:gd name="T58" fmla="*/ 2147483647 w 1056"/>
                    <a:gd name="T59" fmla="*/ 2147483647 h 924"/>
                    <a:gd name="T60" fmla="*/ 2147483647 w 1056"/>
                    <a:gd name="T61" fmla="*/ 2147483647 h 924"/>
                    <a:gd name="T62" fmla="*/ 2147483647 w 1056"/>
                    <a:gd name="T63" fmla="*/ 2147483647 h 924"/>
                    <a:gd name="T64" fmla="*/ 2147483647 w 1056"/>
                    <a:gd name="T65" fmla="*/ 2147483647 h 924"/>
                    <a:gd name="T66" fmla="*/ 2147483647 w 1056"/>
                    <a:gd name="T67" fmla="*/ 2147483647 h 924"/>
                    <a:gd name="T68" fmla="*/ 2147483647 w 1056"/>
                    <a:gd name="T69" fmla="*/ 2147483647 h 924"/>
                    <a:gd name="T70" fmla="*/ 2147483647 w 1056"/>
                    <a:gd name="T71" fmla="*/ 2147483647 h 924"/>
                    <a:gd name="T72" fmla="*/ 2147483647 w 1056"/>
                    <a:gd name="T73" fmla="*/ 0 h 924"/>
                    <a:gd name="T74" fmla="*/ 2147483647 w 1056"/>
                    <a:gd name="T75" fmla="*/ 2147483647 h 924"/>
                    <a:gd name="T76" fmla="*/ 2147483647 w 1056"/>
                    <a:gd name="T77" fmla="*/ 2147483647 h 924"/>
                    <a:gd name="T78" fmla="*/ 2147483647 w 1056"/>
                    <a:gd name="T79" fmla="*/ 2147483647 h 924"/>
                    <a:gd name="T80" fmla="*/ 2147483647 w 1056"/>
                    <a:gd name="T81" fmla="*/ 2147483647 h 924"/>
                    <a:gd name="T82" fmla="*/ 2147483647 w 1056"/>
                    <a:gd name="T83" fmla="*/ 2147483647 h 924"/>
                    <a:gd name="T84" fmla="*/ 2147483647 w 1056"/>
                    <a:gd name="T85" fmla="*/ 2147483647 h 924"/>
                    <a:gd name="T86" fmla="*/ 2147483647 w 1056"/>
                    <a:gd name="T87" fmla="*/ 2147483647 h 924"/>
                    <a:gd name="T88" fmla="*/ 2147483647 w 1056"/>
                    <a:gd name="T89" fmla="*/ 2147483647 h 924"/>
                    <a:gd name="T90" fmla="*/ 2147483647 w 1056"/>
                    <a:gd name="T91" fmla="*/ 2147483647 h 924"/>
                    <a:gd name="T92" fmla="*/ 2147483647 w 1056"/>
                    <a:gd name="T93" fmla="*/ 2147483647 h 924"/>
                    <a:gd name="T94" fmla="*/ 2147483647 w 1056"/>
                    <a:gd name="T95" fmla="*/ 2147483647 h 924"/>
                    <a:gd name="T96" fmla="*/ 2147483647 w 1056"/>
                    <a:gd name="T97" fmla="*/ 2147483647 h 924"/>
                    <a:gd name="T98" fmla="*/ 2147483647 w 1056"/>
                    <a:gd name="T99" fmla="*/ 2147483647 h 924"/>
                    <a:gd name="T100" fmla="*/ 2147483647 w 1056"/>
                    <a:gd name="T101" fmla="*/ 2147483647 h 924"/>
                    <a:gd name="T102" fmla="*/ 2147483647 w 1056"/>
                    <a:gd name="T103" fmla="*/ 2147483647 h 924"/>
                    <a:gd name="T104" fmla="*/ 2147483647 w 1056"/>
                    <a:gd name="T105" fmla="*/ 2147483647 h 924"/>
                    <a:gd name="T106" fmla="*/ 2147483647 w 1056"/>
                    <a:gd name="T107" fmla="*/ 2147483647 h 924"/>
                    <a:gd name="T108" fmla="*/ 2147483647 w 1056"/>
                    <a:gd name="T109" fmla="*/ 2147483647 h 924"/>
                    <a:gd name="T110" fmla="*/ 2147483647 w 1056"/>
                    <a:gd name="T111" fmla="*/ 2147483647 h 924"/>
                    <a:gd name="T112" fmla="*/ 2147483647 w 1056"/>
                    <a:gd name="T113" fmla="*/ 2147483647 h 924"/>
                    <a:gd name="T114" fmla="*/ 2147483647 w 1056"/>
                    <a:gd name="T115" fmla="*/ 2147483647 h 924"/>
                    <a:gd name="T116" fmla="*/ 2147483647 w 1056"/>
                    <a:gd name="T117" fmla="*/ 2147483647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924"/>
                    <a:gd name="T179" fmla="*/ 1056 w 1056"/>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924">
                      <a:moveTo>
                        <a:pt x="84" y="642"/>
                      </a:moveTo>
                      <a:lnTo>
                        <a:pt x="108" y="642"/>
                      </a:lnTo>
                      <a:lnTo>
                        <a:pt x="114" y="666"/>
                      </a:lnTo>
                      <a:lnTo>
                        <a:pt x="126" y="666"/>
                      </a:lnTo>
                      <a:lnTo>
                        <a:pt x="126" y="702"/>
                      </a:lnTo>
                      <a:lnTo>
                        <a:pt x="138" y="708"/>
                      </a:lnTo>
                      <a:lnTo>
                        <a:pt x="138" y="726"/>
                      </a:lnTo>
                      <a:lnTo>
                        <a:pt x="156" y="762"/>
                      </a:lnTo>
                      <a:lnTo>
                        <a:pt x="168" y="768"/>
                      </a:lnTo>
                      <a:lnTo>
                        <a:pt x="186" y="768"/>
                      </a:lnTo>
                      <a:lnTo>
                        <a:pt x="192" y="774"/>
                      </a:lnTo>
                      <a:lnTo>
                        <a:pt x="198" y="786"/>
                      </a:lnTo>
                      <a:lnTo>
                        <a:pt x="198" y="804"/>
                      </a:lnTo>
                      <a:lnTo>
                        <a:pt x="210" y="840"/>
                      </a:lnTo>
                      <a:lnTo>
                        <a:pt x="282" y="846"/>
                      </a:lnTo>
                      <a:lnTo>
                        <a:pt x="360" y="906"/>
                      </a:lnTo>
                      <a:lnTo>
                        <a:pt x="390" y="906"/>
                      </a:lnTo>
                      <a:lnTo>
                        <a:pt x="402" y="912"/>
                      </a:lnTo>
                      <a:lnTo>
                        <a:pt x="432" y="912"/>
                      </a:lnTo>
                      <a:lnTo>
                        <a:pt x="444" y="918"/>
                      </a:lnTo>
                      <a:lnTo>
                        <a:pt x="450" y="918"/>
                      </a:lnTo>
                      <a:lnTo>
                        <a:pt x="462" y="924"/>
                      </a:lnTo>
                      <a:lnTo>
                        <a:pt x="486" y="906"/>
                      </a:lnTo>
                      <a:lnTo>
                        <a:pt x="486" y="894"/>
                      </a:lnTo>
                      <a:lnTo>
                        <a:pt x="498" y="882"/>
                      </a:lnTo>
                      <a:lnTo>
                        <a:pt x="510" y="882"/>
                      </a:lnTo>
                      <a:lnTo>
                        <a:pt x="522" y="876"/>
                      </a:lnTo>
                      <a:lnTo>
                        <a:pt x="528" y="870"/>
                      </a:lnTo>
                      <a:lnTo>
                        <a:pt x="534" y="870"/>
                      </a:lnTo>
                      <a:lnTo>
                        <a:pt x="552" y="852"/>
                      </a:lnTo>
                      <a:lnTo>
                        <a:pt x="576" y="882"/>
                      </a:lnTo>
                      <a:lnTo>
                        <a:pt x="606" y="882"/>
                      </a:lnTo>
                      <a:lnTo>
                        <a:pt x="612" y="876"/>
                      </a:lnTo>
                      <a:lnTo>
                        <a:pt x="636" y="882"/>
                      </a:lnTo>
                      <a:lnTo>
                        <a:pt x="636" y="876"/>
                      </a:lnTo>
                      <a:lnTo>
                        <a:pt x="648" y="864"/>
                      </a:lnTo>
                      <a:lnTo>
                        <a:pt x="660" y="864"/>
                      </a:lnTo>
                      <a:lnTo>
                        <a:pt x="672" y="858"/>
                      </a:lnTo>
                      <a:lnTo>
                        <a:pt x="696" y="858"/>
                      </a:lnTo>
                      <a:lnTo>
                        <a:pt x="714" y="840"/>
                      </a:lnTo>
                      <a:lnTo>
                        <a:pt x="714" y="828"/>
                      </a:lnTo>
                      <a:lnTo>
                        <a:pt x="726" y="822"/>
                      </a:lnTo>
                      <a:lnTo>
                        <a:pt x="732" y="816"/>
                      </a:lnTo>
                      <a:lnTo>
                        <a:pt x="744" y="810"/>
                      </a:lnTo>
                      <a:lnTo>
                        <a:pt x="756" y="810"/>
                      </a:lnTo>
                      <a:lnTo>
                        <a:pt x="762" y="804"/>
                      </a:lnTo>
                      <a:lnTo>
                        <a:pt x="846" y="804"/>
                      </a:lnTo>
                      <a:lnTo>
                        <a:pt x="1056" y="558"/>
                      </a:lnTo>
                      <a:lnTo>
                        <a:pt x="984" y="564"/>
                      </a:lnTo>
                      <a:lnTo>
                        <a:pt x="948" y="546"/>
                      </a:lnTo>
                      <a:lnTo>
                        <a:pt x="936" y="534"/>
                      </a:lnTo>
                      <a:lnTo>
                        <a:pt x="918" y="528"/>
                      </a:lnTo>
                      <a:lnTo>
                        <a:pt x="906" y="522"/>
                      </a:lnTo>
                      <a:lnTo>
                        <a:pt x="882" y="516"/>
                      </a:lnTo>
                      <a:lnTo>
                        <a:pt x="810" y="492"/>
                      </a:lnTo>
                      <a:lnTo>
                        <a:pt x="774" y="474"/>
                      </a:lnTo>
                      <a:lnTo>
                        <a:pt x="768" y="462"/>
                      </a:lnTo>
                      <a:lnTo>
                        <a:pt x="762" y="456"/>
                      </a:lnTo>
                      <a:lnTo>
                        <a:pt x="756" y="444"/>
                      </a:lnTo>
                      <a:lnTo>
                        <a:pt x="732" y="444"/>
                      </a:lnTo>
                      <a:lnTo>
                        <a:pt x="732" y="438"/>
                      </a:lnTo>
                      <a:lnTo>
                        <a:pt x="726" y="432"/>
                      </a:lnTo>
                      <a:lnTo>
                        <a:pt x="714" y="408"/>
                      </a:lnTo>
                      <a:lnTo>
                        <a:pt x="708" y="402"/>
                      </a:lnTo>
                      <a:lnTo>
                        <a:pt x="702" y="390"/>
                      </a:lnTo>
                      <a:lnTo>
                        <a:pt x="696" y="384"/>
                      </a:lnTo>
                      <a:lnTo>
                        <a:pt x="690" y="372"/>
                      </a:lnTo>
                      <a:lnTo>
                        <a:pt x="690" y="360"/>
                      </a:lnTo>
                      <a:lnTo>
                        <a:pt x="678" y="348"/>
                      </a:lnTo>
                      <a:lnTo>
                        <a:pt x="696" y="318"/>
                      </a:lnTo>
                      <a:lnTo>
                        <a:pt x="690" y="312"/>
                      </a:lnTo>
                      <a:lnTo>
                        <a:pt x="678" y="306"/>
                      </a:lnTo>
                      <a:lnTo>
                        <a:pt x="666" y="306"/>
                      </a:lnTo>
                      <a:lnTo>
                        <a:pt x="660" y="312"/>
                      </a:lnTo>
                      <a:lnTo>
                        <a:pt x="654" y="312"/>
                      </a:lnTo>
                      <a:lnTo>
                        <a:pt x="648" y="318"/>
                      </a:lnTo>
                      <a:lnTo>
                        <a:pt x="624" y="318"/>
                      </a:lnTo>
                      <a:lnTo>
                        <a:pt x="612" y="306"/>
                      </a:lnTo>
                      <a:lnTo>
                        <a:pt x="612" y="294"/>
                      </a:lnTo>
                      <a:lnTo>
                        <a:pt x="606" y="276"/>
                      </a:lnTo>
                      <a:lnTo>
                        <a:pt x="606" y="264"/>
                      </a:lnTo>
                      <a:lnTo>
                        <a:pt x="624" y="246"/>
                      </a:lnTo>
                      <a:lnTo>
                        <a:pt x="654" y="192"/>
                      </a:lnTo>
                      <a:lnTo>
                        <a:pt x="642" y="174"/>
                      </a:lnTo>
                      <a:lnTo>
                        <a:pt x="630" y="174"/>
                      </a:lnTo>
                      <a:lnTo>
                        <a:pt x="618" y="168"/>
                      </a:lnTo>
                      <a:lnTo>
                        <a:pt x="612" y="162"/>
                      </a:lnTo>
                      <a:lnTo>
                        <a:pt x="612" y="138"/>
                      </a:lnTo>
                      <a:lnTo>
                        <a:pt x="600" y="126"/>
                      </a:lnTo>
                      <a:lnTo>
                        <a:pt x="576" y="114"/>
                      </a:lnTo>
                      <a:lnTo>
                        <a:pt x="570" y="108"/>
                      </a:lnTo>
                      <a:lnTo>
                        <a:pt x="546" y="72"/>
                      </a:lnTo>
                      <a:lnTo>
                        <a:pt x="534" y="66"/>
                      </a:lnTo>
                      <a:lnTo>
                        <a:pt x="528" y="60"/>
                      </a:lnTo>
                      <a:lnTo>
                        <a:pt x="516" y="60"/>
                      </a:lnTo>
                      <a:lnTo>
                        <a:pt x="498" y="36"/>
                      </a:lnTo>
                      <a:lnTo>
                        <a:pt x="468" y="36"/>
                      </a:lnTo>
                      <a:lnTo>
                        <a:pt x="462" y="30"/>
                      </a:lnTo>
                      <a:lnTo>
                        <a:pt x="444" y="30"/>
                      </a:lnTo>
                      <a:lnTo>
                        <a:pt x="432" y="36"/>
                      </a:lnTo>
                      <a:lnTo>
                        <a:pt x="420" y="36"/>
                      </a:lnTo>
                      <a:lnTo>
                        <a:pt x="420" y="24"/>
                      </a:lnTo>
                      <a:lnTo>
                        <a:pt x="414" y="18"/>
                      </a:lnTo>
                      <a:lnTo>
                        <a:pt x="408" y="24"/>
                      </a:lnTo>
                      <a:lnTo>
                        <a:pt x="402" y="36"/>
                      </a:lnTo>
                      <a:lnTo>
                        <a:pt x="372" y="36"/>
                      </a:lnTo>
                      <a:lnTo>
                        <a:pt x="366" y="24"/>
                      </a:lnTo>
                      <a:lnTo>
                        <a:pt x="360" y="18"/>
                      </a:lnTo>
                      <a:lnTo>
                        <a:pt x="354" y="18"/>
                      </a:lnTo>
                      <a:lnTo>
                        <a:pt x="342" y="6"/>
                      </a:lnTo>
                      <a:lnTo>
                        <a:pt x="330" y="0"/>
                      </a:lnTo>
                      <a:lnTo>
                        <a:pt x="330" y="12"/>
                      </a:lnTo>
                      <a:lnTo>
                        <a:pt x="324" y="24"/>
                      </a:lnTo>
                      <a:lnTo>
                        <a:pt x="318" y="42"/>
                      </a:lnTo>
                      <a:lnTo>
                        <a:pt x="318" y="54"/>
                      </a:lnTo>
                      <a:lnTo>
                        <a:pt x="306" y="66"/>
                      </a:lnTo>
                      <a:lnTo>
                        <a:pt x="288" y="48"/>
                      </a:lnTo>
                      <a:lnTo>
                        <a:pt x="288" y="42"/>
                      </a:lnTo>
                      <a:lnTo>
                        <a:pt x="282" y="36"/>
                      </a:lnTo>
                      <a:lnTo>
                        <a:pt x="276" y="36"/>
                      </a:lnTo>
                      <a:lnTo>
                        <a:pt x="276" y="42"/>
                      </a:lnTo>
                      <a:lnTo>
                        <a:pt x="270" y="48"/>
                      </a:lnTo>
                      <a:lnTo>
                        <a:pt x="234" y="48"/>
                      </a:lnTo>
                      <a:lnTo>
                        <a:pt x="234" y="90"/>
                      </a:lnTo>
                      <a:lnTo>
                        <a:pt x="228" y="96"/>
                      </a:lnTo>
                      <a:lnTo>
                        <a:pt x="222" y="108"/>
                      </a:lnTo>
                      <a:lnTo>
                        <a:pt x="216" y="114"/>
                      </a:lnTo>
                      <a:lnTo>
                        <a:pt x="210" y="126"/>
                      </a:lnTo>
                      <a:lnTo>
                        <a:pt x="210" y="174"/>
                      </a:lnTo>
                      <a:lnTo>
                        <a:pt x="180" y="174"/>
                      </a:lnTo>
                      <a:lnTo>
                        <a:pt x="174" y="180"/>
                      </a:lnTo>
                      <a:lnTo>
                        <a:pt x="168" y="192"/>
                      </a:lnTo>
                      <a:lnTo>
                        <a:pt x="162" y="198"/>
                      </a:lnTo>
                      <a:lnTo>
                        <a:pt x="162" y="234"/>
                      </a:lnTo>
                      <a:lnTo>
                        <a:pt x="156" y="240"/>
                      </a:lnTo>
                      <a:lnTo>
                        <a:pt x="144" y="240"/>
                      </a:lnTo>
                      <a:lnTo>
                        <a:pt x="138" y="246"/>
                      </a:lnTo>
                      <a:lnTo>
                        <a:pt x="138" y="270"/>
                      </a:lnTo>
                      <a:lnTo>
                        <a:pt x="126" y="288"/>
                      </a:lnTo>
                      <a:lnTo>
                        <a:pt x="126" y="294"/>
                      </a:lnTo>
                      <a:lnTo>
                        <a:pt x="132" y="300"/>
                      </a:lnTo>
                      <a:lnTo>
                        <a:pt x="132" y="336"/>
                      </a:lnTo>
                      <a:lnTo>
                        <a:pt x="126" y="342"/>
                      </a:lnTo>
                      <a:lnTo>
                        <a:pt x="114" y="342"/>
                      </a:lnTo>
                      <a:lnTo>
                        <a:pt x="108" y="336"/>
                      </a:lnTo>
                      <a:lnTo>
                        <a:pt x="108" y="324"/>
                      </a:lnTo>
                      <a:lnTo>
                        <a:pt x="102" y="324"/>
                      </a:lnTo>
                      <a:lnTo>
                        <a:pt x="84" y="342"/>
                      </a:lnTo>
                      <a:lnTo>
                        <a:pt x="84" y="360"/>
                      </a:lnTo>
                      <a:lnTo>
                        <a:pt x="90" y="372"/>
                      </a:lnTo>
                      <a:lnTo>
                        <a:pt x="90" y="390"/>
                      </a:lnTo>
                      <a:lnTo>
                        <a:pt x="84" y="396"/>
                      </a:lnTo>
                      <a:lnTo>
                        <a:pt x="72" y="402"/>
                      </a:lnTo>
                      <a:lnTo>
                        <a:pt x="66" y="414"/>
                      </a:lnTo>
                      <a:lnTo>
                        <a:pt x="66" y="426"/>
                      </a:lnTo>
                      <a:lnTo>
                        <a:pt x="72" y="438"/>
                      </a:lnTo>
                      <a:lnTo>
                        <a:pt x="72" y="450"/>
                      </a:lnTo>
                      <a:lnTo>
                        <a:pt x="78" y="456"/>
                      </a:lnTo>
                      <a:lnTo>
                        <a:pt x="78" y="492"/>
                      </a:lnTo>
                      <a:lnTo>
                        <a:pt x="72" y="504"/>
                      </a:lnTo>
                      <a:lnTo>
                        <a:pt x="72" y="516"/>
                      </a:lnTo>
                      <a:lnTo>
                        <a:pt x="66" y="522"/>
                      </a:lnTo>
                      <a:lnTo>
                        <a:pt x="54" y="522"/>
                      </a:lnTo>
                      <a:lnTo>
                        <a:pt x="48" y="528"/>
                      </a:lnTo>
                      <a:lnTo>
                        <a:pt x="42" y="522"/>
                      </a:lnTo>
                      <a:lnTo>
                        <a:pt x="6" y="522"/>
                      </a:lnTo>
                      <a:lnTo>
                        <a:pt x="12" y="546"/>
                      </a:lnTo>
                      <a:lnTo>
                        <a:pt x="6" y="552"/>
                      </a:lnTo>
                      <a:lnTo>
                        <a:pt x="0" y="564"/>
                      </a:lnTo>
                      <a:lnTo>
                        <a:pt x="0" y="576"/>
                      </a:lnTo>
                      <a:lnTo>
                        <a:pt x="6" y="576"/>
                      </a:lnTo>
                      <a:lnTo>
                        <a:pt x="18" y="582"/>
                      </a:lnTo>
                      <a:lnTo>
                        <a:pt x="42" y="582"/>
                      </a:lnTo>
                      <a:lnTo>
                        <a:pt x="48" y="588"/>
                      </a:lnTo>
                      <a:lnTo>
                        <a:pt x="60" y="594"/>
                      </a:lnTo>
                      <a:lnTo>
                        <a:pt x="66" y="606"/>
                      </a:lnTo>
                      <a:lnTo>
                        <a:pt x="78" y="612"/>
                      </a:lnTo>
                      <a:lnTo>
                        <a:pt x="78" y="630"/>
                      </a:lnTo>
                      <a:lnTo>
                        <a:pt x="84" y="6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7" name="Eritrea">
                  <a:extLst>
                    <a:ext uri="{FF2B5EF4-FFF2-40B4-BE49-F238E27FC236}">
                      <a16:creationId xmlns:a16="http://schemas.microsoft.com/office/drawing/2014/main" id="{CDE9FA33-02D5-43B7-8328-6163F01CA368}"/>
                    </a:ext>
                  </a:extLst>
                </p:cNvPr>
                <p:cNvSpPr>
                  <a:spLocks/>
                </p:cNvSpPr>
                <p:nvPr/>
              </p:nvSpPr>
              <p:spPr bwMode="gray">
                <a:xfrm>
                  <a:off x="5209045" y="2833621"/>
                  <a:ext cx="181479" cy="172540"/>
                </a:xfrm>
                <a:custGeom>
                  <a:avLst/>
                  <a:gdLst>
                    <a:gd name="T0" fmla="*/ 2147483647 w 480"/>
                    <a:gd name="T1" fmla="*/ 2147483647 h 456"/>
                    <a:gd name="T2" fmla="*/ 2147483647 w 480"/>
                    <a:gd name="T3" fmla="*/ 2147483647 h 456"/>
                    <a:gd name="T4" fmla="*/ 2147483647 w 480"/>
                    <a:gd name="T5" fmla="*/ 2147483647 h 456"/>
                    <a:gd name="T6" fmla="*/ 2147483647 w 480"/>
                    <a:gd name="T7" fmla="*/ 2147483647 h 456"/>
                    <a:gd name="T8" fmla="*/ 2147483647 w 480"/>
                    <a:gd name="T9" fmla="*/ 2147483647 h 456"/>
                    <a:gd name="T10" fmla="*/ 2147483647 w 480"/>
                    <a:gd name="T11" fmla="*/ 2147483647 h 456"/>
                    <a:gd name="T12" fmla="*/ 2147483647 w 480"/>
                    <a:gd name="T13" fmla="*/ 2147483647 h 456"/>
                    <a:gd name="T14" fmla="*/ 2147483647 w 480"/>
                    <a:gd name="T15" fmla="*/ 2147483647 h 456"/>
                    <a:gd name="T16" fmla="*/ 0 w 480"/>
                    <a:gd name="T17" fmla="*/ 2147483647 h 456"/>
                    <a:gd name="T18" fmla="*/ 2147483647 w 480"/>
                    <a:gd name="T19" fmla="*/ 2147483647 h 456"/>
                    <a:gd name="T20" fmla="*/ 2147483647 w 480"/>
                    <a:gd name="T21" fmla="*/ 2147483647 h 456"/>
                    <a:gd name="T22" fmla="*/ 2147483647 w 480"/>
                    <a:gd name="T23" fmla="*/ 2147483647 h 456"/>
                    <a:gd name="T24" fmla="*/ 2147483647 w 480"/>
                    <a:gd name="T25" fmla="*/ 2147483647 h 456"/>
                    <a:gd name="T26" fmla="*/ 2147483647 w 480"/>
                    <a:gd name="T27" fmla="*/ 2147483647 h 456"/>
                    <a:gd name="T28" fmla="*/ 2147483647 w 480"/>
                    <a:gd name="T29" fmla="*/ 2147483647 h 456"/>
                    <a:gd name="T30" fmla="*/ 2147483647 w 480"/>
                    <a:gd name="T31" fmla="*/ 2147483647 h 456"/>
                    <a:gd name="T32" fmla="*/ 2147483647 w 480"/>
                    <a:gd name="T33" fmla="*/ 2147483647 h 456"/>
                    <a:gd name="T34" fmla="*/ 2147483647 w 480"/>
                    <a:gd name="T35" fmla="*/ 2147483647 h 456"/>
                    <a:gd name="T36" fmla="*/ 2147483647 w 480"/>
                    <a:gd name="T37" fmla="*/ 2147483647 h 456"/>
                    <a:gd name="T38" fmla="*/ 2147483647 w 480"/>
                    <a:gd name="T39" fmla="*/ 2147483647 h 456"/>
                    <a:gd name="T40" fmla="*/ 2147483647 w 480"/>
                    <a:gd name="T41" fmla="*/ 2147483647 h 456"/>
                    <a:gd name="T42" fmla="*/ 2147483647 w 480"/>
                    <a:gd name="T43" fmla="*/ 2147483647 h 456"/>
                    <a:gd name="T44" fmla="*/ 2147483647 w 480"/>
                    <a:gd name="T45" fmla="*/ 2147483647 h 456"/>
                    <a:gd name="T46" fmla="*/ 2147483647 w 480"/>
                    <a:gd name="T47" fmla="*/ 2147483647 h 456"/>
                    <a:gd name="T48" fmla="*/ 2147483647 w 480"/>
                    <a:gd name="T49" fmla="*/ 2147483647 h 456"/>
                    <a:gd name="T50" fmla="*/ 2147483647 w 480"/>
                    <a:gd name="T51" fmla="*/ 2147483647 h 456"/>
                    <a:gd name="T52" fmla="*/ 2147483647 w 480"/>
                    <a:gd name="T53" fmla="*/ 2147483647 h 456"/>
                    <a:gd name="T54" fmla="*/ 2147483647 w 480"/>
                    <a:gd name="T55" fmla="*/ 2147483647 h 456"/>
                    <a:gd name="T56" fmla="*/ 2147483647 w 480"/>
                    <a:gd name="T57" fmla="*/ 2147483647 h 456"/>
                    <a:gd name="T58" fmla="*/ 2147483647 w 480"/>
                    <a:gd name="T59" fmla="*/ 2147483647 h 456"/>
                    <a:gd name="T60" fmla="*/ 2147483647 w 480"/>
                    <a:gd name="T61" fmla="*/ 2147483647 h 456"/>
                    <a:gd name="T62" fmla="*/ 2147483647 w 480"/>
                    <a:gd name="T63" fmla="*/ 2147483647 h 456"/>
                    <a:gd name="T64" fmla="*/ 2147483647 w 480"/>
                    <a:gd name="T65" fmla="*/ 2147483647 h 456"/>
                    <a:gd name="T66" fmla="*/ 2147483647 w 480"/>
                    <a:gd name="T67" fmla="*/ 2147483647 h 456"/>
                    <a:gd name="T68" fmla="*/ 2147483647 w 480"/>
                    <a:gd name="T69" fmla="*/ 2147483647 h 456"/>
                    <a:gd name="T70" fmla="*/ 2147483647 w 480"/>
                    <a:gd name="T71" fmla="*/ 2147483647 h 456"/>
                    <a:gd name="T72" fmla="*/ 2147483647 w 480"/>
                    <a:gd name="T73" fmla="*/ 2147483647 h 456"/>
                    <a:gd name="T74" fmla="*/ 2147483647 w 480"/>
                    <a:gd name="T75" fmla="*/ 2147483647 h 456"/>
                    <a:gd name="T76" fmla="*/ 2147483647 w 480"/>
                    <a:gd name="T77" fmla="*/ 2147483647 h 456"/>
                    <a:gd name="T78" fmla="*/ 2147483647 w 480"/>
                    <a:gd name="T79" fmla="*/ 2147483647 h 456"/>
                    <a:gd name="T80" fmla="*/ 2147483647 w 480"/>
                    <a:gd name="T81" fmla="*/ 2147483647 h 456"/>
                    <a:gd name="T82" fmla="*/ 2147483647 w 480"/>
                    <a:gd name="T83" fmla="*/ 2147483647 h 456"/>
                    <a:gd name="T84" fmla="*/ 2147483647 w 480"/>
                    <a:gd name="T85" fmla="*/ 2147483647 h 456"/>
                    <a:gd name="T86" fmla="*/ 2147483647 w 480"/>
                    <a:gd name="T87" fmla="*/ 2147483647 h 456"/>
                    <a:gd name="T88" fmla="*/ 2147483647 w 480"/>
                    <a:gd name="T89" fmla="*/ 2147483647 h 456"/>
                    <a:gd name="T90" fmla="*/ 2147483647 w 480"/>
                    <a:gd name="T91" fmla="*/ 2147483647 h 456"/>
                    <a:gd name="T92" fmla="*/ 2147483647 w 480"/>
                    <a:gd name="T93" fmla="*/ 2147483647 h 456"/>
                    <a:gd name="T94" fmla="*/ 2147483647 w 480"/>
                    <a:gd name="T95" fmla="*/ 2147483647 h 456"/>
                    <a:gd name="T96" fmla="*/ 2147483647 w 480"/>
                    <a:gd name="T97" fmla="*/ 0 h 456"/>
                    <a:gd name="T98" fmla="*/ 2147483647 w 480"/>
                    <a:gd name="T99" fmla="*/ 2147483647 h 456"/>
                    <a:gd name="T100" fmla="*/ 2147483647 w 480"/>
                    <a:gd name="T101" fmla="*/ 2147483647 h 456"/>
                    <a:gd name="T102" fmla="*/ 2147483647 w 480"/>
                    <a:gd name="T103" fmla="*/ 2147483647 h 4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0"/>
                    <a:gd name="T157" fmla="*/ 0 h 456"/>
                    <a:gd name="T158" fmla="*/ 480 w 480"/>
                    <a:gd name="T159" fmla="*/ 456 h 4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0" h="456">
                      <a:moveTo>
                        <a:pt x="78" y="54"/>
                      </a:moveTo>
                      <a:lnTo>
                        <a:pt x="78" y="66"/>
                      </a:lnTo>
                      <a:lnTo>
                        <a:pt x="72" y="72"/>
                      </a:lnTo>
                      <a:lnTo>
                        <a:pt x="72" y="78"/>
                      </a:lnTo>
                      <a:lnTo>
                        <a:pt x="66" y="84"/>
                      </a:lnTo>
                      <a:lnTo>
                        <a:pt x="48" y="84"/>
                      </a:lnTo>
                      <a:lnTo>
                        <a:pt x="48" y="102"/>
                      </a:lnTo>
                      <a:lnTo>
                        <a:pt x="42" y="108"/>
                      </a:lnTo>
                      <a:lnTo>
                        <a:pt x="30" y="108"/>
                      </a:lnTo>
                      <a:lnTo>
                        <a:pt x="30" y="120"/>
                      </a:lnTo>
                      <a:lnTo>
                        <a:pt x="36" y="126"/>
                      </a:lnTo>
                      <a:lnTo>
                        <a:pt x="36" y="168"/>
                      </a:lnTo>
                      <a:lnTo>
                        <a:pt x="30" y="180"/>
                      </a:lnTo>
                      <a:lnTo>
                        <a:pt x="24" y="186"/>
                      </a:lnTo>
                      <a:lnTo>
                        <a:pt x="18" y="186"/>
                      </a:lnTo>
                      <a:lnTo>
                        <a:pt x="18" y="222"/>
                      </a:lnTo>
                      <a:lnTo>
                        <a:pt x="12" y="222"/>
                      </a:lnTo>
                      <a:lnTo>
                        <a:pt x="0" y="228"/>
                      </a:lnTo>
                      <a:lnTo>
                        <a:pt x="0" y="246"/>
                      </a:lnTo>
                      <a:lnTo>
                        <a:pt x="6" y="252"/>
                      </a:lnTo>
                      <a:lnTo>
                        <a:pt x="12" y="300"/>
                      </a:lnTo>
                      <a:lnTo>
                        <a:pt x="48" y="300"/>
                      </a:lnTo>
                      <a:lnTo>
                        <a:pt x="54" y="294"/>
                      </a:lnTo>
                      <a:lnTo>
                        <a:pt x="54" y="288"/>
                      </a:lnTo>
                      <a:lnTo>
                        <a:pt x="60" y="288"/>
                      </a:lnTo>
                      <a:lnTo>
                        <a:pt x="66" y="294"/>
                      </a:lnTo>
                      <a:lnTo>
                        <a:pt x="66" y="300"/>
                      </a:lnTo>
                      <a:lnTo>
                        <a:pt x="84" y="318"/>
                      </a:lnTo>
                      <a:lnTo>
                        <a:pt x="96" y="306"/>
                      </a:lnTo>
                      <a:lnTo>
                        <a:pt x="96" y="294"/>
                      </a:lnTo>
                      <a:lnTo>
                        <a:pt x="102" y="276"/>
                      </a:lnTo>
                      <a:lnTo>
                        <a:pt x="108" y="264"/>
                      </a:lnTo>
                      <a:lnTo>
                        <a:pt x="108" y="252"/>
                      </a:lnTo>
                      <a:lnTo>
                        <a:pt x="120" y="258"/>
                      </a:lnTo>
                      <a:lnTo>
                        <a:pt x="132" y="270"/>
                      </a:lnTo>
                      <a:lnTo>
                        <a:pt x="138" y="270"/>
                      </a:lnTo>
                      <a:lnTo>
                        <a:pt x="144" y="276"/>
                      </a:lnTo>
                      <a:lnTo>
                        <a:pt x="150" y="288"/>
                      </a:lnTo>
                      <a:lnTo>
                        <a:pt x="180" y="288"/>
                      </a:lnTo>
                      <a:lnTo>
                        <a:pt x="186" y="276"/>
                      </a:lnTo>
                      <a:lnTo>
                        <a:pt x="192" y="270"/>
                      </a:lnTo>
                      <a:lnTo>
                        <a:pt x="198" y="276"/>
                      </a:lnTo>
                      <a:lnTo>
                        <a:pt x="198" y="288"/>
                      </a:lnTo>
                      <a:lnTo>
                        <a:pt x="210" y="288"/>
                      </a:lnTo>
                      <a:lnTo>
                        <a:pt x="222" y="282"/>
                      </a:lnTo>
                      <a:lnTo>
                        <a:pt x="240" y="282"/>
                      </a:lnTo>
                      <a:lnTo>
                        <a:pt x="246" y="288"/>
                      </a:lnTo>
                      <a:lnTo>
                        <a:pt x="276" y="288"/>
                      </a:lnTo>
                      <a:lnTo>
                        <a:pt x="294" y="312"/>
                      </a:lnTo>
                      <a:lnTo>
                        <a:pt x="306" y="312"/>
                      </a:lnTo>
                      <a:lnTo>
                        <a:pt x="312" y="318"/>
                      </a:lnTo>
                      <a:lnTo>
                        <a:pt x="324" y="324"/>
                      </a:lnTo>
                      <a:lnTo>
                        <a:pt x="348" y="360"/>
                      </a:lnTo>
                      <a:lnTo>
                        <a:pt x="354" y="366"/>
                      </a:lnTo>
                      <a:lnTo>
                        <a:pt x="378" y="378"/>
                      </a:lnTo>
                      <a:lnTo>
                        <a:pt x="390" y="390"/>
                      </a:lnTo>
                      <a:lnTo>
                        <a:pt x="390" y="414"/>
                      </a:lnTo>
                      <a:lnTo>
                        <a:pt x="396" y="420"/>
                      </a:lnTo>
                      <a:lnTo>
                        <a:pt x="408" y="426"/>
                      </a:lnTo>
                      <a:lnTo>
                        <a:pt x="420" y="426"/>
                      </a:lnTo>
                      <a:lnTo>
                        <a:pt x="432" y="444"/>
                      </a:lnTo>
                      <a:lnTo>
                        <a:pt x="456" y="456"/>
                      </a:lnTo>
                      <a:lnTo>
                        <a:pt x="468" y="438"/>
                      </a:lnTo>
                      <a:lnTo>
                        <a:pt x="480" y="432"/>
                      </a:lnTo>
                      <a:lnTo>
                        <a:pt x="474" y="420"/>
                      </a:lnTo>
                      <a:lnTo>
                        <a:pt x="456" y="402"/>
                      </a:lnTo>
                      <a:lnTo>
                        <a:pt x="432" y="402"/>
                      </a:lnTo>
                      <a:lnTo>
                        <a:pt x="426" y="396"/>
                      </a:lnTo>
                      <a:lnTo>
                        <a:pt x="426" y="360"/>
                      </a:lnTo>
                      <a:lnTo>
                        <a:pt x="420" y="360"/>
                      </a:lnTo>
                      <a:lnTo>
                        <a:pt x="414" y="354"/>
                      </a:lnTo>
                      <a:lnTo>
                        <a:pt x="366" y="330"/>
                      </a:lnTo>
                      <a:lnTo>
                        <a:pt x="360" y="324"/>
                      </a:lnTo>
                      <a:lnTo>
                        <a:pt x="360" y="312"/>
                      </a:lnTo>
                      <a:lnTo>
                        <a:pt x="354" y="300"/>
                      </a:lnTo>
                      <a:lnTo>
                        <a:pt x="354" y="288"/>
                      </a:lnTo>
                      <a:lnTo>
                        <a:pt x="348" y="276"/>
                      </a:lnTo>
                      <a:lnTo>
                        <a:pt x="348" y="270"/>
                      </a:lnTo>
                      <a:lnTo>
                        <a:pt x="336" y="270"/>
                      </a:lnTo>
                      <a:lnTo>
                        <a:pt x="324" y="264"/>
                      </a:lnTo>
                      <a:lnTo>
                        <a:pt x="306" y="264"/>
                      </a:lnTo>
                      <a:lnTo>
                        <a:pt x="282" y="240"/>
                      </a:lnTo>
                      <a:lnTo>
                        <a:pt x="264" y="246"/>
                      </a:lnTo>
                      <a:lnTo>
                        <a:pt x="252" y="228"/>
                      </a:lnTo>
                      <a:lnTo>
                        <a:pt x="234" y="222"/>
                      </a:lnTo>
                      <a:lnTo>
                        <a:pt x="216" y="204"/>
                      </a:lnTo>
                      <a:lnTo>
                        <a:pt x="210" y="192"/>
                      </a:lnTo>
                      <a:lnTo>
                        <a:pt x="204" y="186"/>
                      </a:lnTo>
                      <a:lnTo>
                        <a:pt x="198" y="174"/>
                      </a:lnTo>
                      <a:lnTo>
                        <a:pt x="198" y="114"/>
                      </a:lnTo>
                      <a:lnTo>
                        <a:pt x="192" y="90"/>
                      </a:lnTo>
                      <a:lnTo>
                        <a:pt x="186" y="78"/>
                      </a:lnTo>
                      <a:lnTo>
                        <a:pt x="180" y="60"/>
                      </a:lnTo>
                      <a:lnTo>
                        <a:pt x="168" y="42"/>
                      </a:lnTo>
                      <a:lnTo>
                        <a:pt x="162" y="24"/>
                      </a:lnTo>
                      <a:lnTo>
                        <a:pt x="156" y="12"/>
                      </a:lnTo>
                      <a:lnTo>
                        <a:pt x="150" y="6"/>
                      </a:lnTo>
                      <a:lnTo>
                        <a:pt x="150" y="0"/>
                      </a:lnTo>
                      <a:lnTo>
                        <a:pt x="144" y="0"/>
                      </a:lnTo>
                      <a:lnTo>
                        <a:pt x="144" y="12"/>
                      </a:lnTo>
                      <a:lnTo>
                        <a:pt x="132" y="36"/>
                      </a:lnTo>
                      <a:lnTo>
                        <a:pt x="108" y="48"/>
                      </a:lnTo>
                      <a:lnTo>
                        <a:pt x="90" y="54"/>
                      </a:lnTo>
                      <a:lnTo>
                        <a:pt x="78" y="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8" name="Equatorial Guinea">
                  <a:extLst>
                    <a:ext uri="{FF2B5EF4-FFF2-40B4-BE49-F238E27FC236}">
                      <a16:creationId xmlns:a16="http://schemas.microsoft.com/office/drawing/2014/main" id="{07575A0C-6BD5-461A-9AEA-0298E230390C}"/>
                    </a:ext>
                  </a:extLst>
                </p:cNvPr>
                <p:cNvSpPr>
                  <a:spLocks/>
                </p:cNvSpPr>
                <p:nvPr/>
              </p:nvSpPr>
              <p:spPr bwMode="gray">
                <a:xfrm>
                  <a:off x="4489081" y="3311082"/>
                  <a:ext cx="55039" cy="41648"/>
                </a:xfrm>
                <a:custGeom>
                  <a:avLst/>
                  <a:gdLst>
                    <a:gd name="T0" fmla="*/ 2147483647 w 144"/>
                    <a:gd name="T1" fmla="*/ 2147483647 h 108"/>
                    <a:gd name="T2" fmla="*/ 2147483647 w 144"/>
                    <a:gd name="T3" fmla="*/ 2147483647 h 108"/>
                    <a:gd name="T4" fmla="*/ 2147483647 w 144"/>
                    <a:gd name="T5" fmla="*/ 2147483647 h 108"/>
                    <a:gd name="T6" fmla="*/ 2147483647 w 144"/>
                    <a:gd name="T7" fmla="*/ 0 h 108"/>
                    <a:gd name="T8" fmla="*/ 2147483647 w 144"/>
                    <a:gd name="T9" fmla="*/ 2147483647 h 108"/>
                    <a:gd name="T10" fmla="*/ 2147483647 w 144"/>
                    <a:gd name="T11" fmla="*/ 2147483647 h 108"/>
                    <a:gd name="T12" fmla="*/ 2147483647 w 144"/>
                    <a:gd name="T13" fmla="*/ 2147483647 h 108"/>
                    <a:gd name="T14" fmla="*/ 2147483647 w 144"/>
                    <a:gd name="T15" fmla="*/ 2147483647 h 108"/>
                    <a:gd name="T16" fmla="*/ 2147483647 w 144"/>
                    <a:gd name="T17" fmla="*/ 2147483647 h 108"/>
                    <a:gd name="T18" fmla="*/ 0 w 144"/>
                    <a:gd name="T19" fmla="*/ 2147483647 h 108"/>
                    <a:gd name="T20" fmla="*/ 0 w 144"/>
                    <a:gd name="T21" fmla="*/ 2147483647 h 108"/>
                    <a:gd name="T22" fmla="*/ 2147483647 w 144"/>
                    <a:gd name="T23" fmla="*/ 2147483647 h 108"/>
                    <a:gd name="T24" fmla="*/ 2147483647 w 144"/>
                    <a:gd name="T25" fmla="*/ 2147483647 h 108"/>
                    <a:gd name="T26" fmla="*/ 2147483647 w 144"/>
                    <a:gd name="T27" fmla="*/ 2147483647 h 108"/>
                    <a:gd name="T28" fmla="*/ 2147483647 w 144"/>
                    <a:gd name="T29" fmla="*/ 2147483647 h 108"/>
                    <a:gd name="T30" fmla="*/ 2147483647 w 144"/>
                    <a:gd name="T31" fmla="*/ 2147483647 h 108"/>
                    <a:gd name="T32" fmla="*/ 2147483647 w 144"/>
                    <a:gd name="T33" fmla="*/ 2147483647 h 108"/>
                    <a:gd name="T34" fmla="*/ 2147483647 w 144"/>
                    <a:gd name="T35" fmla="*/ 2147483647 h 108"/>
                    <a:gd name="T36" fmla="*/ 2147483647 w 144"/>
                    <a:gd name="T37" fmla="*/ 2147483647 h 108"/>
                    <a:gd name="T38" fmla="*/ 2147483647 w 144"/>
                    <a:gd name="T39" fmla="*/ 2147483647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8"/>
                    <a:gd name="T62" fmla="*/ 144 w 144"/>
                    <a:gd name="T63" fmla="*/ 108 h 10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8">
                      <a:moveTo>
                        <a:pt x="138" y="48"/>
                      </a:moveTo>
                      <a:lnTo>
                        <a:pt x="144" y="12"/>
                      </a:lnTo>
                      <a:lnTo>
                        <a:pt x="48" y="12"/>
                      </a:lnTo>
                      <a:lnTo>
                        <a:pt x="36" y="0"/>
                      </a:lnTo>
                      <a:lnTo>
                        <a:pt x="30" y="6"/>
                      </a:lnTo>
                      <a:lnTo>
                        <a:pt x="30" y="42"/>
                      </a:lnTo>
                      <a:lnTo>
                        <a:pt x="18" y="54"/>
                      </a:lnTo>
                      <a:lnTo>
                        <a:pt x="12" y="66"/>
                      </a:lnTo>
                      <a:lnTo>
                        <a:pt x="6" y="72"/>
                      </a:lnTo>
                      <a:lnTo>
                        <a:pt x="0" y="84"/>
                      </a:lnTo>
                      <a:lnTo>
                        <a:pt x="0" y="90"/>
                      </a:lnTo>
                      <a:lnTo>
                        <a:pt x="6" y="96"/>
                      </a:lnTo>
                      <a:lnTo>
                        <a:pt x="18" y="102"/>
                      </a:lnTo>
                      <a:lnTo>
                        <a:pt x="36" y="102"/>
                      </a:lnTo>
                      <a:lnTo>
                        <a:pt x="36" y="108"/>
                      </a:lnTo>
                      <a:lnTo>
                        <a:pt x="138" y="108"/>
                      </a:lnTo>
                      <a:lnTo>
                        <a:pt x="138" y="102"/>
                      </a:lnTo>
                      <a:lnTo>
                        <a:pt x="144" y="84"/>
                      </a:lnTo>
                      <a:lnTo>
                        <a:pt x="144" y="54"/>
                      </a:lnTo>
                      <a:lnTo>
                        <a:pt x="138" y="4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9" name="Djibouti">
                  <a:extLst>
                    <a:ext uri="{FF2B5EF4-FFF2-40B4-BE49-F238E27FC236}">
                      <a16:creationId xmlns:a16="http://schemas.microsoft.com/office/drawing/2014/main" id="{723C3FEF-7C6A-44CF-B659-47F57EF7558E}"/>
                    </a:ext>
                  </a:extLst>
                </p:cNvPr>
                <p:cNvSpPr>
                  <a:spLocks/>
                </p:cNvSpPr>
                <p:nvPr/>
              </p:nvSpPr>
              <p:spPr bwMode="gray">
                <a:xfrm>
                  <a:off x="5353335" y="2997236"/>
                  <a:ext cx="44626" cy="52060"/>
                </a:xfrm>
                <a:custGeom>
                  <a:avLst/>
                  <a:gdLst>
                    <a:gd name="T0" fmla="*/ 2147483647 w 114"/>
                    <a:gd name="T1" fmla="*/ 2147483647 h 138"/>
                    <a:gd name="T2" fmla="*/ 2147483647 w 114"/>
                    <a:gd name="T3" fmla="*/ 2147483647 h 138"/>
                    <a:gd name="T4" fmla="*/ 2147483647 w 114"/>
                    <a:gd name="T5" fmla="*/ 2147483647 h 138"/>
                    <a:gd name="T6" fmla="*/ 0 w 114"/>
                    <a:gd name="T7" fmla="*/ 2147483647 h 138"/>
                    <a:gd name="T8" fmla="*/ 0 w 114"/>
                    <a:gd name="T9" fmla="*/ 2147483647 h 138"/>
                    <a:gd name="T10" fmla="*/ 2147483647 w 114"/>
                    <a:gd name="T11" fmla="*/ 2147483647 h 138"/>
                    <a:gd name="T12" fmla="*/ 2147483647 w 114"/>
                    <a:gd name="T13" fmla="*/ 2147483647 h 138"/>
                    <a:gd name="T14" fmla="*/ 2147483647 w 114"/>
                    <a:gd name="T15" fmla="*/ 2147483647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2147483647 w 114"/>
                    <a:gd name="T29" fmla="*/ 2147483647 h 138"/>
                    <a:gd name="T30" fmla="*/ 2147483647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0 h 138"/>
                    <a:gd name="T56" fmla="*/ 2147483647 w 114"/>
                    <a:gd name="T57" fmla="*/ 2147483647 h 138"/>
                    <a:gd name="T58" fmla="*/ 2147483647 w 11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4"/>
                    <a:gd name="T91" fmla="*/ 0 h 138"/>
                    <a:gd name="T92" fmla="*/ 114 w 11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4" h="138">
                      <a:moveTo>
                        <a:pt x="72" y="24"/>
                      </a:moveTo>
                      <a:lnTo>
                        <a:pt x="48" y="12"/>
                      </a:lnTo>
                      <a:lnTo>
                        <a:pt x="18" y="66"/>
                      </a:lnTo>
                      <a:lnTo>
                        <a:pt x="0" y="84"/>
                      </a:lnTo>
                      <a:lnTo>
                        <a:pt x="0" y="96"/>
                      </a:lnTo>
                      <a:lnTo>
                        <a:pt x="6" y="114"/>
                      </a:lnTo>
                      <a:lnTo>
                        <a:pt x="6" y="126"/>
                      </a:lnTo>
                      <a:lnTo>
                        <a:pt x="18" y="138"/>
                      </a:lnTo>
                      <a:lnTo>
                        <a:pt x="42" y="138"/>
                      </a:lnTo>
                      <a:lnTo>
                        <a:pt x="48" y="132"/>
                      </a:lnTo>
                      <a:lnTo>
                        <a:pt x="54" y="132"/>
                      </a:lnTo>
                      <a:lnTo>
                        <a:pt x="60" y="126"/>
                      </a:lnTo>
                      <a:lnTo>
                        <a:pt x="72" y="126"/>
                      </a:lnTo>
                      <a:lnTo>
                        <a:pt x="84" y="132"/>
                      </a:lnTo>
                      <a:lnTo>
                        <a:pt x="90" y="138"/>
                      </a:lnTo>
                      <a:lnTo>
                        <a:pt x="90" y="132"/>
                      </a:lnTo>
                      <a:lnTo>
                        <a:pt x="114" y="108"/>
                      </a:lnTo>
                      <a:lnTo>
                        <a:pt x="114" y="102"/>
                      </a:lnTo>
                      <a:lnTo>
                        <a:pt x="102" y="90"/>
                      </a:lnTo>
                      <a:lnTo>
                        <a:pt x="66" y="90"/>
                      </a:lnTo>
                      <a:lnTo>
                        <a:pt x="78" y="84"/>
                      </a:lnTo>
                      <a:lnTo>
                        <a:pt x="84" y="72"/>
                      </a:lnTo>
                      <a:lnTo>
                        <a:pt x="96" y="66"/>
                      </a:lnTo>
                      <a:lnTo>
                        <a:pt x="102" y="54"/>
                      </a:lnTo>
                      <a:lnTo>
                        <a:pt x="114" y="42"/>
                      </a:lnTo>
                      <a:lnTo>
                        <a:pt x="114" y="24"/>
                      </a:lnTo>
                      <a:lnTo>
                        <a:pt x="108" y="12"/>
                      </a:lnTo>
                      <a:lnTo>
                        <a:pt x="96" y="0"/>
                      </a:lnTo>
                      <a:lnTo>
                        <a:pt x="84" y="6"/>
                      </a:lnTo>
                      <a:lnTo>
                        <a:pt x="72" y="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0" name="Cyprus">
                  <a:extLst>
                    <a:ext uri="{FF2B5EF4-FFF2-40B4-BE49-F238E27FC236}">
                      <a16:creationId xmlns:a16="http://schemas.microsoft.com/office/drawing/2014/main" id="{FE1EC5F4-1B97-4641-BD20-9902A39D82A7}"/>
                    </a:ext>
                  </a:extLst>
                </p:cNvPr>
                <p:cNvSpPr>
                  <a:spLocks/>
                </p:cNvSpPr>
                <p:nvPr/>
              </p:nvSpPr>
              <p:spPr bwMode="gray">
                <a:xfrm>
                  <a:off x="5069217" y="2299638"/>
                  <a:ext cx="55039" cy="32723"/>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1" name="Congo">
                  <a:extLst>
                    <a:ext uri="{FF2B5EF4-FFF2-40B4-BE49-F238E27FC236}">
                      <a16:creationId xmlns:a16="http://schemas.microsoft.com/office/drawing/2014/main" id="{6056E03D-62D1-4155-AE55-541B0927FDFE}"/>
                    </a:ext>
                  </a:extLst>
                </p:cNvPr>
                <p:cNvSpPr>
                  <a:spLocks/>
                </p:cNvSpPr>
                <p:nvPr/>
              </p:nvSpPr>
              <p:spPr bwMode="gray">
                <a:xfrm>
                  <a:off x="4569408" y="3218862"/>
                  <a:ext cx="508734" cy="572656"/>
                </a:xfrm>
                <a:custGeom>
                  <a:avLst/>
                  <a:gdLst>
                    <a:gd name="T0" fmla="*/ 2147483647 w 1350"/>
                    <a:gd name="T1" fmla="*/ 2147483647 h 1518"/>
                    <a:gd name="T2" fmla="*/ 2147483647 w 1350"/>
                    <a:gd name="T3" fmla="*/ 2147483647 h 1518"/>
                    <a:gd name="T4" fmla="*/ 2147483647 w 1350"/>
                    <a:gd name="T5" fmla="*/ 2147483647 h 1518"/>
                    <a:gd name="T6" fmla="*/ 2147483647 w 1350"/>
                    <a:gd name="T7" fmla="*/ 2147483647 h 1518"/>
                    <a:gd name="T8" fmla="*/ 2147483647 w 1350"/>
                    <a:gd name="T9" fmla="*/ 2147483647 h 1518"/>
                    <a:gd name="T10" fmla="*/ 2147483647 w 1350"/>
                    <a:gd name="T11" fmla="*/ 2147483647 h 1518"/>
                    <a:gd name="T12" fmla="*/ 2147483647 w 1350"/>
                    <a:gd name="T13" fmla="*/ 2147483647 h 1518"/>
                    <a:gd name="T14" fmla="*/ 2147483647 w 1350"/>
                    <a:gd name="T15" fmla="*/ 2147483647 h 1518"/>
                    <a:gd name="T16" fmla="*/ 2147483647 w 1350"/>
                    <a:gd name="T17" fmla="*/ 2147483647 h 1518"/>
                    <a:gd name="T18" fmla="*/ 2147483647 w 1350"/>
                    <a:gd name="T19" fmla="*/ 2147483647 h 1518"/>
                    <a:gd name="T20" fmla="*/ 2147483647 w 1350"/>
                    <a:gd name="T21" fmla="*/ 2147483647 h 1518"/>
                    <a:gd name="T22" fmla="*/ 2147483647 w 1350"/>
                    <a:gd name="T23" fmla="*/ 2147483647 h 1518"/>
                    <a:gd name="T24" fmla="*/ 2147483647 w 1350"/>
                    <a:gd name="T25" fmla="*/ 2147483647 h 1518"/>
                    <a:gd name="T26" fmla="*/ 2147483647 w 1350"/>
                    <a:gd name="T27" fmla="*/ 2147483647 h 1518"/>
                    <a:gd name="T28" fmla="*/ 2147483647 w 1350"/>
                    <a:gd name="T29" fmla="*/ 2147483647 h 1518"/>
                    <a:gd name="T30" fmla="*/ 2147483647 w 1350"/>
                    <a:gd name="T31" fmla="*/ 2147483647 h 1518"/>
                    <a:gd name="T32" fmla="*/ 2147483647 w 1350"/>
                    <a:gd name="T33" fmla="*/ 2147483647 h 1518"/>
                    <a:gd name="T34" fmla="*/ 2147483647 w 1350"/>
                    <a:gd name="T35" fmla="*/ 2147483647 h 1518"/>
                    <a:gd name="T36" fmla="*/ 2147483647 w 1350"/>
                    <a:gd name="T37" fmla="*/ 2147483647 h 1518"/>
                    <a:gd name="T38" fmla="*/ 2147483647 w 1350"/>
                    <a:gd name="T39" fmla="*/ 2147483647 h 1518"/>
                    <a:gd name="T40" fmla="*/ 2147483647 w 1350"/>
                    <a:gd name="T41" fmla="*/ 2147483647 h 1518"/>
                    <a:gd name="T42" fmla="*/ 2147483647 w 1350"/>
                    <a:gd name="T43" fmla="*/ 2147483647 h 1518"/>
                    <a:gd name="T44" fmla="*/ 2147483647 w 1350"/>
                    <a:gd name="T45" fmla="*/ 2147483647 h 1518"/>
                    <a:gd name="T46" fmla="*/ 2147483647 w 1350"/>
                    <a:gd name="T47" fmla="*/ 2147483647 h 1518"/>
                    <a:gd name="T48" fmla="*/ 2147483647 w 1350"/>
                    <a:gd name="T49" fmla="*/ 2147483647 h 1518"/>
                    <a:gd name="T50" fmla="*/ 2147483647 w 1350"/>
                    <a:gd name="T51" fmla="*/ 2147483647 h 1518"/>
                    <a:gd name="T52" fmla="*/ 2147483647 w 1350"/>
                    <a:gd name="T53" fmla="*/ 2147483647 h 1518"/>
                    <a:gd name="T54" fmla="*/ 2147483647 w 1350"/>
                    <a:gd name="T55" fmla="*/ 2147483647 h 1518"/>
                    <a:gd name="T56" fmla="*/ 2147483647 w 1350"/>
                    <a:gd name="T57" fmla="*/ 2147483647 h 1518"/>
                    <a:gd name="T58" fmla="*/ 2147483647 w 1350"/>
                    <a:gd name="T59" fmla="*/ 2147483647 h 1518"/>
                    <a:gd name="T60" fmla="*/ 2147483647 w 1350"/>
                    <a:gd name="T61" fmla="*/ 2147483647 h 1518"/>
                    <a:gd name="T62" fmla="*/ 2147483647 w 1350"/>
                    <a:gd name="T63" fmla="*/ 2147483647 h 1518"/>
                    <a:gd name="T64" fmla="*/ 2147483647 w 1350"/>
                    <a:gd name="T65" fmla="*/ 2147483647 h 1518"/>
                    <a:gd name="T66" fmla="*/ 2147483647 w 1350"/>
                    <a:gd name="T67" fmla="*/ 2147483647 h 1518"/>
                    <a:gd name="T68" fmla="*/ 2147483647 w 1350"/>
                    <a:gd name="T69" fmla="*/ 2147483647 h 1518"/>
                    <a:gd name="T70" fmla="*/ 2147483647 w 1350"/>
                    <a:gd name="T71" fmla="*/ 2147483647 h 1518"/>
                    <a:gd name="T72" fmla="*/ 2147483647 w 1350"/>
                    <a:gd name="T73" fmla="*/ 2147483647 h 1518"/>
                    <a:gd name="T74" fmla="*/ 2147483647 w 1350"/>
                    <a:gd name="T75" fmla="*/ 2147483647 h 1518"/>
                    <a:gd name="T76" fmla="*/ 2147483647 w 1350"/>
                    <a:gd name="T77" fmla="*/ 2147483647 h 1518"/>
                    <a:gd name="T78" fmla="*/ 2147483647 w 1350"/>
                    <a:gd name="T79" fmla="*/ 2147483647 h 1518"/>
                    <a:gd name="T80" fmla="*/ 2147483647 w 1350"/>
                    <a:gd name="T81" fmla="*/ 2147483647 h 1518"/>
                    <a:gd name="T82" fmla="*/ 2147483647 w 1350"/>
                    <a:gd name="T83" fmla="*/ 2147483647 h 1518"/>
                    <a:gd name="T84" fmla="*/ 2147483647 w 1350"/>
                    <a:gd name="T85" fmla="*/ 2147483647 h 1518"/>
                    <a:gd name="T86" fmla="*/ 2147483647 w 1350"/>
                    <a:gd name="T87" fmla="*/ 2147483647 h 1518"/>
                    <a:gd name="T88" fmla="*/ 2147483647 w 1350"/>
                    <a:gd name="T89" fmla="*/ 2147483647 h 1518"/>
                    <a:gd name="T90" fmla="*/ 2147483647 w 1350"/>
                    <a:gd name="T91" fmla="*/ 2147483647 h 1518"/>
                    <a:gd name="T92" fmla="*/ 2147483647 w 1350"/>
                    <a:gd name="T93" fmla="*/ 2147483647 h 1518"/>
                    <a:gd name="T94" fmla="*/ 2147483647 w 1350"/>
                    <a:gd name="T95" fmla="*/ 2147483647 h 1518"/>
                    <a:gd name="T96" fmla="*/ 2147483647 w 1350"/>
                    <a:gd name="T97" fmla="*/ 2147483647 h 1518"/>
                    <a:gd name="T98" fmla="*/ 2147483647 w 1350"/>
                    <a:gd name="T99" fmla="*/ 2147483647 h 1518"/>
                    <a:gd name="T100" fmla="*/ 2147483647 w 1350"/>
                    <a:gd name="T101" fmla="*/ 2147483647 h 1518"/>
                    <a:gd name="T102" fmla="*/ 2147483647 w 1350"/>
                    <a:gd name="T103" fmla="*/ 2147483647 h 1518"/>
                    <a:gd name="T104" fmla="*/ 2147483647 w 1350"/>
                    <a:gd name="T105" fmla="*/ 2147483647 h 1518"/>
                    <a:gd name="T106" fmla="*/ 2147483647 w 1350"/>
                    <a:gd name="T107" fmla="*/ 2147483647 h 1518"/>
                    <a:gd name="T108" fmla="*/ 2147483647 w 1350"/>
                    <a:gd name="T109" fmla="*/ 2147483647 h 1518"/>
                    <a:gd name="T110" fmla="*/ 2147483647 w 1350"/>
                    <a:gd name="T111" fmla="*/ 2147483647 h 1518"/>
                    <a:gd name="T112" fmla="*/ 2147483647 w 1350"/>
                    <a:gd name="T113" fmla="*/ 2147483647 h 1518"/>
                    <a:gd name="T114" fmla="*/ 2147483647 w 1350"/>
                    <a:gd name="T115" fmla="*/ 2147483647 h 1518"/>
                    <a:gd name="T116" fmla="*/ 2147483647 w 1350"/>
                    <a:gd name="T117" fmla="*/ 2147483647 h 1518"/>
                    <a:gd name="T118" fmla="*/ 2147483647 w 1350"/>
                    <a:gd name="T119" fmla="*/ 2147483647 h 1518"/>
                    <a:gd name="T120" fmla="*/ 2147483647 w 1350"/>
                    <a:gd name="T121" fmla="*/ 2147483647 h 1518"/>
                    <a:gd name="T122" fmla="*/ 2147483647 w 1350"/>
                    <a:gd name="T123" fmla="*/ 2147483647 h 1518"/>
                    <a:gd name="T124" fmla="*/ 2147483647 w 1350"/>
                    <a:gd name="T125" fmla="*/ 2147483647 h 15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0"/>
                    <a:gd name="T190" fmla="*/ 0 h 1518"/>
                    <a:gd name="T191" fmla="*/ 1350 w 1350"/>
                    <a:gd name="T192" fmla="*/ 1518 h 151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0" h="1518">
                      <a:moveTo>
                        <a:pt x="1242" y="468"/>
                      </a:moveTo>
                      <a:lnTo>
                        <a:pt x="1242" y="438"/>
                      </a:lnTo>
                      <a:lnTo>
                        <a:pt x="1260" y="366"/>
                      </a:lnTo>
                      <a:lnTo>
                        <a:pt x="1278" y="354"/>
                      </a:lnTo>
                      <a:lnTo>
                        <a:pt x="1278" y="342"/>
                      </a:lnTo>
                      <a:lnTo>
                        <a:pt x="1302" y="330"/>
                      </a:lnTo>
                      <a:lnTo>
                        <a:pt x="1308" y="318"/>
                      </a:lnTo>
                      <a:lnTo>
                        <a:pt x="1320" y="312"/>
                      </a:lnTo>
                      <a:lnTo>
                        <a:pt x="1332" y="288"/>
                      </a:lnTo>
                      <a:lnTo>
                        <a:pt x="1344" y="276"/>
                      </a:lnTo>
                      <a:lnTo>
                        <a:pt x="1350" y="264"/>
                      </a:lnTo>
                      <a:lnTo>
                        <a:pt x="1350" y="252"/>
                      </a:lnTo>
                      <a:lnTo>
                        <a:pt x="1344" y="246"/>
                      </a:lnTo>
                      <a:lnTo>
                        <a:pt x="1332" y="240"/>
                      </a:lnTo>
                      <a:lnTo>
                        <a:pt x="1320" y="240"/>
                      </a:lnTo>
                      <a:lnTo>
                        <a:pt x="1314" y="234"/>
                      </a:lnTo>
                      <a:lnTo>
                        <a:pt x="1314" y="222"/>
                      </a:lnTo>
                      <a:lnTo>
                        <a:pt x="1320" y="210"/>
                      </a:lnTo>
                      <a:lnTo>
                        <a:pt x="1326" y="204"/>
                      </a:lnTo>
                      <a:lnTo>
                        <a:pt x="1326" y="198"/>
                      </a:lnTo>
                      <a:lnTo>
                        <a:pt x="1320" y="192"/>
                      </a:lnTo>
                      <a:lnTo>
                        <a:pt x="1308" y="186"/>
                      </a:lnTo>
                      <a:lnTo>
                        <a:pt x="1326" y="168"/>
                      </a:lnTo>
                      <a:lnTo>
                        <a:pt x="1320" y="144"/>
                      </a:lnTo>
                      <a:lnTo>
                        <a:pt x="1302" y="144"/>
                      </a:lnTo>
                      <a:lnTo>
                        <a:pt x="1296" y="120"/>
                      </a:lnTo>
                      <a:lnTo>
                        <a:pt x="1290" y="120"/>
                      </a:lnTo>
                      <a:lnTo>
                        <a:pt x="1284" y="114"/>
                      </a:lnTo>
                      <a:lnTo>
                        <a:pt x="1272" y="108"/>
                      </a:lnTo>
                      <a:lnTo>
                        <a:pt x="1260" y="96"/>
                      </a:lnTo>
                      <a:lnTo>
                        <a:pt x="1254" y="84"/>
                      </a:lnTo>
                      <a:lnTo>
                        <a:pt x="1248" y="66"/>
                      </a:lnTo>
                      <a:lnTo>
                        <a:pt x="1236" y="60"/>
                      </a:lnTo>
                      <a:lnTo>
                        <a:pt x="1230" y="54"/>
                      </a:lnTo>
                      <a:lnTo>
                        <a:pt x="1218" y="66"/>
                      </a:lnTo>
                      <a:lnTo>
                        <a:pt x="1218" y="72"/>
                      </a:lnTo>
                      <a:lnTo>
                        <a:pt x="1206" y="84"/>
                      </a:lnTo>
                      <a:lnTo>
                        <a:pt x="1200" y="84"/>
                      </a:lnTo>
                      <a:lnTo>
                        <a:pt x="1188" y="78"/>
                      </a:lnTo>
                      <a:lnTo>
                        <a:pt x="1188" y="72"/>
                      </a:lnTo>
                      <a:lnTo>
                        <a:pt x="1176" y="66"/>
                      </a:lnTo>
                      <a:lnTo>
                        <a:pt x="1164" y="66"/>
                      </a:lnTo>
                      <a:lnTo>
                        <a:pt x="1158" y="72"/>
                      </a:lnTo>
                      <a:lnTo>
                        <a:pt x="1152" y="84"/>
                      </a:lnTo>
                      <a:lnTo>
                        <a:pt x="1146" y="90"/>
                      </a:lnTo>
                      <a:lnTo>
                        <a:pt x="1098" y="66"/>
                      </a:lnTo>
                      <a:lnTo>
                        <a:pt x="1098" y="42"/>
                      </a:lnTo>
                      <a:lnTo>
                        <a:pt x="1068" y="18"/>
                      </a:lnTo>
                      <a:lnTo>
                        <a:pt x="1062" y="6"/>
                      </a:lnTo>
                      <a:lnTo>
                        <a:pt x="1044" y="24"/>
                      </a:lnTo>
                      <a:lnTo>
                        <a:pt x="1026" y="30"/>
                      </a:lnTo>
                      <a:lnTo>
                        <a:pt x="1002" y="30"/>
                      </a:lnTo>
                      <a:lnTo>
                        <a:pt x="990" y="18"/>
                      </a:lnTo>
                      <a:lnTo>
                        <a:pt x="990" y="12"/>
                      </a:lnTo>
                      <a:lnTo>
                        <a:pt x="954" y="18"/>
                      </a:lnTo>
                      <a:lnTo>
                        <a:pt x="942" y="6"/>
                      </a:lnTo>
                      <a:lnTo>
                        <a:pt x="942" y="0"/>
                      </a:lnTo>
                      <a:lnTo>
                        <a:pt x="936" y="0"/>
                      </a:lnTo>
                      <a:lnTo>
                        <a:pt x="918" y="18"/>
                      </a:lnTo>
                      <a:lnTo>
                        <a:pt x="918" y="30"/>
                      </a:lnTo>
                      <a:lnTo>
                        <a:pt x="906" y="30"/>
                      </a:lnTo>
                      <a:lnTo>
                        <a:pt x="900" y="36"/>
                      </a:lnTo>
                      <a:lnTo>
                        <a:pt x="876" y="36"/>
                      </a:lnTo>
                      <a:lnTo>
                        <a:pt x="864" y="24"/>
                      </a:lnTo>
                      <a:lnTo>
                        <a:pt x="840" y="42"/>
                      </a:lnTo>
                      <a:lnTo>
                        <a:pt x="822" y="42"/>
                      </a:lnTo>
                      <a:lnTo>
                        <a:pt x="810" y="54"/>
                      </a:lnTo>
                      <a:lnTo>
                        <a:pt x="798" y="60"/>
                      </a:lnTo>
                      <a:lnTo>
                        <a:pt x="792" y="66"/>
                      </a:lnTo>
                      <a:lnTo>
                        <a:pt x="786" y="66"/>
                      </a:lnTo>
                      <a:lnTo>
                        <a:pt x="762" y="42"/>
                      </a:lnTo>
                      <a:lnTo>
                        <a:pt x="756" y="54"/>
                      </a:lnTo>
                      <a:lnTo>
                        <a:pt x="738" y="72"/>
                      </a:lnTo>
                      <a:lnTo>
                        <a:pt x="738" y="84"/>
                      </a:lnTo>
                      <a:lnTo>
                        <a:pt x="732" y="90"/>
                      </a:lnTo>
                      <a:lnTo>
                        <a:pt x="726" y="102"/>
                      </a:lnTo>
                      <a:lnTo>
                        <a:pt x="720" y="108"/>
                      </a:lnTo>
                      <a:lnTo>
                        <a:pt x="708" y="102"/>
                      </a:lnTo>
                      <a:lnTo>
                        <a:pt x="702" y="96"/>
                      </a:lnTo>
                      <a:lnTo>
                        <a:pt x="690" y="90"/>
                      </a:lnTo>
                      <a:lnTo>
                        <a:pt x="642" y="90"/>
                      </a:lnTo>
                      <a:lnTo>
                        <a:pt x="630" y="84"/>
                      </a:lnTo>
                      <a:lnTo>
                        <a:pt x="624" y="78"/>
                      </a:lnTo>
                      <a:lnTo>
                        <a:pt x="582" y="78"/>
                      </a:lnTo>
                      <a:lnTo>
                        <a:pt x="582" y="48"/>
                      </a:lnTo>
                      <a:lnTo>
                        <a:pt x="576" y="42"/>
                      </a:lnTo>
                      <a:lnTo>
                        <a:pt x="558" y="42"/>
                      </a:lnTo>
                      <a:lnTo>
                        <a:pt x="558" y="30"/>
                      </a:lnTo>
                      <a:lnTo>
                        <a:pt x="546" y="24"/>
                      </a:lnTo>
                      <a:lnTo>
                        <a:pt x="534" y="24"/>
                      </a:lnTo>
                      <a:lnTo>
                        <a:pt x="516" y="18"/>
                      </a:lnTo>
                      <a:lnTo>
                        <a:pt x="504" y="18"/>
                      </a:lnTo>
                      <a:lnTo>
                        <a:pt x="492" y="24"/>
                      </a:lnTo>
                      <a:lnTo>
                        <a:pt x="486" y="30"/>
                      </a:lnTo>
                      <a:lnTo>
                        <a:pt x="486" y="36"/>
                      </a:lnTo>
                      <a:lnTo>
                        <a:pt x="480" y="48"/>
                      </a:lnTo>
                      <a:lnTo>
                        <a:pt x="480" y="54"/>
                      </a:lnTo>
                      <a:lnTo>
                        <a:pt x="474" y="66"/>
                      </a:lnTo>
                      <a:lnTo>
                        <a:pt x="462" y="78"/>
                      </a:lnTo>
                      <a:lnTo>
                        <a:pt x="456" y="78"/>
                      </a:lnTo>
                      <a:lnTo>
                        <a:pt x="444" y="90"/>
                      </a:lnTo>
                      <a:lnTo>
                        <a:pt x="444" y="102"/>
                      </a:lnTo>
                      <a:lnTo>
                        <a:pt x="450" y="102"/>
                      </a:lnTo>
                      <a:lnTo>
                        <a:pt x="450" y="120"/>
                      </a:lnTo>
                      <a:lnTo>
                        <a:pt x="438" y="138"/>
                      </a:lnTo>
                      <a:lnTo>
                        <a:pt x="450" y="150"/>
                      </a:lnTo>
                      <a:lnTo>
                        <a:pt x="450" y="186"/>
                      </a:lnTo>
                      <a:lnTo>
                        <a:pt x="444" y="198"/>
                      </a:lnTo>
                      <a:lnTo>
                        <a:pt x="438" y="216"/>
                      </a:lnTo>
                      <a:lnTo>
                        <a:pt x="426" y="228"/>
                      </a:lnTo>
                      <a:lnTo>
                        <a:pt x="414" y="252"/>
                      </a:lnTo>
                      <a:lnTo>
                        <a:pt x="408" y="258"/>
                      </a:lnTo>
                      <a:lnTo>
                        <a:pt x="408" y="288"/>
                      </a:lnTo>
                      <a:lnTo>
                        <a:pt x="414" y="300"/>
                      </a:lnTo>
                      <a:lnTo>
                        <a:pt x="414" y="324"/>
                      </a:lnTo>
                      <a:lnTo>
                        <a:pt x="396" y="360"/>
                      </a:lnTo>
                      <a:lnTo>
                        <a:pt x="396" y="372"/>
                      </a:lnTo>
                      <a:lnTo>
                        <a:pt x="402" y="378"/>
                      </a:lnTo>
                      <a:lnTo>
                        <a:pt x="408" y="390"/>
                      </a:lnTo>
                      <a:lnTo>
                        <a:pt x="408" y="414"/>
                      </a:lnTo>
                      <a:lnTo>
                        <a:pt x="402" y="426"/>
                      </a:lnTo>
                      <a:lnTo>
                        <a:pt x="390" y="432"/>
                      </a:lnTo>
                      <a:lnTo>
                        <a:pt x="390" y="486"/>
                      </a:lnTo>
                      <a:lnTo>
                        <a:pt x="384" y="492"/>
                      </a:lnTo>
                      <a:lnTo>
                        <a:pt x="372" y="498"/>
                      </a:lnTo>
                      <a:lnTo>
                        <a:pt x="366" y="510"/>
                      </a:lnTo>
                      <a:lnTo>
                        <a:pt x="318" y="534"/>
                      </a:lnTo>
                      <a:lnTo>
                        <a:pt x="312" y="540"/>
                      </a:lnTo>
                      <a:lnTo>
                        <a:pt x="306" y="552"/>
                      </a:lnTo>
                      <a:lnTo>
                        <a:pt x="306" y="588"/>
                      </a:lnTo>
                      <a:lnTo>
                        <a:pt x="282" y="612"/>
                      </a:lnTo>
                      <a:lnTo>
                        <a:pt x="276" y="612"/>
                      </a:lnTo>
                      <a:lnTo>
                        <a:pt x="282" y="714"/>
                      </a:lnTo>
                      <a:lnTo>
                        <a:pt x="252" y="756"/>
                      </a:lnTo>
                      <a:lnTo>
                        <a:pt x="246" y="762"/>
                      </a:lnTo>
                      <a:lnTo>
                        <a:pt x="228" y="762"/>
                      </a:lnTo>
                      <a:lnTo>
                        <a:pt x="216" y="774"/>
                      </a:lnTo>
                      <a:lnTo>
                        <a:pt x="210" y="786"/>
                      </a:lnTo>
                      <a:lnTo>
                        <a:pt x="192" y="804"/>
                      </a:lnTo>
                      <a:lnTo>
                        <a:pt x="186" y="816"/>
                      </a:lnTo>
                      <a:lnTo>
                        <a:pt x="180" y="822"/>
                      </a:lnTo>
                      <a:lnTo>
                        <a:pt x="168" y="828"/>
                      </a:lnTo>
                      <a:lnTo>
                        <a:pt x="150" y="828"/>
                      </a:lnTo>
                      <a:lnTo>
                        <a:pt x="144" y="822"/>
                      </a:lnTo>
                      <a:lnTo>
                        <a:pt x="150" y="810"/>
                      </a:lnTo>
                      <a:lnTo>
                        <a:pt x="150" y="780"/>
                      </a:lnTo>
                      <a:lnTo>
                        <a:pt x="144" y="780"/>
                      </a:lnTo>
                      <a:lnTo>
                        <a:pt x="126" y="798"/>
                      </a:lnTo>
                      <a:lnTo>
                        <a:pt x="102" y="792"/>
                      </a:lnTo>
                      <a:lnTo>
                        <a:pt x="102" y="810"/>
                      </a:lnTo>
                      <a:lnTo>
                        <a:pt x="96" y="822"/>
                      </a:lnTo>
                      <a:lnTo>
                        <a:pt x="90" y="828"/>
                      </a:lnTo>
                      <a:lnTo>
                        <a:pt x="78" y="828"/>
                      </a:lnTo>
                      <a:lnTo>
                        <a:pt x="72" y="822"/>
                      </a:lnTo>
                      <a:lnTo>
                        <a:pt x="72" y="816"/>
                      </a:lnTo>
                      <a:lnTo>
                        <a:pt x="66" y="810"/>
                      </a:lnTo>
                      <a:lnTo>
                        <a:pt x="66" y="804"/>
                      </a:lnTo>
                      <a:lnTo>
                        <a:pt x="54" y="804"/>
                      </a:lnTo>
                      <a:lnTo>
                        <a:pt x="48" y="816"/>
                      </a:lnTo>
                      <a:lnTo>
                        <a:pt x="12" y="846"/>
                      </a:lnTo>
                      <a:lnTo>
                        <a:pt x="18" y="858"/>
                      </a:lnTo>
                      <a:lnTo>
                        <a:pt x="18" y="864"/>
                      </a:lnTo>
                      <a:lnTo>
                        <a:pt x="24" y="876"/>
                      </a:lnTo>
                      <a:lnTo>
                        <a:pt x="24" y="882"/>
                      </a:lnTo>
                      <a:lnTo>
                        <a:pt x="18" y="888"/>
                      </a:lnTo>
                      <a:lnTo>
                        <a:pt x="6" y="894"/>
                      </a:lnTo>
                      <a:lnTo>
                        <a:pt x="0" y="900"/>
                      </a:lnTo>
                      <a:lnTo>
                        <a:pt x="6" y="906"/>
                      </a:lnTo>
                      <a:lnTo>
                        <a:pt x="6" y="912"/>
                      </a:lnTo>
                      <a:lnTo>
                        <a:pt x="18" y="918"/>
                      </a:lnTo>
                      <a:lnTo>
                        <a:pt x="18" y="924"/>
                      </a:lnTo>
                      <a:lnTo>
                        <a:pt x="54" y="906"/>
                      </a:lnTo>
                      <a:lnTo>
                        <a:pt x="78" y="912"/>
                      </a:lnTo>
                      <a:lnTo>
                        <a:pt x="84" y="906"/>
                      </a:lnTo>
                      <a:lnTo>
                        <a:pt x="96" y="912"/>
                      </a:lnTo>
                      <a:lnTo>
                        <a:pt x="120" y="906"/>
                      </a:lnTo>
                      <a:lnTo>
                        <a:pt x="132" y="912"/>
                      </a:lnTo>
                      <a:lnTo>
                        <a:pt x="162" y="912"/>
                      </a:lnTo>
                      <a:lnTo>
                        <a:pt x="174" y="906"/>
                      </a:lnTo>
                      <a:lnTo>
                        <a:pt x="186" y="906"/>
                      </a:lnTo>
                      <a:lnTo>
                        <a:pt x="198" y="912"/>
                      </a:lnTo>
                      <a:lnTo>
                        <a:pt x="228" y="912"/>
                      </a:lnTo>
                      <a:lnTo>
                        <a:pt x="246" y="906"/>
                      </a:lnTo>
                      <a:lnTo>
                        <a:pt x="270" y="906"/>
                      </a:lnTo>
                      <a:lnTo>
                        <a:pt x="276" y="900"/>
                      </a:lnTo>
                      <a:lnTo>
                        <a:pt x="294" y="900"/>
                      </a:lnTo>
                      <a:lnTo>
                        <a:pt x="300" y="906"/>
                      </a:lnTo>
                      <a:lnTo>
                        <a:pt x="306" y="918"/>
                      </a:lnTo>
                      <a:lnTo>
                        <a:pt x="318" y="930"/>
                      </a:lnTo>
                      <a:lnTo>
                        <a:pt x="318" y="972"/>
                      </a:lnTo>
                      <a:lnTo>
                        <a:pt x="336" y="990"/>
                      </a:lnTo>
                      <a:lnTo>
                        <a:pt x="336" y="1014"/>
                      </a:lnTo>
                      <a:lnTo>
                        <a:pt x="330" y="1020"/>
                      </a:lnTo>
                      <a:lnTo>
                        <a:pt x="330" y="1026"/>
                      </a:lnTo>
                      <a:lnTo>
                        <a:pt x="336" y="1032"/>
                      </a:lnTo>
                      <a:lnTo>
                        <a:pt x="342" y="1032"/>
                      </a:lnTo>
                      <a:lnTo>
                        <a:pt x="354" y="1044"/>
                      </a:lnTo>
                      <a:lnTo>
                        <a:pt x="354" y="1056"/>
                      </a:lnTo>
                      <a:lnTo>
                        <a:pt x="360" y="1062"/>
                      </a:lnTo>
                      <a:lnTo>
                        <a:pt x="372" y="1086"/>
                      </a:lnTo>
                      <a:lnTo>
                        <a:pt x="402" y="1086"/>
                      </a:lnTo>
                      <a:lnTo>
                        <a:pt x="414" y="1092"/>
                      </a:lnTo>
                      <a:lnTo>
                        <a:pt x="420" y="1080"/>
                      </a:lnTo>
                      <a:lnTo>
                        <a:pt x="444" y="1080"/>
                      </a:lnTo>
                      <a:lnTo>
                        <a:pt x="456" y="1074"/>
                      </a:lnTo>
                      <a:lnTo>
                        <a:pt x="462" y="1080"/>
                      </a:lnTo>
                      <a:lnTo>
                        <a:pt x="504" y="1074"/>
                      </a:lnTo>
                      <a:lnTo>
                        <a:pt x="504" y="1056"/>
                      </a:lnTo>
                      <a:lnTo>
                        <a:pt x="510" y="1050"/>
                      </a:lnTo>
                      <a:lnTo>
                        <a:pt x="510" y="1044"/>
                      </a:lnTo>
                      <a:lnTo>
                        <a:pt x="522" y="1044"/>
                      </a:lnTo>
                      <a:lnTo>
                        <a:pt x="522" y="1032"/>
                      </a:lnTo>
                      <a:lnTo>
                        <a:pt x="516" y="1020"/>
                      </a:lnTo>
                      <a:lnTo>
                        <a:pt x="510" y="1014"/>
                      </a:lnTo>
                      <a:lnTo>
                        <a:pt x="510" y="1008"/>
                      </a:lnTo>
                      <a:lnTo>
                        <a:pt x="516" y="1002"/>
                      </a:lnTo>
                      <a:lnTo>
                        <a:pt x="564" y="1002"/>
                      </a:lnTo>
                      <a:lnTo>
                        <a:pt x="564" y="996"/>
                      </a:lnTo>
                      <a:lnTo>
                        <a:pt x="576" y="996"/>
                      </a:lnTo>
                      <a:lnTo>
                        <a:pt x="588" y="1002"/>
                      </a:lnTo>
                      <a:lnTo>
                        <a:pt x="588" y="1026"/>
                      </a:lnTo>
                      <a:lnTo>
                        <a:pt x="678" y="1026"/>
                      </a:lnTo>
                      <a:lnTo>
                        <a:pt x="678" y="1050"/>
                      </a:lnTo>
                      <a:lnTo>
                        <a:pt x="666" y="1068"/>
                      </a:lnTo>
                      <a:lnTo>
                        <a:pt x="672" y="1086"/>
                      </a:lnTo>
                      <a:lnTo>
                        <a:pt x="684" y="1098"/>
                      </a:lnTo>
                      <a:lnTo>
                        <a:pt x="690" y="1110"/>
                      </a:lnTo>
                      <a:lnTo>
                        <a:pt x="690" y="1122"/>
                      </a:lnTo>
                      <a:lnTo>
                        <a:pt x="684" y="1134"/>
                      </a:lnTo>
                      <a:lnTo>
                        <a:pt x="678" y="1140"/>
                      </a:lnTo>
                      <a:lnTo>
                        <a:pt x="684" y="1164"/>
                      </a:lnTo>
                      <a:lnTo>
                        <a:pt x="684" y="1176"/>
                      </a:lnTo>
                      <a:lnTo>
                        <a:pt x="678" y="1182"/>
                      </a:lnTo>
                      <a:lnTo>
                        <a:pt x="678" y="1194"/>
                      </a:lnTo>
                      <a:lnTo>
                        <a:pt x="684" y="1212"/>
                      </a:lnTo>
                      <a:lnTo>
                        <a:pt x="696" y="1230"/>
                      </a:lnTo>
                      <a:lnTo>
                        <a:pt x="708" y="1254"/>
                      </a:lnTo>
                      <a:lnTo>
                        <a:pt x="714" y="1260"/>
                      </a:lnTo>
                      <a:lnTo>
                        <a:pt x="714" y="1278"/>
                      </a:lnTo>
                      <a:lnTo>
                        <a:pt x="708" y="1290"/>
                      </a:lnTo>
                      <a:lnTo>
                        <a:pt x="708" y="1302"/>
                      </a:lnTo>
                      <a:lnTo>
                        <a:pt x="702" y="1308"/>
                      </a:lnTo>
                      <a:lnTo>
                        <a:pt x="702" y="1332"/>
                      </a:lnTo>
                      <a:lnTo>
                        <a:pt x="708" y="1338"/>
                      </a:lnTo>
                      <a:lnTo>
                        <a:pt x="714" y="1338"/>
                      </a:lnTo>
                      <a:lnTo>
                        <a:pt x="720" y="1344"/>
                      </a:lnTo>
                      <a:lnTo>
                        <a:pt x="726" y="1326"/>
                      </a:lnTo>
                      <a:lnTo>
                        <a:pt x="756" y="1332"/>
                      </a:lnTo>
                      <a:lnTo>
                        <a:pt x="780" y="1326"/>
                      </a:lnTo>
                      <a:lnTo>
                        <a:pt x="780" y="1314"/>
                      </a:lnTo>
                      <a:lnTo>
                        <a:pt x="792" y="1314"/>
                      </a:lnTo>
                      <a:lnTo>
                        <a:pt x="804" y="1326"/>
                      </a:lnTo>
                      <a:lnTo>
                        <a:pt x="828" y="1326"/>
                      </a:lnTo>
                      <a:lnTo>
                        <a:pt x="834" y="1308"/>
                      </a:lnTo>
                      <a:lnTo>
                        <a:pt x="840" y="1320"/>
                      </a:lnTo>
                      <a:lnTo>
                        <a:pt x="858" y="1320"/>
                      </a:lnTo>
                      <a:lnTo>
                        <a:pt x="858" y="1350"/>
                      </a:lnTo>
                      <a:lnTo>
                        <a:pt x="864" y="1356"/>
                      </a:lnTo>
                      <a:lnTo>
                        <a:pt x="882" y="1356"/>
                      </a:lnTo>
                      <a:lnTo>
                        <a:pt x="882" y="1350"/>
                      </a:lnTo>
                      <a:lnTo>
                        <a:pt x="876" y="1344"/>
                      </a:lnTo>
                      <a:lnTo>
                        <a:pt x="918" y="1338"/>
                      </a:lnTo>
                      <a:lnTo>
                        <a:pt x="918" y="1356"/>
                      </a:lnTo>
                      <a:lnTo>
                        <a:pt x="924" y="1368"/>
                      </a:lnTo>
                      <a:lnTo>
                        <a:pt x="930" y="1374"/>
                      </a:lnTo>
                      <a:lnTo>
                        <a:pt x="948" y="1386"/>
                      </a:lnTo>
                      <a:lnTo>
                        <a:pt x="984" y="1392"/>
                      </a:lnTo>
                      <a:lnTo>
                        <a:pt x="1014" y="1398"/>
                      </a:lnTo>
                      <a:lnTo>
                        <a:pt x="1032" y="1398"/>
                      </a:lnTo>
                      <a:lnTo>
                        <a:pt x="1032" y="1392"/>
                      </a:lnTo>
                      <a:lnTo>
                        <a:pt x="1038" y="1386"/>
                      </a:lnTo>
                      <a:lnTo>
                        <a:pt x="1038" y="1368"/>
                      </a:lnTo>
                      <a:lnTo>
                        <a:pt x="1044" y="1362"/>
                      </a:lnTo>
                      <a:lnTo>
                        <a:pt x="1050" y="1362"/>
                      </a:lnTo>
                      <a:lnTo>
                        <a:pt x="1062" y="1374"/>
                      </a:lnTo>
                      <a:lnTo>
                        <a:pt x="1062" y="1386"/>
                      </a:lnTo>
                      <a:lnTo>
                        <a:pt x="1068" y="1392"/>
                      </a:lnTo>
                      <a:lnTo>
                        <a:pt x="1080" y="1392"/>
                      </a:lnTo>
                      <a:lnTo>
                        <a:pt x="1080" y="1404"/>
                      </a:lnTo>
                      <a:lnTo>
                        <a:pt x="1074" y="1404"/>
                      </a:lnTo>
                      <a:lnTo>
                        <a:pt x="1074" y="1416"/>
                      </a:lnTo>
                      <a:lnTo>
                        <a:pt x="1104" y="1416"/>
                      </a:lnTo>
                      <a:lnTo>
                        <a:pt x="1110" y="1422"/>
                      </a:lnTo>
                      <a:lnTo>
                        <a:pt x="1110" y="1434"/>
                      </a:lnTo>
                      <a:lnTo>
                        <a:pt x="1122" y="1434"/>
                      </a:lnTo>
                      <a:lnTo>
                        <a:pt x="1128" y="1428"/>
                      </a:lnTo>
                      <a:lnTo>
                        <a:pt x="1134" y="1428"/>
                      </a:lnTo>
                      <a:lnTo>
                        <a:pt x="1140" y="1434"/>
                      </a:lnTo>
                      <a:lnTo>
                        <a:pt x="1146" y="1446"/>
                      </a:lnTo>
                      <a:lnTo>
                        <a:pt x="1146" y="1452"/>
                      </a:lnTo>
                      <a:lnTo>
                        <a:pt x="1152" y="1464"/>
                      </a:lnTo>
                      <a:lnTo>
                        <a:pt x="1164" y="1464"/>
                      </a:lnTo>
                      <a:lnTo>
                        <a:pt x="1176" y="1476"/>
                      </a:lnTo>
                      <a:lnTo>
                        <a:pt x="1176" y="1488"/>
                      </a:lnTo>
                      <a:lnTo>
                        <a:pt x="1182" y="1500"/>
                      </a:lnTo>
                      <a:lnTo>
                        <a:pt x="1182" y="1512"/>
                      </a:lnTo>
                      <a:lnTo>
                        <a:pt x="1200" y="1512"/>
                      </a:lnTo>
                      <a:lnTo>
                        <a:pt x="1218" y="1500"/>
                      </a:lnTo>
                      <a:lnTo>
                        <a:pt x="1224" y="1512"/>
                      </a:lnTo>
                      <a:lnTo>
                        <a:pt x="1224" y="1518"/>
                      </a:lnTo>
                      <a:lnTo>
                        <a:pt x="1230" y="1518"/>
                      </a:lnTo>
                      <a:lnTo>
                        <a:pt x="1236" y="1500"/>
                      </a:lnTo>
                      <a:lnTo>
                        <a:pt x="1242" y="1464"/>
                      </a:lnTo>
                      <a:lnTo>
                        <a:pt x="1242" y="1416"/>
                      </a:lnTo>
                      <a:lnTo>
                        <a:pt x="1218" y="1416"/>
                      </a:lnTo>
                      <a:lnTo>
                        <a:pt x="1218" y="1434"/>
                      </a:lnTo>
                      <a:lnTo>
                        <a:pt x="1212" y="1440"/>
                      </a:lnTo>
                      <a:lnTo>
                        <a:pt x="1206" y="1440"/>
                      </a:lnTo>
                      <a:lnTo>
                        <a:pt x="1194" y="1434"/>
                      </a:lnTo>
                      <a:lnTo>
                        <a:pt x="1164" y="1404"/>
                      </a:lnTo>
                      <a:lnTo>
                        <a:pt x="1158" y="1404"/>
                      </a:lnTo>
                      <a:lnTo>
                        <a:pt x="1158" y="1398"/>
                      </a:lnTo>
                      <a:lnTo>
                        <a:pt x="1152" y="1398"/>
                      </a:lnTo>
                      <a:lnTo>
                        <a:pt x="1140" y="1386"/>
                      </a:lnTo>
                      <a:lnTo>
                        <a:pt x="1140" y="1362"/>
                      </a:lnTo>
                      <a:lnTo>
                        <a:pt x="1146" y="1350"/>
                      </a:lnTo>
                      <a:lnTo>
                        <a:pt x="1152" y="1332"/>
                      </a:lnTo>
                      <a:lnTo>
                        <a:pt x="1158" y="1320"/>
                      </a:lnTo>
                      <a:lnTo>
                        <a:pt x="1170" y="1308"/>
                      </a:lnTo>
                      <a:lnTo>
                        <a:pt x="1170" y="1254"/>
                      </a:lnTo>
                      <a:lnTo>
                        <a:pt x="1164" y="1236"/>
                      </a:lnTo>
                      <a:lnTo>
                        <a:pt x="1164" y="1212"/>
                      </a:lnTo>
                      <a:lnTo>
                        <a:pt x="1158" y="1206"/>
                      </a:lnTo>
                      <a:lnTo>
                        <a:pt x="1158" y="1200"/>
                      </a:lnTo>
                      <a:lnTo>
                        <a:pt x="1152" y="1194"/>
                      </a:lnTo>
                      <a:lnTo>
                        <a:pt x="1152" y="1188"/>
                      </a:lnTo>
                      <a:lnTo>
                        <a:pt x="1140" y="1176"/>
                      </a:lnTo>
                      <a:lnTo>
                        <a:pt x="1146" y="1176"/>
                      </a:lnTo>
                      <a:lnTo>
                        <a:pt x="1152" y="1170"/>
                      </a:lnTo>
                      <a:lnTo>
                        <a:pt x="1164" y="1164"/>
                      </a:lnTo>
                      <a:lnTo>
                        <a:pt x="1182" y="1146"/>
                      </a:lnTo>
                      <a:lnTo>
                        <a:pt x="1182" y="1116"/>
                      </a:lnTo>
                      <a:lnTo>
                        <a:pt x="1194" y="1116"/>
                      </a:lnTo>
                      <a:lnTo>
                        <a:pt x="1212" y="1110"/>
                      </a:lnTo>
                      <a:lnTo>
                        <a:pt x="1230" y="1110"/>
                      </a:lnTo>
                      <a:lnTo>
                        <a:pt x="1242" y="1104"/>
                      </a:lnTo>
                      <a:lnTo>
                        <a:pt x="1260" y="1104"/>
                      </a:lnTo>
                      <a:lnTo>
                        <a:pt x="1284" y="1092"/>
                      </a:lnTo>
                      <a:lnTo>
                        <a:pt x="1290" y="1092"/>
                      </a:lnTo>
                      <a:lnTo>
                        <a:pt x="1290" y="1086"/>
                      </a:lnTo>
                      <a:lnTo>
                        <a:pt x="1284" y="1074"/>
                      </a:lnTo>
                      <a:lnTo>
                        <a:pt x="1272" y="1062"/>
                      </a:lnTo>
                      <a:lnTo>
                        <a:pt x="1272" y="1014"/>
                      </a:lnTo>
                      <a:lnTo>
                        <a:pt x="1248" y="1014"/>
                      </a:lnTo>
                      <a:lnTo>
                        <a:pt x="1248" y="1008"/>
                      </a:lnTo>
                      <a:lnTo>
                        <a:pt x="1242" y="996"/>
                      </a:lnTo>
                      <a:lnTo>
                        <a:pt x="1242" y="978"/>
                      </a:lnTo>
                      <a:lnTo>
                        <a:pt x="1236" y="972"/>
                      </a:lnTo>
                      <a:lnTo>
                        <a:pt x="1224" y="966"/>
                      </a:lnTo>
                      <a:lnTo>
                        <a:pt x="1218" y="960"/>
                      </a:lnTo>
                      <a:lnTo>
                        <a:pt x="1206" y="936"/>
                      </a:lnTo>
                      <a:lnTo>
                        <a:pt x="1206" y="906"/>
                      </a:lnTo>
                      <a:lnTo>
                        <a:pt x="1212" y="900"/>
                      </a:lnTo>
                      <a:lnTo>
                        <a:pt x="1212" y="876"/>
                      </a:lnTo>
                      <a:lnTo>
                        <a:pt x="1200" y="864"/>
                      </a:lnTo>
                      <a:lnTo>
                        <a:pt x="1194" y="852"/>
                      </a:lnTo>
                      <a:lnTo>
                        <a:pt x="1194" y="804"/>
                      </a:lnTo>
                      <a:lnTo>
                        <a:pt x="1200" y="780"/>
                      </a:lnTo>
                      <a:lnTo>
                        <a:pt x="1200" y="750"/>
                      </a:lnTo>
                      <a:lnTo>
                        <a:pt x="1212" y="738"/>
                      </a:lnTo>
                      <a:lnTo>
                        <a:pt x="1218" y="744"/>
                      </a:lnTo>
                      <a:lnTo>
                        <a:pt x="1218" y="732"/>
                      </a:lnTo>
                      <a:lnTo>
                        <a:pt x="1224" y="726"/>
                      </a:lnTo>
                      <a:lnTo>
                        <a:pt x="1224" y="696"/>
                      </a:lnTo>
                      <a:lnTo>
                        <a:pt x="1218" y="690"/>
                      </a:lnTo>
                      <a:lnTo>
                        <a:pt x="1206" y="684"/>
                      </a:lnTo>
                      <a:lnTo>
                        <a:pt x="1200" y="678"/>
                      </a:lnTo>
                      <a:lnTo>
                        <a:pt x="1188" y="648"/>
                      </a:lnTo>
                      <a:lnTo>
                        <a:pt x="1182" y="642"/>
                      </a:lnTo>
                      <a:lnTo>
                        <a:pt x="1176" y="642"/>
                      </a:lnTo>
                      <a:lnTo>
                        <a:pt x="1176" y="636"/>
                      </a:lnTo>
                      <a:lnTo>
                        <a:pt x="1182" y="624"/>
                      </a:lnTo>
                      <a:lnTo>
                        <a:pt x="1194" y="618"/>
                      </a:lnTo>
                      <a:lnTo>
                        <a:pt x="1206" y="606"/>
                      </a:lnTo>
                      <a:lnTo>
                        <a:pt x="1206" y="594"/>
                      </a:lnTo>
                      <a:lnTo>
                        <a:pt x="1200" y="588"/>
                      </a:lnTo>
                      <a:lnTo>
                        <a:pt x="1194" y="576"/>
                      </a:lnTo>
                      <a:lnTo>
                        <a:pt x="1194" y="570"/>
                      </a:lnTo>
                      <a:lnTo>
                        <a:pt x="1200" y="564"/>
                      </a:lnTo>
                      <a:lnTo>
                        <a:pt x="1224" y="552"/>
                      </a:lnTo>
                      <a:lnTo>
                        <a:pt x="1230" y="546"/>
                      </a:lnTo>
                      <a:lnTo>
                        <a:pt x="1236" y="546"/>
                      </a:lnTo>
                      <a:lnTo>
                        <a:pt x="1242" y="46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2" name="Chad">
                  <a:extLst>
                    <a:ext uri="{FF2B5EF4-FFF2-40B4-BE49-F238E27FC236}">
                      <a16:creationId xmlns:a16="http://schemas.microsoft.com/office/drawing/2014/main" id="{353F124F-28B7-491D-B544-7C0FD12B4563}"/>
                    </a:ext>
                  </a:extLst>
                </p:cNvPr>
                <p:cNvSpPr>
                  <a:spLocks/>
                </p:cNvSpPr>
                <p:nvPr/>
              </p:nvSpPr>
              <p:spPr bwMode="gray">
                <a:xfrm>
                  <a:off x="4597672" y="2668517"/>
                  <a:ext cx="281143" cy="486386"/>
                </a:xfrm>
                <a:custGeom>
                  <a:avLst/>
                  <a:gdLst>
                    <a:gd name="T0" fmla="*/ 2147483647 w 744"/>
                    <a:gd name="T1" fmla="*/ 2147483647 h 1290"/>
                    <a:gd name="T2" fmla="*/ 2147483647 w 744"/>
                    <a:gd name="T3" fmla="*/ 0 h 1290"/>
                    <a:gd name="T4" fmla="*/ 2147483647 w 744"/>
                    <a:gd name="T5" fmla="*/ 2147483647 h 1290"/>
                    <a:gd name="T6" fmla="*/ 2147483647 w 744"/>
                    <a:gd name="T7" fmla="*/ 2147483647 h 1290"/>
                    <a:gd name="T8" fmla="*/ 2147483647 w 744"/>
                    <a:gd name="T9" fmla="*/ 2147483647 h 1290"/>
                    <a:gd name="T10" fmla="*/ 2147483647 w 744"/>
                    <a:gd name="T11" fmla="*/ 2147483647 h 1290"/>
                    <a:gd name="T12" fmla="*/ 2147483647 w 744"/>
                    <a:gd name="T13" fmla="*/ 2147483647 h 1290"/>
                    <a:gd name="T14" fmla="*/ 2147483647 w 744"/>
                    <a:gd name="T15" fmla="*/ 2147483647 h 1290"/>
                    <a:gd name="T16" fmla="*/ 2147483647 w 744"/>
                    <a:gd name="T17" fmla="*/ 2147483647 h 1290"/>
                    <a:gd name="T18" fmla="*/ 0 w 744"/>
                    <a:gd name="T19" fmla="*/ 2147483647 h 1290"/>
                    <a:gd name="T20" fmla="*/ 2147483647 w 744"/>
                    <a:gd name="T21" fmla="*/ 2147483647 h 1290"/>
                    <a:gd name="T22" fmla="*/ 2147483647 w 744"/>
                    <a:gd name="T23" fmla="*/ 2147483647 h 1290"/>
                    <a:gd name="T24" fmla="*/ 2147483647 w 744"/>
                    <a:gd name="T25" fmla="*/ 2147483647 h 1290"/>
                    <a:gd name="T26" fmla="*/ 2147483647 w 744"/>
                    <a:gd name="T27" fmla="*/ 2147483647 h 1290"/>
                    <a:gd name="T28" fmla="*/ 2147483647 w 744"/>
                    <a:gd name="T29" fmla="*/ 2147483647 h 1290"/>
                    <a:gd name="T30" fmla="*/ 2147483647 w 744"/>
                    <a:gd name="T31" fmla="*/ 2147483647 h 1290"/>
                    <a:gd name="T32" fmla="*/ 2147483647 w 744"/>
                    <a:gd name="T33" fmla="*/ 2147483647 h 1290"/>
                    <a:gd name="T34" fmla="*/ 2147483647 w 744"/>
                    <a:gd name="T35" fmla="*/ 2147483647 h 1290"/>
                    <a:gd name="T36" fmla="*/ 2147483647 w 744"/>
                    <a:gd name="T37" fmla="*/ 2147483647 h 1290"/>
                    <a:gd name="T38" fmla="*/ 2147483647 w 744"/>
                    <a:gd name="T39" fmla="*/ 2147483647 h 1290"/>
                    <a:gd name="T40" fmla="*/ 2147483647 w 744"/>
                    <a:gd name="T41" fmla="*/ 2147483647 h 1290"/>
                    <a:gd name="T42" fmla="*/ 2147483647 w 744"/>
                    <a:gd name="T43" fmla="*/ 2147483647 h 1290"/>
                    <a:gd name="T44" fmla="*/ 2147483647 w 744"/>
                    <a:gd name="T45" fmla="*/ 2147483647 h 1290"/>
                    <a:gd name="T46" fmla="*/ 2147483647 w 744"/>
                    <a:gd name="T47" fmla="*/ 2147483647 h 1290"/>
                    <a:gd name="T48" fmla="*/ 2147483647 w 744"/>
                    <a:gd name="T49" fmla="*/ 2147483647 h 1290"/>
                    <a:gd name="T50" fmla="*/ 2147483647 w 744"/>
                    <a:gd name="T51" fmla="*/ 2147483647 h 1290"/>
                    <a:gd name="T52" fmla="*/ 2147483647 w 744"/>
                    <a:gd name="T53" fmla="*/ 2147483647 h 1290"/>
                    <a:gd name="T54" fmla="*/ 2147483647 w 744"/>
                    <a:gd name="T55" fmla="*/ 2147483647 h 1290"/>
                    <a:gd name="T56" fmla="*/ 2147483647 w 744"/>
                    <a:gd name="T57" fmla="*/ 2147483647 h 1290"/>
                    <a:gd name="T58" fmla="*/ 2147483647 w 744"/>
                    <a:gd name="T59" fmla="*/ 2147483647 h 1290"/>
                    <a:gd name="T60" fmla="*/ 2147483647 w 744"/>
                    <a:gd name="T61" fmla="*/ 2147483647 h 1290"/>
                    <a:gd name="T62" fmla="*/ 2147483647 w 744"/>
                    <a:gd name="T63" fmla="*/ 2147483647 h 1290"/>
                    <a:gd name="T64" fmla="*/ 2147483647 w 744"/>
                    <a:gd name="T65" fmla="*/ 2147483647 h 1290"/>
                    <a:gd name="T66" fmla="*/ 2147483647 w 744"/>
                    <a:gd name="T67" fmla="*/ 2147483647 h 1290"/>
                    <a:gd name="T68" fmla="*/ 2147483647 w 744"/>
                    <a:gd name="T69" fmla="*/ 2147483647 h 1290"/>
                    <a:gd name="T70" fmla="*/ 2147483647 w 744"/>
                    <a:gd name="T71" fmla="*/ 2147483647 h 1290"/>
                    <a:gd name="T72" fmla="*/ 2147483647 w 744"/>
                    <a:gd name="T73" fmla="*/ 2147483647 h 1290"/>
                    <a:gd name="T74" fmla="*/ 2147483647 w 744"/>
                    <a:gd name="T75" fmla="*/ 2147483647 h 1290"/>
                    <a:gd name="T76" fmla="*/ 2147483647 w 744"/>
                    <a:gd name="T77" fmla="*/ 2147483647 h 1290"/>
                    <a:gd name="T78" fmla="*/ 2147483647 w 744"/>
                    <a:gd name="T79" fmla="*/ 2147483647 h 1290"/>
                    <a:gd name="T80" fmla="*/ 2147483647 w 744"/>
                    <a:gd name="T81" fmla="*/ 2147483647 h 1290"/>
                    <a:gd name="T82" fmla="*/ 2147483647 w 744"/>
                    <a:gd name="T83" fmla="*/ 2147483647 h 1290"/>
                    <a:gd name="T84" fmla="*/ 2147483647 w 744"/>
                    <a:gd name="T85" fmla="*/ 2147483647 h 1290"/>
                    <a:gd name="T86" fmla="*/ 2147483647 w 744"/>
                    <a:gd name="T87" fmla="*/ 2147483647 h 1290"/>
                    <a:gd name="T88" fmla="*/ 2147483647 w 744"/>
                    <a:gd name="T89" fmla="*/ 2147483647 h 1290"/>
                    <a:gd name="T90" fmla="*/ 2147483647 w 744"/>
                    <a:gd name="T91" fmla="*/ 2147483647 h 1290"/>
                    <a:gd name="T92" fmla="*/ 2147483647 w 744"/>
                    <a:gd name="T93" fmla="*/ 2147483647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44"/>
                    <a:gd name="T142" fmla="*/ 0 h 1290"/>
                    <a:gd name="T143" fmla="*/ 744 w 744"/>
                    <a:gd name="T144" fmla="*/ 1290 h 1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44" h="1290">
                      <a:moveTo>
                        <a:pt x="678" y="624"/>
                      </a:moveTo>
                      <a:lnTo>
                        <a:pt x="720" y="624"/>
                      </a:lnTo>
                      <a:lnTo>
                        <a:pt x="732" y="630"/>
                      </a:lnTo>
                      <a:lnTo>
                        <a:pt x="744" y="630"/>
                      </a:lnTo>
                      <a:lnTo>
                        <a:pt x="738" y="324"/>
                      </a:lnTo>
                      <a:lnTo>
                        <a:pt x="180" y="0"/>
                      </a:lnTo>
                      <a:lnTo>
                        <a:pt x="156" y="12"/>
                      </a:lnTo>
                      <a:lnTo>
                        <a:pt x="144" y="24"/>
                      </a:lnTo>
                      <a:lnTo>
                        <a:pt x="126" y="30"/>
                      </a:lnTo>
                      <a:lnTo>
                        <a:pt x="108" y="42"/>
                      </a:lnTo>
                      <a:lnTo>
                        <a:pt x="126" y="108"/>
                      </a:lnTo>
                      <a:lnTo>
                        <a:pt x="114" y="156"/>
                      </a:lnTo>
                      <a:lnTo>
                        <a:pt x="144" y="192"/>
                      </a:lnTo>
                      <a:lnTo>
                        <a:pt x="150" y="216"/>
                      </a:lnTo>
                      <a:lnTo>
                        <a:pt x="180" y="252"/>
                      </a:lnTo>
                      <a:lnTo>
                        <a:pt x="162" y="288"/>
                      </a:lnTo>
                      <a:lnTo>
                        <a:pt x="144" y="534"/>
                      </a:lnTo>
                      <a:lnTo>
                        <a:pt x="138" y="540"/>
                      </a:lnTo>
                      <a:lnTo>
                        <a:pt x="120" y="564"/>
                      </a:lnTo>
                      <a:lnTo>
                        <a:pt x="96" y="588"/>
                      </a:lnTo>
                      <a:lnTo>
                        <a:pt x="72" y="618"/>
                      </a:lnTo>
                      <a:lnTo>
                        <a:pt x="54" y="636"/>
                      </a:lnTo>
                      <a:lnTo>
                        <a:pt x="48" y="648"/>
                      </a:lnTo>
                      <a:lnTo>
                        <a:pt x="36" y="666"/>
                      </a:lnTo>
                      <a:lnTo>
                        <a:pt x="30" y="678"/>
                      </a:lnTo>
                      <a:lnTo>
                        <a:pt x="24" y="696"/>
                      </a:lnTo>
                      <a:lnTo>
                        <a:pt x="24" y="708"/>
                      </a:lnTo>
                      <a:lnTo>
                        <a:pt x="18" y="714"/>
                      </a:lnTo>
                      <a:lnTo>
                        <a:pt x="18" y="720"/>
                      </a:lnTo>
                      <a:lnTo>
                        <a:pt x="0" y="726"/>
                      </a:lnTo>
                      <a:lnTo>
                        <a:pt x="6" y="786"/>
                      </a:lnTo>
                      <a:lnTo>
                        <a:pt x="18" y="786"/>
                      </a:lnTo>
                      <a:lnTo>
                        <a:pt x="48" y="834"/>
                      </a:lnTo>
                      <a:lnTo>
                        <a:pt x="48" y="846"/>
                      </a:lnTo>
                      <a:lnTo>
                        <a:pt x="48" y="840"/>
                      </a:lnTo>
                      <a:lnTo>
                        <a:pt x="72" y="834"/>
                      </a:lnTo>
                      <a:lnTo>
                        <a:pt x="72" y="852"/>
                      </a:lnTo>
                      <a:lnTo>
                        <a:pt x="78" y="864"/>
                      </a:lnTo>
                      <a:lnTo>
                        <a:pt x="84" y="870"/>
                      </a:lnTo>
                      <a:lnTo>
                        <a:pt x="96" y="870"/>
                      </a:lnTo>
                      <a:lnTo>
                        <a:pt x="102" y="876"/>
                      </a:lnTo>
                      <a:lnTo>
                        <a:pt x="108" y="876"/>
                      </a:lnTo>
                      <a:lnTo>
                        <a:pt x="102" y="912"/>
                      </a:lnTo>
                      <a:lnTo>
                        <a:pt x="114" y="918"/>
                      </a:lnTo>
                      <a:lnTo>
                        <a:pt x="120" y="930"/>
                      </a:lnTo>
                      <a:lnTo>
                        <a:pt x="120" y="966"/>
                      </a:lnTo>
                      <a:lnTo>
                        <a:pt x="114" y="966"/>
                      </a:lnTo>
                      <a:lnTo>
                        <a:pt x="114" y="1002"/>
                      </a:lnTo>
                      <a:lnTo>
                        <a:pt x="120" y="1020"/>
                      </a:lnTo>
                      <a:lnTo>
                        <a:pt x="120" y="1038"/>
                      </a:lnTo>
                      <a:lnTo>
                        <a:pt x="126" y="1050"/>
                      </a:lnTo>
                      <a:lnTo>
                        <a:pt x="138" y="1056"/>
                      </a:lnTo>
                      <a:lnTo>
                        <a:pt x="144" y="1068"/>
                      </a:lnTo>
                      <a:lnTo>
                        <a:pt x="162" y="1086"/>
                      </a:lnTo>
                      <a:lnTo>
                        <a:pt x="66" y="1086"/>
                      </a:lnTo>
                      <a:lnTo>
                        <a:pt x="54" y="1092"/>
                      </a:lnTo>
                      <a:lnTo>
                        <a:pt x="48" y="1098"/>
                      </a:lnTo>
                      <a:lnTo>
                        <a:pt x="48" y="1110"/>
                      </a:lnTo>
                      <a:lnTo>
                        <a:pt x="60" y="1134"/>
                      </a:lnTo>
                      <a:lnTo>
                        <a:pt x="72" y="1146"/>
                      </a:lnTo>
                      <a:lnTo>
                        <a:pt x="78" y="1158"/>
                      </a:lnTo>
                      <a:lnTo>
                        <a:pt x="90" y="1170"/>
                      </a:lnTo>
                      <a:lnTo>
                        <a:pt x="108" y="1182"/>
                      </a:lnTo>
                      <a:lnTo>
                        <a:pt x="120" y="1188"/>
                      </a:lnTo>
                      <a:lnTo>
                        <a:pt x="132" y="1200"/>
                      </a:lnTo>
                      <a:lnTo>
                        <a:pt x="144" y="1224"/>
                      </a:lnTo>
                      <a:lnTo>
                        <a:pt x="144" y="1242"/>
                      </a:lnTo>
                      <a:lnTo>
                        <a:pt x="150" y="1254"/>
                      </a:lnTo>
                      <a:lnTo>
                        <a:pt x="156" y="1272"/>
                      </a:lnTo>
                      <a:lnTo>
                        <a:pt x="156" y="1284"/>
                      </a:lnTo>
                      <a:lnTo>
                        <a:pt x="162" y="1284"/>
                      </a:lnTo>
                      <a:lnTo>
                        <a:pt x="168" y="1290"/>
                      </a:lnTo>
                      <a:lnTo>
                        <a:pt x="186" y="1290"/>
                      </a:lnTo>
                      <a:lnTo>
                        <a:pt x="198" y="1284"/>
                      </a:lnTo>
                      <a:lnTo>
                        <a:pt x="216" y="1266"/>
                      </a:lnTo>
                      <a:lnTo>
                        <a:pt x="228" y="1260"/>
                      </a:lnTo>
                      <a:lnTo>
                        <a:pt x="234" y="1254"/>
                      </a:lnTo>
                      <a:lnTo>
                        <a:pt x="234" y="1278"/>
                      </a:lnTo>
                      <a:lnTo>
                        <a:pt x="240" y="1284"/>
                      </a:lnTo>
                      <a:lnTo>
                        <a:pt x="246" y="1284"/>
                      </a:lnTo>
                      <a:lnTo>
                        <a:pt x="258" y="1278"/>
                      </a:lnTo>
                      <a:lnTo>
                        <a:pt x="270" y="1266"/>
                      </a:lnTo>
                      <a:lnTo>
                        <a:pt x="276" y="1254"/>
                      </a:lnTo>
                      <a:lnTo>
                        <a:pt x="282" y="1248"/>
                      </a:lnTo>
                      <a:lnTo>
                        <a:pt x="372" y="1248"/>
                      </a:lnTo>
                      <a:lnTo>
                        <a:pt x="378" y="1242"/>
                      </a:lnTo>
                      <a:lnTo>
                        <a:pt x="384" y="1230"/>
                      </a:lnTo>
                      <a:lnTo>
                        <a:pt x="390" y="1224"/>
                      </a:lnTo>
                      <a:lnTo>
                        <a:pt x="396" y="1212"/>
                      </a:lnTo>
                      <a:lnTo>
                        <a:pt x="402" y="1206"/>
                      </a:lnTo>
                      <a:lnTo>
                        <a:pt x="402" y="1194"/>
                      </a:lnTo>
                      <a:lnTo>
                        <a:pt x="390" y="1182"/>
                      </a:lnTo>
                      <a:lnTo>
                        <a:pt x="384" y="1182"/>
                      </a:lnTo>
                      <a:lnTo>
                        <a:pt x="402" y="1170"/>
                      </a:lnTo>
                      <a:lnTo>
                        <a:pt x="420" y="1170"/>
                      </a:lnTo>
                      <a:lnTo>
                        <a:pt x="462" y="1164"/>
                      </a:lnTo>
                      <a:lnTo>
                        <a:pt x="510" y="1146"/>
                      </a:lnTo>
                      <a:lnTo>
                        <a:pt x="528" y="1134"/>
                      </a:lnTo>
                      <a:lnTo>
                        <a:pt x="552" y="1110"/>
                      </a:lnTo>
                      <a:lnTo>
                        <a:pt x="552" y="1092"/>
                      </a:lnTo>
                      <a:lnTo>
                        <a:pt x="588" y="1068"/>
                      </a:lnTo>
                      <a:lnTo>
                        <a:pt x="594" y="1038"/>
                      </a:lnTo>
                      <a:lnTo>
                        <a:pt x="648" y="1008"/>
                      </a:lnTo>
                      <a:lnTo>
                        <a:pt x="672" y="1008"/>
                      </a:lnTo>
                      <a:lnTo>
                        <a:pt x="672" y="996"/>
                      </a:lnTo>
                      <a:lnTo>
                        <a:pt x="684" y="996"/>
                      </a:lnTo>
                      <a:lnTo>
                        <a:pt x="684" y="990"/>
                      </a:lnTo>
                      <a:lnTo>
                        <a:pt x="678" y="984"/>
                      </a:lnTo>
                      <a:lnTo>
                        <a:pt x="666" y="966"/>
                      </a:lnTo>
                      <a:lnTo>
                        <a:pt x="654" y="960"/>
                      </a:lnTo>
                      <a:lnTo>
                        <a:pt x="648" y="960"/>
                      </a:lnTo>
                      <a:lnTo>
                        <a:pt x="642" y="936"/>
                      </a:lnTo>
                      <a:lnTo>
                        <a:pt x="660" y="930"/>
                      </a:lnTo>
                      <a:lnTo>
                        <a:pt x="642" y="918"/>
                      </a:lnTo>
                      <a:lnTo>
                        <a:pt x="642" y="876"/>
                      </a:lnTo>
                      <a:lnTo>
                        <a:pt x="636" y="870"/>
                      </a:lnTo>
                      <a:lnTo>
                        <a:pt x="624" y="870"/>
                      </a:lnTo>
                      <a:lnTo>
                        <a:pt x="618" y="876"/>
                      </a:lnTo>
                      <a:lnTo>
                        <a:pt x="606" y="876"/>
                      </a:lnTo>
                      <a:lnTo>
                        <a:pt x="600" y="870"/>
                      </a:lnTo>
                      <a:lnTo>
                        <a:pt x="600" y="852"/>
                      </a:lnTo>
                      <a:lnTo>
                        <a:pt x="606" y="840"/>
                      </a:lnTo>
                      <a:lnTo>
                        <a:pt x="618" y="834"/>
                      </a:lnTo>
                      <a:lnTo>
                        <a:pt x="630" y="822"/>
                      </a:lnTo>
                      <a:lnTo>
                        <a:pt x="630" y="810"/>
                      </a:lnTo>
                      <a:lnTo>
                        <a:pt x="618" y="786"/>
                      </a:lnTo>
                      <a:lnTo>
                        <a:pt x="612" y="780"/>
                      </a:lnTo>
                      <a:lnTo>
                        <a:pt x="630" y="762"/>
                      </a:lnTo>
                      <a:lnTo>
                        <a:pt x="648" y="750"/>
                      </a:lnTo>
                      <a:lnTo>
                        <a:pt x="642" y="732"/>
                      </a:lnTo>
                      <a:lnTo>
                        <a:pt x="636" y="708"/>
                      </a:lnTo>
                      <a:lnTo>
                        <a:pt x="648" y="708"/>
                      </a:lnTo>
                      <a:lnTo>
                        <a:pt x="648" y="690"/>
                      </a:lnTo>
                      <a:lnTo>
                        <a:pt x="660" y="678"/>
                      </a:lnTo>
                      <a:lnTo>
                        <a:pt x="672" y="672"/>
                      </a:lnTo>
                      <a:lnTo>
                        <a:pt x="678" y="666"/>
                      </a:lnTo>
                      <a:lnTo>
                        <a:pt x="678" y="660"/>
                      </a:lnTo>
                      <a:lnTo>
                        <a:pt x="672" y="654"/>
                      </a:lnTo>
                      <a:lnTo>
                        <a:pt x="672" y="642"/>
                      </a:lnTo>
                      <a:lnTo>
                        <a:pt x="666" y="636"/>
                      </a:lnTo>
                      <a:lnTo>
                        <a:pt x="678" y="6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3" name="Central African Republic">
                  <a:extLst>
                    <a:ext uri="{FF2B5EF4-FFF2-40B4-BE49-F238E27FC236}">
                      <a16:creationId xmlns:a16="http://schemas.microsoft.com/office/drawing/2014/main" id="{B89B0D7A-0B54-4CBB-9D46-632D96CF5777}"/>
                    </a:ext>
                  </a:extLst>
                </p:cNvPr>
                <p:cNvSpPr>
                  <a:spLocks/>
                </p:cNvSpPr>
                <p:nvPr/>
              </p:nvSpPr>
              <p:spPr bwMode="gray">
                <a:xfrm>
                  <a:off x="4624447" y="3049297"/>
                  <a:ext cx="345106" cy="263274"/>
                </a:xfrm>
                <a:custGeom>
                  <a:avLst/>
                  <a:gdLst>
                    <a:gd name="T0" fmla="*/ 2147483647 w 912"/>
                    <a:gd name="T1" fmla="*/ 2147483647 h 702"/>
                    <a:gd name="T2" fmla="*/ 2147483647 w 912"/>
                    <a:gd name="T3" fmla="*/ 2147483647 h 702"/>
                    <a:gd name="T4" fmla="*/ 2147483647 w 912"/>
                    <a:gd name="T5" fmla="*/ 2147483647 h 702"/>
                    <a:gd name="T6" fmla="*/ 2147483647 w 912"/>
                    <a:gd name="T7" fmla="*/ 2147483647 h 702"/>
                    <a:gd name="T8" fmla="*/ 2147483647 w 912"/>
                    <a:gd name="T9" fmla="*/ 2147483647 h 702"/>
                    <a:gd name="T10" fmla="*/ 2147483647 w 912"/>
                    <a:gd name="T11" fmla="*/ 2147483647 h 702"/>
                    <a:gd name="T12" fmla="*/ 2147483647 w 912"/>
                    <a:gd name="T13" fmla="*/ 2147483647 h 702"/>
                    <a:gd name="T14" fmla="*/ 2147483647 w 912"/>
                    <a:gd name="T15" fmla="*/ 2147483647 h 702"/>
                    <a:gd name="T16" fmla="*/ 2147483647 w 912"/>
                    <a:gd name="T17" fmla="*/ 2147483647 h 702"/>
                    <a:gd name="T18" fmla="*/ 2147483647 w 912"/>
                    <a:gd name="T19" fmla="*/ 2147483647 h 702"/>
                    <a:gd name="T20" fmla="*/ 2147483647 w 912"/>
                    <a:gd name="T21" fmla="*/ 2147483647 h 702"/>
                    <a:gd name="T22" fmla="*/ 2147483647 w 912"/>
                    <a:gd name="T23" fmla="*/ 2147483647 h 702"/>
                    <a:gd name="T24" fmla="*/ 2147483647 w 912"/>
                    <a:gd name="T25" fmla="*/ 2147483647 h 702"/>
                    <a:gd name="T26" fmla="*/ 2147483647 w 912"/>
                    <a:gd name="T27" fmla="*/ 2147483647 h 702"/>
                    <a:gd name="T28" fmla="*/ 2147483647 w 912"/>
                    <a:gd name="T29" fmla="*/ 2147483647 h 702"/>
                    <a:gd name="T30" fmla="*/ 2147483647 w 912"/>
                    <a:gd name="T31" fmla="*/ 0 h 702"/>
                    <a:gd name="T32" fmla="*/ 2147483647 w 912"/>
                    <a:gd name="T33" fmla="*/ 2147483647 h 702"/>
                    <a:gd name="T34" fmla="*/ 2147483647 w 912"/>
                    <a:gd name="T35" fmla="*/ 2147483647 h 702"/>
                    <a:gd name="T36" fmla="*/ 2147483647 w 912"/>
                    <a:gd name="T37" fmla="*/ 2147483647 h 702"/>
                    <a:gd name="T38" fmla="*/ 2147483647 w 912"/>
                    <a:gd name="T39" fmla="*/ 2147483647 h 702"/>
                    <a:gd name="T40" fmla="*/ 2147483647 w 912"/>
                    <a:gd name="T41" fmla="*/ 2147483647 h 702"/>
                    <a:gd name="T42" fmla="*/ 2147483647 w 912"/>
                    <a:gd name="T43" fmla="*/ 2147483647 h 702"/>
                    <a:gd name="T44" fmla="*/ 2147483647 w 912"/>
                    <a:gd name="T45" fmla="*/ 2147483647 h 702"/>
                    <a:gd name="T46" fmla="*/ 2147483647 w 912"/>
                    <a:gd name="T47" fmla="*/ 2147483647 h 702"/>
                    <a:gd name="T48" fmla="*/ 2147483647 w 912"/>
                    <a:gd name="T49" fmla="*/ 2147483647 h 702"/>
                    <a:gd name="T50" fmla="*/ 2147483647 w 912"/>
                    <a:gd name="T51" fmla="*/ 2147483647 h 702"/>
                    <a:gd name="T52" fmla="*/ 2147483647 w 912"/>
                    <a:gd name="T53" fmla="*/ 2147483647 h 702"/>
                    <a:gd name="T54" fmla="*/ 2147483647 w 912"/>
                    <a:gd name="T55" fmla="*/ 2147483647 h 702"/>
                    <a:gd name="T56" fmla="*/ 2147483647 w 912"/>
                    <a:gd name="T57" fmla="*/ 2147483647 h 702"/>
                    <a:gd name="T58" fmla="*/ 2147483647 w 912"/>
                    <a:gd name="T59" fmla="*/ 2147483647 h 702"/>
                    <a:gd name="T60" fmla="*/ 0 w 912"/>
                    <a:gd name="T61" fmla="*/ 2147483647 h 702"/>
                    <a:gd name="T62" fmla="*/ 2147483647 w 912"/>
                    <a:gd name="T63" fmla="*/ 2147483647 h 702"/>
                    <a:gd name="T64" fmla="*/ 2147483647 w 912"/>
                    <a:gd name="T65" fmla="*/ 2147483647 h 702"/>
                    <a:gd name="T66" fmla="*/ 2147483647 w 912"/>
                    <a:gd name="T67" fmla="*/ 2147483647 h 702"/>
                    <a:gd name="T68" fmla="*/ 2147483647 w 912"/>
                    <a:gd name="T69" fmla="*/ 2147483647 h 702"/>
                    <a:gd name="T70" fmla="*/ 2147483647 w 912"/>
                    <a:gd name="T71" fmla="*/ 2147483647 h 702"/>
                    <a:gd name="T72" fmla="*/ 2147483647 w 912"/>
                    <a:gd name="T73" fmla="*/ 2147483647 h 702"/>
                    <a:gd name="T74" fmla="*/ 2147483647 w 912"/>
                    <a:gd name="T75" fmla="*/ 2147483647 h 702"/>
                    <a:gd name="T76" fmla="*/ 2147483647 w 912"/>
                    <a:gd name="T77" fmla="*/ 2147483647 h 702"/>
                    <a:gd name="T78" fmla="*/ 2147483647 w 912"/>
                    <a:gd name="T79" fmla="*/ 2147483647 h 702"/>
                    <a:gd name="T80" fmla="*/ 2147483647 w 912"/>
                    <a:gd name="T81" fmla="*/ 2147483647 h 702"/>
                    <a:gd name="T82" fmla="*/ 2147483647 w 912"/>
                    <a:gd name="T83" fmla="*/ 2147483647 h 702"/>
                    <a:gd name="T84" fmla="*/ 2147483647 w 912"/>
                    <a:gd name="T85" fmla="*/ 2147483647 h 702"/>
                    <a:gd name="T86" fmla="*/ 2147483647 w 912"/>
                    <a:gd name="T87" fmla="*/ 2147483647 h 702"/>
                    <a:gd name="T88" fmla="*/ 2147483647 w 912"/>
                    <a:gd name="T89" fmla="*/ 2147483647 h 702"/>
                    <a:gd name="T90" fmla="*/ 2147483647 w 912"/>
                    <a:gd name="T91" fmla="*/ 2147483647 h 702"/>
                    <a:gd name="T92" fmla="*/ 2147483647 w 912"/>
                    <a:gd name="T93" fmla="*/ 2147483647 h 702"/>
                    <a:gd name="T94" fmla="*/ 2147483647 w 912"/>
                    <a:gd name="T95" fmla="*/ 2147483647 h 702"/>
                    <a:gd name="T96" fmla="*/ 2147483647 w 912"/>
                    <a:gd name="T97" fmla="*/ 2147483647 h 702"/>
                    <a:gd name="T98" fmla="*/ 2147483647 w 912"/>
                    <a:gd name="T99" fmla="*/ 2147483647 h 702"/>
                    <a:gd name="T100" fmla="*/ 2147483647 w 912"/>
                    <a:gd name="T101" fmla="*/ 2147483647 h 702"/>
                    <a:gd name="T102" fmla="*/ 2147483647 w 912"/>
                    <a:gd name="T103" fmla="*/ 2147483647 h 702"/>
                    <a:gd name="T104" fmla="*/ 2147483647 w 912"/>
                    <a:gd name="T105" fmla="*/ 2147483647 h 702"/>
                    <a:gd name="T106" fmla="*/ 2147483647 w 912"/>
                    <a:gd name="T107" fmla="*/ 2147483647 h 702"/>
                    <a:gd name="T108" fmla="*/ 2147483647 w 912"/>
                    <a:gd name="T109" fmla="*/ 2147483647 h 702"/>
                    <a:gd name="T110" fmla="*/ 2147483647 w 912"/>
                    <a:gd name="T111" fmla="*/ 2147483647 h 702"/>
                    <a:gd name="T112" fmla="*/ 2147483647 w 912"/>
                    <a:gd name="T113" fmla="*/ 2147483647 h 702"/>
                    <a:gd name="T114" fmla="*/ 2147483647 w 912"/>
                    <a:gd name="T115" fmla="*/ 2147483647 h 702"/>
                    <a:gd name="T116" fmla="*/ 2147483647 w 912"/>
                    <a:gd name="T117" fmla="*/ 2147483647 h 702"/>
                    <a:gd name="T118" fmla="*/ 2147483647 w 912"/>
                    <a:gd name="T119" fmla="*/ 2147483647 h 702"/>
                    <a:gd name="T120" fmla="*/ 2147483647 w 912"/>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2"/>
                    <a:gd name="T184" fmla="*/ 0 h 702"/>
                    <a:gd name="T185" fmla="*/ 912 w 912"/>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2" h="702">
                      <a:moveTo>
                        <a:pt x="906" y="420"/>
                      </a:moveTo>
                      <a:lnTo>
                        <a:pt x="900" y="414"/>
                      </a:lnTo>
                      <a:lnTo>
                        <a:pt x="888" y="408"/>
                      </a:lnTo>
                      <a:lnTo>
                        <a:pt x="882" y="402"/>
                      </a:lnTo>
                      <a:lnTo>
                        <a:pt x="858" y="396"/>
                      </a:lnTo>
                      <a:lnTo>
                        <a:pt x="858" y="378"/>
                      </a:lnTo>
                      <a:lnTo>
                        <a:pt x="846" y="366"/>
                      </a:lnTo>
                      <a:lnTo>
                        <a:pt x="846" y="360"/>
                      </a:lnTo>
                      <a:lnTo>
                        <a:pt x="858" y="360"/>
                      </a:lnTo>
                      <a:lnTo>
                        <a:pt x="858" y="348"/>
                      </a:lnTo>
                      <a:lnTo>
                        <a:pt x="852" y="342"/>
                      </a:lnTo>
                      <a:lnTo>
                        <a:pt x="834" y="342"/>
                      </a:lnTo>
                      <a:lnTo>
                        <a:pt x="834" y="336"/>
                      </a:lnTo>
                      <a:lnTo>
                        <a:pt x="828" y="330"/>
                      </a:lnTo>
                      <a:lnTo>
                        <a:pt x="822" y="318"/>
                      </a:lnTo>
                      <a:lnTo>
                        <a:pt x="810" y="306"/>
                      </a:lnTo>
                      <a:lnTo>
                        <a:pt x="798" y="300"/>
                      </a:lnTo>
                      <a:lnTo>
                        <a:pt x="792" y="300"/>
                      </a:lnTo>
                      <a:lnTo>
                        <a:pt x="780" y="294"/>
                      </a:lnTo>
                      <a:lnTo>
                        <a:pt x="768" y="282"/>
                      </a:lnTo>
                      <a:lnTo>
                        <a:pt x="768" y="276"/>
                      </a:lnTo>
                      <a:lnTo>
                        <a:pt x="774" y="276"/>
                      </a:lnTo>
                      <a:lnTo>
                        <a:pt x="774" y="270"/>
                      </a:lnTo>
                      <a:lnTo>
                        <a:pt x="780" y="270"/>
                      </a:lnTo>
                      <a:lnTo>
                        <a:pt x="780" y="264"/>
                      </a:lnTo>
                      <a:lnTo>
                        <a:pt x="768" y="252"/>
                      </a:lnTo>
                      <a:lnTo>
                        <a:pt x="756" y="246"/>
                      </a:lnTo>
                      <a:lnTo>
                        <a:pt x="750" y="246"/>
                      </a:lnTo>
                      <a:lnTo>
                        <a:pt x="750" y="228"/>
                      </a:lnTo>
                      <a:lnTo>
                        <a:pt x="720" y="228"/>
                      </a:lnTo>
                      <a:lnTo>
                        <a:pt x="696" y="216"/>
                      </a:lnTo>
                      <a:lnTo>
                        <a:pt x="696" y="186"/>
                      </a:lnTo>
                      <a:lnTo>
                        <a:pt x="648" y="180"/>
                      </a:lnTo>
                      <a:lnTo>
                        <a:pt x="654" y="162"/>
                      </a:lnTo>
                      <a:lnTo>
                        <a:pt x="648" y="162"/>
                      </a:lnTo>
                      <a:lnTo>
                        <a:pt x="642" y="156"/>
                      </a:lnTo>
                      <a:lnTo>
                        <a:pt x="642" y="150"/>
                      </a:lnTo>
                      <a:lnTo>
                        <a:pt x="648" y="144"/>
                      </a:lnTo>
                      <a:lnTo>
                        <a:pt x="654" y="132"/>
                      </a:lnTo>
                      <a:lnTo>
                        <a:pt x="660" y="126"/>
                      </a:lnTo>
                      <a:lnTo>
                        <a:pt x="660" y="96"/>
                      </a:lnTo>
                      <a:lnTo>
                        <a:pt x="654" y="84"/>
                      </a:lnTo>
                      <a:lnTo>
                        <a:pt x="648" y="66"/>
                      </a:lnTo>
                      <a:lnTo>
                        <a:pt x="636" y="54"/>
                      </a:lnTo>
                      <a:lnTo>
                        <a:pt x="630" y="42"/>
                      </a:lnTo>
                      <a:lnTo>
                        <a:pt x="600" y="12"/>
                      </a:lnTo>
                      <a:lnTo>
                        <a:pt x="600" y="0"/>
                      </a:lnTo>
                      <a:lnTo>
                        <a:pt x="576" y="0"/>
                      </a:lnTo>
                      <a:lnTo>
                        <a:pt x="522" y="30"/>
                      </a:lnTo>
                      <a:lnTo>
                        <a:pt x="516" y="60"/>
                      </a:lnTo>
                      <a:lnTo>
                        <a:pt x="480" y="84"/>
                      </a:lnTo>
                      <a:lnTo>
                        <a:pt x="480" y="102"/>
                      </a:lnTo>
                      <a:lnTo>
                        <a:pt x="456" y="126"/>
                      </a:lnTo>
                      <a:lnTo>
                        <a:pt x="438" y="138"/>
                      </a:lnTo>
                      <a:lnTo>
                        <a:pt x="390" y="156"/>
                      </a:lnTo>
                      <a:lnTo>
                        <a:pt x="348" y="162"/>
                      </a:lnTo>
                      <a:lnTo>
                        <a:pt x="330" y="162"/>
                      </a:lnTo>
                      <a:lnTo>
                        <a:pt x="312" y="174"/>
                      </a:lnTo>
                      <a:lnTo>
                        <a:pt x="318" y="174"/>
                      </a:lnTo>
                      <a:lnTo>
                        <a:pt x="330" y="186"/>
                      </a:lnTo>
                      <a:lnTo>
                        <a:pt x="330" y="198"/>
                      </a:lnTo>
                      <a:lnTo>
                        <a:pt x="324" y="204"/>
                      </a:lnTo>
                      <a:lnTo>
                        <a:pt x="318" y="216"/>
                      </a:lnTo>
                      <a:lnTo>
                        <a:pt x="312" y="222"/>
                      </a:lnTo>
                      <a:lnTo>
                        <a:pt x="306" y="234"/>
                      </a:lnTo>
                      <a:lnTo>
                        <a:pt x="300" y="240"/>
                      </a:lnTo>
                      <a:lnTo>
                        <a:pt x="210" y="240"/>
                      </a:lnTo>
                      <a:lnTo>
                        <a:pt x="204" y="246"/>
                      </a:lnTo>
                      <a:lnTo>
                        <a:pt x="198" y="258"/>
                      </a:lnTo>
                      <a:lnTo>
                        <a:pt x="186" y="270"/>
                      </a:lnTo>
                      <a:lnTo>
                        <a:pt x="174" y="276"/>
                      </a:lnTo>
                      <a:lnTo>
                        <a:pt x="168" y="276"/>
                      </a:lnTo>
                      <a:lnTo>
                        <a:pt x="162" y="270"/>
                      </a:lnTo>
                      <a:lnTo>
                        <a:pt x="162" y="246"/>
                      </a:lnTo>
                      <a:lnTo>
                        <a:pt x="156" y="252"/>
                      </a:lnTo>
                      <a:lnTo>
                        <a:pt x="144" y="258"/>
                      </a:lnTo>
                      <a:lnTo>
                        <a:pt x="126" y="276"/>
                      </a:lnTo>
                      <a:lnTo>
                        <a:pt x="114" y="282"/>
                      </a:lnTo>
                      <a:lnTo>
                        <a:pt x="96" y="282"/>
                      </a:lnTo>
                      <a:lnTo>
                        <a:pt x="90" y="276"/>
                      </a:lnTo>
                      <a:lnTo>
                        <a:pt x="78" y="276"/>
                      </a:lnTo>
                      <a:lnTo>
                        <a:pt x="66" y="288"/>
                      </a:lnTo>
                      <a:lnTo>
                        <a:pt x="60" y="300"/>
                      </a:lnTo>
                      <a:lnTo>
                        <a:pt x="54" y="306"/>
                      </a:lnTo>
                      <a:lnTo>
                        <a:pt x="54" y="324"/>
                      </a:lnTo>
                      <a:lnTo>
                        <a:pt x="48" y="336"/>
                      </a:lnTo>
                      <a:lnTo>
                        <a:pt x="42" y="336"/>
                      </a:lnTo>
                      <a:lnTo>
                        <a:pt x="36" y="372"/>
                      </a:lnTo>
                      <a:lnTo>
                        <a:pt x="30" y="372"/>
                      </a:lnTo>
                      <a:lnTo>
                        <a:pt x="24" y="378"/>
                      </a:lnTo>
                      <a:lnTo>
                        <a:pt x="12" y="384"/>
                      </a:lnTo>
                      <a:lnTo>
                        <a:pt x="0" y="396"/>
                      </a:lnTo>
                      <a:lnTo>
                        <a:pt x="0" y="402"/>
                      </a:lnTo>
                      <a:lnTo>
                        <a:pt x="12" y="408"/>
                      </a:lnTo>
                      <a:lnTo>
                        <a:pt x="18" y="408"/>
                      </a:lnTo>
                      <a:lnTo>
                        <a:pt x="18" y="444"/>
                      </a:lnTo>
                      <a:lnTo>
                        <a:pt x="6" y="456"/>
                      </a:lnTo>
                      <a:lnTo>
                        <a:pt x="24" y="468"/>
                      </a:lnTo>
                      <a:lnTo>
                        <a:pt x="24" y="516"/>
                      </a:lnTo>
                      <a:lnTo>
                        <a:pt x="30" y="516"/>
                      </a:lnTo>
                      <a:lnTo>
                        <a:pt x="48" y="534"/>
                      </a:lnTo>
                      <a:lnTo>
                        <a:pt x="54" y="534"/>
                      </a:lnTo>
                      <a:lnTo>
                        <a:pt x="54" y="576"/>
                      </a:lnTo>
                      <a:lnTo>
                        <a:pt x="60" y="582"/>
                      </a:lnTo>
                      <a:lnTo>
                        <a:pt x="72" y="606"/>
                      </a:lnTo>
                      <a:lnTo>
                        <a:pt x="84" y="618"/>
                      </a:lnTo>
                      <a:lnTo>
                        <a:pt x="96" y="624"/>
                      </a:lnTo>
                      <a:lnTo>
                        <a:pt x="102" y="636"/>
                      </a:lnTo>
                      <a:lnTo>
                        <a:pt x="114" y="642"/>
                      </a:lnTo>
                      <a:lnTo>
                        <a:pt x="120" y="660"/>
                      </a:lnTo>
                      <a:lnTo>
                        <a:pt x="120" y="690"/>
                      </a:lnTo>
                      <a:lnTo>
                        <a:pt x="132" y="702"/>
                      </a:lnTo>
                      <a:lnTo>
                        <a:pt x="138" y="696"/>
                      </a:lnTo>
                      <a:lnTo>
                        <a:pt x="144" y="684"/>
                      </a:lnTo>
                      <a:lnTo>
                        <a:pt x="150" y="678"/>
                      </a:lnTo>
                      <a:lnTo>
                        <a:pt x="156" y="666"/>
                      </a:lnTo>
                      <a:lnTo>
                        <a:pt x="156" y="642"/>
                      </a:lnTo>
                      <a:lnTo>
                        <a:pt x="144" y="630"/>
                      </a:lnTo>
                      <a:lnTo>
                        <a:pt x="162" y="600"/>
                      </a:lnTo>
                      <a:lnTo>
                        <a:pt x="192" y="600"/>
                      </a:lnTo>
                      <a:lnTo>
                        <a:pt x="210" y="582"/>
                      </a:lnTo>
                      <a:lnTo>
                        <a:pt x="228" y="582"/>
                      </a:lnTo>
                      <a:lnTo>
                        <a:pt x="264" y="600"/>
                      </a:lnTo>
                      <a:lnTo>
                        <a:pt x="276" y="600"/>
                      </a:lnTo>
                      <a:lnTo>
                        <a:pt x="288" y="588"/>
                      </a:lnTo>
                      <a:lnTo>
                        <a:pt x="300" y="570"/>
                      </a:lnTo>
                      <a:lnTo>
                        <a:pt x="300" y="552"/>
                      </a:lnTo>
                      <a:lnTo>
                        <a:pt x="294" y="552"/>
                      </a:lnTo>
                      <a:lnTo>
                        <a:pt x="294" y="540"/>
                      </a:lnTo>
                      <a:lnTo>
                        <a:pt x="306" y="528"/>
                      </a:lnTo>
                      <a:lnTo>
                        <a:pt x="312" y="528"/>
                      </a:lnTo>
                      <a:lnTo>
                        <a:pt x="324" y="516"/>
                      </a:lnTo>
                      <a:lnTo>
                        <a:pt x="330" y="504"/>
                      </a:lnTo>
                      <a:lnTo>
                        <a:pt x="330" y="498"/>
                      </a:lnTo>
                      <a:lnTo>
                        <a:pt x="336" y="486"/>
                      </a:lnTo>
                      <a:lnTo>
                        <a:pt x="336" y="480"/>
                      </a:lnTo>
                      <a:lnTo>
                        <a:pt x="342" y="474"/>
                      </a:lnTo>
                      <a:lnTo>
                        <a:pt x="354" y="468"/>
                      </a:lnTo>
                      <a:lnTo>
                        <a:pt x="366" y="468"/>
                      </a:lnTo>
                      <a:lnTo>
                        <a:pt x="384" y="474"/>
                      </a:lnTo>
                      <a:lnTo>
                        <a:pt x="396" y="474"/>
                      </a:lnTo>
                      <a:lnTo>
                        <a:pt x="408" y="480"/>
                      </a:lnTo>
                      <a:lnTo>
                        <a:pt x="408" y="492"/>
                      </a:lnTo>
                      <a:lnTo>
                        <a:pt x="426" y="492"/>
                      </a:lnTo>
                      <a:lnTo>
                        <a:pt x="432" y="498"/>
                      </a:lnTo>
                      <a:lnTo>
                        <a:pt x="432" y="528"/>
                      </a:lnTo>
                      <a:lnTo>
                        <a:pt x="474" y="528"/>
                      </a:lnTo>
                      <a:lnTo>
                        <a:pt x="480" y="534"/>
                      </a:lnTo>
                      <a:lnTo>
                        <a:pt x="492" y="540"/>
                      </a:lnTo>
                      <a:lnTo>
                        <a:pt x="540" y="540"/>
                      </a:lnTo>
                      <a:lnTo>
                        <a:pt x="552" y="546"/>
                      </a:lnTo>
                      <a:lnTo>
                        <a:pt x="558" y="552"/>
                      </a:lnTo>
                      <a:lnTo>
                        <a:pt x="570" y="558"/>
                      </a:lnTo>
                      <a:lnTo>
                        <a:pt x="576" y="552"/>
                      </a:lnTo>
                      <a:lnTo>
                        <a:pt x="582" y="540"/>
                      </a:lnTo>
                      <a:lnTo>
                        <a:pt x="588" y="534"/>
                      </a:lnTo>
                      <a:lnTo>
                        <a:pt x="588" y="522"/>
                      </a:lnTo>
                      <a:lnTo>
                        <a:pt x="606" y="504"/>
                      </a:lnTo>
                      <a:lnTo>
                        <a:pt x="612" y="492"/>
                      </a:lnTo>
                      <a:lnTo>
                        <a:pt x="636" y="516"/>
                      </a:lnTo>
                      <a:lnTo>
                        <a:pt x="642" y="516"/>
                      </a:lnTo>
                      <a:lnTo>
                        <a:pt x="648" y="510"/>
                      </a:lnTo>
                      <a:lnTo>
                        <a:pt x="660" y="504"/>
                      </a:lnTo>
                      <a:lnTo>
                        <a:pt x="672" y="492"/>
                      </a:lnTo>
                      <a:lnTo>
                        <a:pt x="690" y="492"/>
                      </a:lnTo>
                      <a:lnTo>
                        <a:pt x="714" y="474"/>
                      </a:lnTo>
                      <a:lnTo>
                        <a:pt x="726" y="486"/>
                      </a:lnTo>
                      <a:lnTo>
                        <a:pt x="750" y="486"/>
                      </a:lnTo>
                      <a:lnTo>
                        <a:pt x="756" y="480"/>
                      </a:lnTo>
                      <a:lnTo>
                        <a:pt x="768" y="480"/>
                      </a:lnTo>
                      <a:lnTo>
                        <a:pt x="768" y="468"/>
                      </a:lnTo>
                      <a:lnTo>
                        <a:pt x="786" y="450"/>
                      </a:lnTo>
                      <a:lnTo>
                        <a:pt x="792" y="450"/>
                      </a:lnTo>
                      <a:lnTo>
                        <a:pt x="792" y="456"/>
                      </a:lnTo>
                      <a:lnTo>
                        <a:pt x="804" y="468"/>
                      </a:lnTo>
                      <a:lnTo>
                        <a:pt x="840" y="462"/>
                      </a:lnTo>
                      <a:lnTo>
                        <a:pt x="840" y="468"/>
                      </a:lnTo>
                      <a:lnTo>
                        <a:pt x="852" y="480"/>
                      </a:lnTo>
                      <a:lnTo>
                        <a:pt x="876" y="480"/>
                      </a:lnTo>
                      <a:lnTo>
                        <a:pt x="894" y="474"/>
                      </a:lnTo>
                      <a:lnTo>
                        <a:pt x="912" y="456"/>
                      </a:lnTo>
                      <a:lnTo>
                        <a:pt x="912" y="432"/>
                      </a:lnTo>
                      <a:lnTo>
                        <a:pt x="906" y="4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4" name="Cameroon">
                  <a:extLst>
                    <a:ext uri="{FF2B5EF4-FFF2-40B4-BE49-F238E27FC236}">
                      <a16:creationId xmlns:a16="http://schemas.microsoft.com/office/drawing/2014/main" id="{5734F6AC-8C50-4F41-ACDF-AB2655A8E775}"/>
                    </a:ext>
                  </a:extLst>
                </p:cNvPr>
                <p:cNvSpPr>
                  <a:spLocks/>
                </p:cNvSpPr>
                <p:nvPr/>
              </p:nvSpPr>
              <p:spPr bwMode="gray">
                <a:xfrm>
                  <a:off x="4468256" y="2982363"/>
                  <a:ext cx="206766" cy="349544"/>
                </a:xfrm>
                <a:custGeom>
                  <a:avLst/>
                  <a:gdLst>
                    <a:gd name="T0" fmla="*/ 2147483647 w 546"/>
                    <a:gd name="T1" fmla="*/ 0 h 924"/>
                    <a:gd name="T2" fmla="*/ 2147483647 w 546"/>
                    <a:gd name="T3" fmla="*/ 2147483647 h 924"/>
                    <a:gd name="T4" fmla="*/ 2147483647 w 546"/>
                    <a:gd name="T5" fmla="*/ 2147483647 h 924"/>
                    <a:gd name="T6" fmla="*/ 2147483647 w 546"/>
                    <a:gd name="T7" fmla="*/ 2147483647 h 924"/>
                    <a:gd name="T8" fmla="*/ 2147483647 w 546"/>
                    <a:gd name="T9" fmla="*/ 2147483647 h 924"/>
                    <a:gd name="T10" fmla="*/ 2147483647 w 546"/>
                    <a:gd name="T11" fmla="*/ 2147483647 h 924"/>
                    <a:gd name="T12" fmla="*/ 2147483647 w 546"/>
                    <a:gd name="T13" fmla="*/ 2147483647 h 924"/>
                    <a:gd name="T14" fmla="*/ 2147483647 w 546"/>
                    <a:gd name="T15" fmla="*/ 2147483647 h 924"/>
                    <a:gd name="T16" fmla="*/ 2147483647 w 546"/>
                    <a:gd name="T17" fmla="*/ 2147483647 h 924"/>
                    <a:gd name="T18" fmla="*/ 2147483647 w 546"/>
                    <a:gd name="T19" fmla="*/ 2147483647 h 924"/>
                    <a:gd name="T20" fmla="*/ 2147483647 w 546"/>
                    <a:gd name="T21" fmla="*/ 2147483647 h 924"/>
                    <a:gd name="T22" fmla="*/ 2147483647 w 546"/>
                    <a:gd name="T23" fmla="*/ 2147483647 h 924"/>
                    <a:gd name="T24" fmla="*/ 2147483647 w 546"/>
                    <a:gd name="T25" fmla="*/ 2147483647 h 924"/>
                    <a:gd name="T26" fmla="*/ 2147483647 w 546"/>
                    <a:gd name="T27" fmla="*/ 2147483647 h 924"/>
                    <a:gd name="T28" fmla="*/ 2147483647 w 546"/>
                    <a:gd name="T29" fmla="*/ 2147483647 h 924"/>
                    <a:gd name="T30" fmla="*/ 2147483647 w 546"/>
                    <a:gd name="T31" fmla="*/ 2147483647 h 924"/>
                    <a:gd name="T32" fmla="*/ 2147483647 w 546"/>
                    <a:gd name="T33" fmla="*/ 2147483647 h 924"/>
                    <a:gd name="T34" fmla="*/ 2147483647 w 546"/>
                    <a:gd name="T35" fmla="*/ 2147483647 h 924"/>
                    <a:gd name="T36" fmla="*/ 2147483647 w 546"/>
                    <a:gd name="T37" fmla="*/ 2147483647 h 924"/>
                    <a:gd name="T38" fmla="*/ 2147483647 w 546"/>
                    <a:gd name="T39" fmla="*/ 2147483647 h 924"/>
                    <a:gd name="T40" fmla="*/ 2147483647 w 546"/>
                    <a:gd name="T41" fmla="*/ 2147483647 h 924"/>
                    <a:gd name="T42" fmla="*/ 2147483647 w 546"/>
                    <a:gd name="T43" fmla="*/ 2147483647 h 924"/>
                    <a:gd name="T44" fmla="*/ 2147483647 w 546"/>
                    <a:gd name="T45" fmla="*/ 2147483647 h 924"/>
                    <a:gd name="T46" fmla="*/ 2147483647 w 546"/>
                    <a:gd name="T47" fmla="*/ 2147483647 h 924"/>
                    <a:gd name="T48" fmla="*/ 2147483647 w 546"/>
                    <a:gd name="T49" fmla="*/ 2147483647 h 924"/>
                    <a:gd name="T50" fmla="*/ 2147483647 w 546"/>
                    <a:gd name="T51" fmla="*/ 2147483647 h 924"/>
                    <a:gd name="T52" fmla="*/ 2147483647 w 546"/>
                    <a:gd name="T53" fmla="*/ 2147483647 h 924"/>
                    <a:gd name="T54" fmla="*/ 2147483647 w 546"/>
                    <a:gd name="T55" fmla="*/ 2147483647 h 924"/>
                    <a:gd name="T56" fmla="*/ 2147483647 w 546"/>
                    <a:gd name="T57" fmla="*/ 2147483647 h 924"/>
                    <a:gd name="T58" fmla="*/ 2147483647 w 546"/>
                    <a:gd name="T59" fmla="*/ 2147483647 h 924"/>
                    <a:gd name="T60" fmla="*/ 2147483647 w 546"/>
                    <a:gd name="T61" fmla="*/ 2147483647 h 924"/>
                    <a:gd name="T62" fmla="*/ 2147483647 w 546"/>
                    <a:gd name="T63" fmla="*/ 2147483647 h 924"/>
                    <a:gd name="T64" fmla="*/ 2147483647 w 546"/>
                    <a:gd name="T65" fmla="*/ 2147483647 h 924"/>
                    <a:gd name="T66" fmla="*/ 2147483647 w 546"/>
                    <a:gd name="T67" fmla="*/ 2147483647 h 924"/>
                    <a:gd name="T68" fmla="*/ 2147483647 w 546"/>
                    <a:gd name="T69" fmla="*/ 2147483647 h 924"/>
                    <a:gd name="T70" fmla="*/ 2147483647 w 546"/>
                    <a:gd name="T71" fmla="*/ 2147483647 h 924"/>
                    <a:gd name="T72" fmla="*/ 2147483647 w 546"/>
                    <a:gd name="T73" fmla="*/ 2147483647 h 924"/>
                    <a:gd name="T74" fmla="*/ 2147483647 w 546"/>
                    <a:gd name="T75" fmla="*/ 2147483647 h 924"/>
                    <a:gd name="T76" fmla="*/ 2147483647 w 546"/>
                    <a:gd name="T77" fmla="*/ 2147483647 h 924"/>
                    <a:gd name="T78" fmla="*/ 2147483647 w 546"/>
                    <a:gd name="T79" fmla="*/ 2147483647 h 924"/>
                    <a:gd name="T80" fmla="*/ 2147483647 w 546"/>
                    <a:gd name="T81" fmla="*/ 2147483647 h 924"/>
                    <a:gd name="T82" fmla="*/ 2147483647 w 546"/>
                    <a:gd name="T83" fmla="*/ 2147483647 h 924"/>
                    <a:gd name="T84" fmla="*/ 2147483647 w 546"/>
                    <a:gd name="T85" fmla="*/ 2147483647 h 924"/>
                    <a:gd name="T86" fmla="*/ 2147483647 w 546"/>
                    <a:gd name="T87" fmla="*/ 2147483647 h 924"/>
                    <a:gd name="T88" fmla="*/ 2147483647 w 546"/>
                    <a:gd name="T89" fmla="*/ 2147483647 h 924"/>
                    <a:gd name="T90" fmla="*/ 2147483647 w 546"/>
                    <a:gd name="T91" fmla="*/ 2147483647 h 924"/>
                    <a:gd name="T92" fmla="*/ 2147483647 w 546"/>
                    <a:gd name="T93" fmla="*/ 2147483647 h 924"/>
                    <a:gd name="T94" fmla="*/ 2147483647 w 546"/>
                    <a:gd name="T95" fmla="*/ 2147483647 h 924"/>
                    <a:gd name="T96" fmla="*/ 2147483647 w 546"/>
                    <a:gd name="T97" fmla="*/ 2147483647 h 924"/>
                    <a:gd name="T98" fmla="*/ 2147483647 w 546"/>
                    <a:gd name="T99" fmla="*/ 2147483647 h 924"/>
                    <a:gd name="T100" fmla="*/ 2147483647 w 546"/>
                    <a:gd name="T101" fmla="*/ 2147483647 h 924"/>
                    <a:gd name="T102" fmla="*/ 2147483647 w 546"/>
                    <a:gd name="T103" fmla="*/ 2147483647 h 924"/>
                    <a:gd name="T104" fmla="*/ 2147483647 w 546"/>
                    <a:gd name="T105" fmla="*/ 2147483647 h 924"/>
                    <a:gd name="T106" fmla="*/ 2147483647 w 546"/>
                    <a:gd name="T107" fmla="*/ 2147483647 h 924"/>
                    <a:gd name="T108" fmla="*/ 2147483647 w 546"/>
                    <a:gd name="T109" fmla="*/ 2147483647 h 924"/>
                    <a:gd name="T110" fmla="*/ 2147483647 w 546"/>
                    <a:gd name="T111" fmla="*/ 2147483647 h 9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6"/>
                    <a:gd name="T169" fmla="*/ 0 h 924"/>
                    <a:gd name="T170" fmla="*/ 546 w 546"/>
                    <a:gd name="T171" fmla="*/ 924 h 9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6" h="924">
                      <a:moveTo>
                        <a:pt x="420" y="30"/>
                      </a:moveTo>
                      <a:lnTo>
                        <a:pt x="414" y="18"/>
                      </a:lnTo>
                      <a:lnTo>
                        <a:pt x="414" y="0"/>
                      </a:lnTo>
                      <a:lnTo>
                        <a:pt x="390" y="6"/>
                      </a:lnTo>
                      <a:lnTo>
                        <a:pt x="390" y="54"/>
                      </a:lnTo>
                      <a:lnTo>
                        <a:pt x="396" y="60"/>
                      </a:lnTo>
                      <a:lnTo>
                        <a:pt x="396" y="66"/>
                      </a:lnTo>
                      <a:lnTo>
                        <a:pt x="426" y="66"/>
                      </a:lnTo>
                      <a:lnTo>
                        <a:pt x="426" y="96"/>
                      </a:lnTo>
                      <a:lnTo>
                        <a:pt x="420" y="102"/>
                      </a:lnTo>
                      <a:lnTo>
                        <a:pt x="420" y="108"/>
                      </a:lnTo>
                      <a:lnTo>
                        <a:pt x="426" y="114"/>
                      </a:lnTo>
                      <a:lnTo>
                        <a:pt x="426" y="126"/>
                      </a:lnTo>
                      <a:lnTo>
                        <a:pt x="408" y="144"/>
                      </a:lnTo>
                      <a:lnTo>
                        <a:pt x="396" y="150"/>
                      </a:lnTo>
                      <a:lnTo>
                        <a:pt x="384" y="150"/>
                      </a:lnTo>
                      <a:lnTo>
                        <a:pt x="384" y="156"/>
                      </a:lnTo>
                      <a:lnTo>
                        <a:pt x="378" y="162"/>
                      </a:lnTo>
                      <a:lnTo>
                        <a:pt x="378" y="168"/>
                      </a:lnTo>
                      <a:lnTo>
                        <a:pt x="372" y="174"/>
                      </a:lnTo>
                      <a:lnTo>
                        <a:pt x="372" y="180"/>
                      </a:lnTo>
                      <a:lnTo>
                        <a:pt x="360" y="192"/>
                      </a:lnTo>
                      <a:lnTo>
                        <a:pt x="354" y="204"/>
                      </a:lnTo>
                      <a:lnTo>
                        <a:pt x="348" y="234"/>
                      </a:lnTo>
                      <a:lnTo>
                        <a:pt x="342" y="240"/>
                      </a:lnTo>
                      <a:lnTo>
                        <a:pt x="342" y="270"/>
                      </a:lnTo>
                      <a:lnTo>
                        <a:pt x="336" y="288"/>
                      </a:lnTo>
                      <a:lnTo>
                        <a:pt x="330" y="294"/>
                      </a:lnTo>
                      <a:lnTo>
                        <a:pt x="312" y="294"/>
                      </a:lnTo>
                      <a:lnTo>
                        <a:pt x="312" y="324"/>
                      </a:lnTo>
                      <a:lnTo>
                        <a:pt x="306" y="342"/>
                      </a:lnTo>
                      <a:lnTo>
                        <a:pt x="306" y="354"/>
                      </a:lnTo>
                      <a:lnTo>
                        <a:pt x="300" y="360"/>
                      </a:lnTo>
                      <a:lnTo>
                        <a:pt x="288" y="366"/>
                      </a:lnTo>
                      <a:lnTo>
                        <a:pt x="282" y="372"/>
                      </a:lnTo>
                      <a:lnTo>
                        <a:pt x="270" y="378"/>
                      </a:lnTo>
                      <a:lnTo>
                        <a:pt x="258" y="426"/>
                      </a:lnTo>
                      <a:lnTo>
                        <a:pt x="234" y="456"/>
                      </a:lnTo>
                      <a:lnTo>
                        <a:pt x="234" y="486"/>
                      </a:lnTo>
                      <a:lnTo>
                        <a:pt x="228" y="492"/>
                      </a:lnTo>
                      <a:lnTo>
                        <a:pt x="216" y="498"/>
                      </a:lnTo>
                      <a:lnTo>
                        <a:pt x="210" y="510"/>
                      </a:lnTo>
                      <a:lnTo>
                        <a:pt x="210" y="522"/>
                      </a:lnTo>
                      <a:lnTo>
                        <a:pt x="192" y="540"/>
                      </a:lnTo>
                      <a:lnTo>
                        <a:pt x="186" y="540"/>
                      </a:lnTo>
                      <a:lnTo>
                        <a:pt x="180" y="534"/>
                      </a:lnTo>
                      <a:lnTo>
                        <a:pt x="174" y="522"/>
                      </a:lnTo>
                      <a:lnTo>
                        <a:pt x="174" y="516"/>
                      </a:lnTo>
                      <a:lnTo>
                        <a:pt x="168" y="504"/>
                      </a:lnTo>
                      <a:lnTo>
                        <a:pt x="156" y="492"/>
                      </a:lnTo>
                      <a:lnTo>
                        <a:pt x="150" y="480"/>
                      </a:lnTo>
                      <a:lnTo>
                        <a:pt x="138" y="480"/>
                      </a:lnTo>
                      <a:lnTo>
                        <a:pt x="144" y="486"/>
                      </a:lnTo>
                      <a:lnTo>
                        <a:pt x="144" y="498"/>
                      </a:lnTo>
                      <a:lnTo>
                        <a:pt x="138" y="504"/>
                      </a:lnTo>
                      <a:lnTo>
                        <a:pt x="132" y="504"/>
                      </a:lnTo>
                      <a:lnTo>
                        <a:pt x="120" y="498"/>
                      </a:lnTo>
                      <a:lnTo>
                        <a:pt x="114" y="492"/>
                      </a:lnTo>
                      <a:lnTo>
                        <a:pt x="108" y="492"/>
                      </a:lnTo>
                      <a:lnTo>
                        <a:pt x="102" y="498"/>
                      </a:lnTo>
                      <a:lnTo>
                        <a:pt x="90" y="522"/>
                      </a:lnTo>
                      <a:lnTo>
                        <a:pt x="84" y="528"/>
                      </a:lnTo>
                      <a:lnTo>
                        <a:pt x="84" y="534"/>
                      </a:lnTo>
                      <a:lnTo>
                        <a:pt x="18" y="588"/>
                      </a:lnTo>
                      <a:lnTo>
                        <a:pt x="18" y="642"/>
                      </a:lnTo>
                      <a:lnTo>
                        <a:pt x="12" y="654"/>
                      </a:lnTo>
                      <a:lnTo>
                        <a:pt x="12" y="666"/>
                      </a:lnTo>
                      <a:lnTo>
                        <a:pt x="6" y="672"/>
                      </a:lnTo>
                      <a:lnTo>
                        <a:pt x="6" y="678"/>
                      </a:lnTo>
                      <a:lnTo>
                        <a:pt x="0" y="690"/>
                      </a:lnTo>
                      <a:lnTo>
                        <a:pt x="24" y="684"/>
                      </a:lnTo>
                      <a:lnTo>
                        <a:pt x="24" y="708"/>
                      </a:lnTo>
                      <a:lnTo>
                        <a:pt x="36" y="732"/>
                      </a:lnTo>
                      <a:lnTo>
                        <a:pt x="60" y="744"/>
                      </a:lnTo>
                      <a:lnTo>
                        <a:pt x="66" y="750"/>
                      </a:lnTo>
                      <a:lnTo>
                        <a:pt x="84" y="726"/>
                      </a:lnTo>
                      <a:lnTo>
                        <a:pt x="66" y="756"/>
                      </a:lnTo>
                      <a:lnTo>
                        <a:pt x="84" y="786"/>
                      </a:lnTo>
                      <a:lnTo>
                        <a:pt x="102" y="792"/>
                      </a:lnTo>
                      <a:lnTo>
                        <a:pt x="102" y="840"/>
                      </a:lnTo>
                      <a:lnTo>
                        <a:pt x="90" y="840"/>
                      </a:lnTo>
                      <a:lnTo>
                        <a:pt x="90" y="870"/>
                      </a:lnTo>
                      <a:lnTo>
                        <a:pt x="102" y="882"/>
                      </a:lnTo>
                      <a:lnTo>
                        <a:pt x="198" y="882"/>
                      </a:lnTo>
                      <a:lnTo>
                        <a:pt x="216" y="864"/>
                      </a:lnTo>
                      <a:lnTo>
                        <a:pt x="228" y="882"/>
                      </a:lnTo>
                      <a:lnTo>
                        <a:pt x="258" y="882"/>
                      </a:lnTo>
                      <a:lnTo>
                        <a:pt x="270" y="870"/>
                      </a:lnTo>
                      <a:lnTo>
                        <a:pt x="276" y="870"/>
                      </a:lnTo>
                      <a:lnTo>
                        <a:pt x="288" y="876"/>
                      </a:lnTo>
                      <a:lnTo>
                        <a:pt x="294" y="876"/>
                      </a:lnTo>
                      <a:lnTo>
                        <a:pt x="342" y="870"/>
                      </a:lnTo>
                      <a:lnTo>
                        <a:pt x="342" y="888"/>
                      </a:lnTo>
                      <a:lnTo>
                        <a:pt x="372" y="888"/>
                      </a:lnTo>
                      <a:lnTo>
                        <a:pt x="390" y="882"/>
                      </a:lnTo>
                      <a:lnTo>
                        <a:pt x="438" y="882"/>
                      </a:lnTo>
                      <a:lnTo>
                        <a:pt x="450" y="888"/>
                      </a:lnTo>
                      <a:lnTo>
                        <a:pt x="456" y="894"/>
                      </a:lnTo>
                      <a:lnTo>
                        <a:pt x="468" y="894"/>
                      </a:lnTo>
                      <a:lnTo>
                        <a:pt x="474" y="900"/>
                      </a:lnTo>
                      <a:lnTo>
                        <a:pt x="510" y="900"/>
                      </a:lnTo>
                      <a:lnTo>
                        <a:pt x="534" y="924"/>
                      </a:lnTo>
                      <a:lnTo>
                        <a:pt x="540" y="882"/>
                      </a:lnTo>
                      <a:lnTo>
                        <a:pt x="546" y="876"/>
                      </a:lnTo>
                      <a:lnTo>
                        <a:pt x="534" y="864"/>
                      </a:lnTo>
                      <a:lnTo>
                        <a:pt x="534" y="834"/>
                      </a:lnTo>
                      <a:lnTo>
                        <a:pt x="528" y="816"/>
                      </a:lnTo>
                      <a:lnTo>
                        <a:pt x="516" y="810"/>
                      </a:lnTo>
                      <a:lnTo>
                        <a:pt x="510" y="798"/>
                      </a:lnTo>
                      <a:lnTo>
                        <a:pt x="498" y="792"/>
                      </a:lnTo>
                      <a:lnTo>
                        <a:pt x="486" y="780"/>
                      </a:lnTo>
                      <a:lnTo>
                        <a:pt x="474" y="756"/>
                      </a:lnTo>
                      <a:lnTo>
                        <a:pt x="468" y="750"/>
                      </a:lnTo>
                      <a:lnTo>
                        <a:pt x="468" y="708"/>
                      </a:lnTo>
                      <a:lnTo>
                        <a:pt x="462" y="708"/>
                      </a:lnTo>
                      <a:lnTo>
                        <a:pt x="444" y="690"/>
                      </a:lnTo>
                      <a:lnTo>
                        <a:pt x="438" y="690"/>
                      </a:lnTo>
                      <a:lnTo>
                        <a:pt x="438" y="642"/>
                      </a:lnTo>
                      <a:lnTo>
                        <a:pt x="420" y="630"/>
                      </a:lnTo>
                      <a:lnTo>
                        <a:pt x="432" y="618"/>
                      </a:lnTo>
                      <a:lnTo>
                        <a:pt x="432" y="582"/>
                      </a:lnTo>
                      <a:lnTo>
                        <a:pt x="426" y="582"/>
                      </a:lnTo>
                      <a:lnTo>
                        <a:pt x="414" y="576"/>
                      </a:lnTo>
                      <a:lnTo>
                        <a:pt x="414" y="570"/>
                      </a:lnTo>
                      <a:lnTo>
                        <a:pt x="426" y="558"/>
                      </a:lnTo>
                      <a:lnTo>
                        <a:pt x="438" y="552"/>
                      </a:lnTo>
                      <a:lnTo>
                        <a:pt x="444" y="546"/>
                      </a:lnTo>
                      <a:lnTo>
                        <a:pt x="450" y="546"/>
                      </a:lnTo>
                      <a:lnTo>
                        <a:pt x="456" y="510"/>
                      </a:lnTo>
                      <a:lnTo>
                        <a:pt x="462" y="510"/>
                      </a:lnTo>
                      <a:lnTo>
                        <a:pt x="468" y="498"/>
                      </a:lnTo>
                      <a:lnTo>
                        <a:pt x="468" y="480"/>
                      </a:lnTo>
                      <a:lnTo>
                        <a:pt x="474" y="474"/>
                      </a:lnTo>
                      <a:lnTo>
                        <a:pt x="480" y="462"/>
                      </a:lnTo>
                      <a:lnTo>
                        <a:pt x="492" y="450"/>
                      </a:lnTo>
                      <a:lnTo>
                        <a:pt x="498" y="450"/>
                      </a:lnTo>
                      <a:lnTo>
                        <a:pt x="498" y="438"/>
                      </a:lnTo>
                      <a:lnTo>
                        <a:pt x="492" y="420"/>
                      </a:lnTo>
                      <a:lnTo>
                        <a:pt x="486" y="408"/>
                      </a:lnTo>
                      <a:lnTo>
                        <a:pt x="486" y="390"/>
                      </a:lnTo>
                      <a:lnTo>
                        <a:pt x="474" y="366"/>
                      </a:lnTo>
                      <a:lnTo>
                        <a:pt x="462" y="354"/>
                      </a:lnTo>
                      <a:lnTo>
                        <a:pt x="450" y="348"/>
                      </a:lnTo>
                      <a:lnTo>
                        <a:pt x="432" y="336"/>
                      </a:lnTo>
                      <a:lnTo>
                        <a:pt x="420" y="324"/>
                      </a:lnTo>
                      <a:lnTo>
                        <a:pt x="414" y="312"/>
                      </a:lnTo>
                      <a:lnTo>
                        <a:pt x="402" y="300"/>
                      </a:lnTo>
                      <a:lnTo>
                        <a:pt x="390" y="276"/>
                      </a:lnTo>
                      <a:lnTo>
                        <a:pt x="390" y="264"/>
                      </a:lnTo>
                      <a:lnTo>
                        <a:pt x="396" y="258"/>
                      </a:lnTo>
                      <a:lnTo>
                        <a:pt x="408" y="252"/>
                      </a:lnTo>
                      <a:lnTo>
                        <a:pt x="504" y="252"/>
                      </a:lnTo>
                      <a:lnTo>
                        <a:pt x="486" y="234"/>
                      </a:lnTo>
                      <a:lnTo>
                        <a:pt x="480" y="222"/>
                      </a:lnTo>
                      <a:lnTo>
                        <a:pt x="468" y="216"/>
                      </a:lnTo>
                      <a:lnTo>
                        <a:pt x="462" y="204"/>
                      </a:lnTo>
                      <a:lnTo>
                        <a:pt x="462" y="186"/>
                      </a:lnTo>
                      <a:lnTo>
                        <a:pt x="456" y="168"/>
                      </a:lnTo>
                      <a:lnTo>
                        <a:pt x="456" y="132"/>
                      </a:lnTo>
                      <a:lnTo>
                        <a:pt x="462" y="132"/>
                      </a:lnTo>
                      <a:lnTo>
                        <a:pt x="462" y="96"/>
                      </a:lnTo>
                      <a:lnTo>
                        <a:pt x="456" y="84"/>
                      </a:lnTo>
                      <a:lnTo>
                        <a:pt x="444" y="78"/>
                      </a:lnTo>
                      <a:lnTo>
                        <a:pt x="450" y="42"/>
                      </a:lnTo>
                      <a:lnTo>
                        <a:pt x="444" y="42"/>
                      </a:lnTo>
                      <a:lnTo>
                        <a:pt x="438" y="36"/>
                      </a:lnTo>
                      <a:lnTo>
                        <a:pt x="426" y="36"/>
                      </a:lnTo>
                      <a:lnTo>
                        <a:pt x="420"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5" name="Burundi">
                  <a:extLst>
                    <a:ext uri="{FF2B5EF4-FFF2-40B4-BE49-F238E27FC236}">
                      <a16:creationId xmlns:a16="http://schemas.microsoft.com/office/drawing/2014/main" id="{78B8C512-00D0-4592-ADFA-D0AE398B1A45}"/>
                    </a:ext>
                  </a:extLst>
                </p:cNvPr>
                <p:cNvSpPr>
                  <a:spLocks/>
                </p:cNvSpPr>
                <p:nvPr/>
              </p:nvSpPr>
              <p:spPr bwMode="gray">
                <a:xfrm>
                  <a:off x="5017154" y="3456848"/>
                  <a:ext cx="50576" cy="62472"/>
                </a:xfrm>
                <a:custGeom>
                  <a:avLst/>
                  <a:gdLst>
                    <a:gd name="T0" fmla="*/ 2147483647 w 132"/>
                    <a:gd name="T1" fmla="*/ 2147483647 h 168"/>
                    <a:gd name="T2" fmla="*/ 2147483647 w 132"/>
                    <a:gd name="T3" fmla="*/ 2147483647 h 168"/>
                    <a:gd name="T4" fmla="*/ 2147483647 w 132"/>
                    <a:gd name="T5" fmla="*/ 2147483647 h 168"/>
                    <a:gd name="T6" fmla="*/ 2147483647 w 132"/>
                    <a:gd name="T7" fmla="*/ 2147483647 h 168"/>
                    <a:gd name="T8" fmla="*/ 2147483647 w 132"/>
                    <a:gd name="T9" fmla="*/ 2147483647 h 168"/>
                    <a:gd name="T10" fmla="*/ 2147483647 w 132"/>
                    <a:gd name="T11" fmla="*/ 2147483647 h 168"/>
                    <a:gd name="T12" fmla="*/ 2147483647 w 132"/>
                    <a:gd name="T13" fmla="*/ 2147483647 h 168"/>
                    <a:gd name="T14" fmla="*/ 2147483647 w 132"/>
                    <a:gd name="T15" fmla="*/ 2147483647 h 168"/>
                    <a:gd name="T16" fmla="*/ 2147483647 w 132"/>
                    <a:gd name="T17" fmla="*/ 2147483647 h 168"/>
                    <a:gd name="T18" fmla="*/ 2147483647 w 132"/>
                    <a:gd name="T19" fmla="*/ 2147483647 h 168"/>
                    <a:gd name="T20" fmla="*/ 2147483647 w 132"/>
                    <a:gd name="T21" fmla="*/ 2147483647 h 168"/>
                    <a:gd name="T22" fmla="*/ 2147483647 w 132"/>
                    <a:gd name="T23" fmla="*/ 2147483647 h 168"/>
                    <a:gd name="T24" fmla="*/ 2147483647 w 132"/>
                    <a:gd name="T25" fmla="*/ 2147483647 h 168"/>
                    <a:gd name="T26" fmla="*/ 2147483647 w 132"/>
                    <a:gd name="T27" fmla="*/ 2147483647 h 168"/>
                    <a:gd name="T28" fmla="*/ 2147483647 w 132"/>
                    <a:gd name="T29" fmla="*/ 2147483647 h 168"/>
                    <a:gd name="T30" fmla="*/ 2147483647 w 132"/>
                    <a:gd name="T31" fmla="*/ 2147483647 h 168"/>
                    <a:gd name="T32" fmla="*/ 2147483647 w 132"/>
                    <a:gd name="T33" fmla="*/ 2147483647 h 168"/>
                    <a:gd name="T34" fmla="*/ 2147483647 w 132"/>
                    <a:gd name="T35" fmla="*/ 2147483647 h 168"/>
                    <a:gd name="T36" fmla="*/ 2147483647 w 132"/>
                    <a:gd name="T37" fmla="*/ 2147483647 h 168"/>
                    <a:gd name="T38" fmla="*/ 2147483647 w 132"/>
                    <a:gd name="T39" fmla="*/ 2147483647 h 168"/>
                    <a:gd name="T40" fmla="*/ 2147483647 w 132"/>
                    <a:gd name="T41" fmla="*/ 2147483647 h 168"/>
                    <a:gd name="T42" fmla="*/ 2147483647 w 132"/>
                    <a:gd name="T43" fmla="*/ 2147483647 h 168"/>
                    <a:gd name="T44" fmla="*/ 2147483647 w 132"/>
                    <a:gd name="T45" fmla="*/ 2147483647 h 168"/>
                    <a:gd name="T46" fmla="*/ 2147483647 w 132"/>
                    <a:gd name="T47" fmla="*/ 0 h 168"/>
                    <a:gd name="T48" fmla="*/ 2147483647 w 132"/>
                    <a:gd name="T49" fmla="*/ 0 h 168"/>
                    <a:gd name="T50" fmla="*/ 2147483647 w 132"/>
                    <a:gd name="T51" fmla="*/ 0 h 168"/>
                    <a:gd name="T52" fmla="*/ 2147483647 w 132"/>
                    <a:gd name="T53" fmla="*/ 2147483647 h 168"/>
                    <a:gd name="T54" fmla="*/ 2147483647 w 132"/>
                    <a:gd name="T55" fmla="*/ 2147483647 h 168"/>
                    <a:gd name="T56" fmla="*/ 2147483647 w 132"/>
                    <a:gd name="T57" fmla="*/ 2147483647 h 168"/>
                    <a:gd name="T58" fmla="*/ 2147483647 w 132"/>
                    <a:gd name="T59" fmla="*/ 2147483647 h 168"/>
                    <a:gd name="T60" fmla="*/ 2147483647 w 132"/>
                    <a:gd name="T61" fmla="*/ 2147483647 h 168"/>
                    <a:gd name="T62" fmla="*/ 2147483647 w 132"/>
                    <a:gd name="T63" fmla="*/ 2147483647 h 168"/>
                    <a:gd name="T64" fmla="*/ 0 w 132"/>
                    <a:gd name="T65" fmla="*/ 2147483647 h 168"/>
                    <a:gd name="T66" fmla="*/ 2147483647 w 132"/>
                    <a:gd name="T67" fmla="*/ 2147483647 h 168"/>
                    <a:gd name="T68" fmla="*/ 2147483647 w 132"/>
                    <a:gd name="T69" fmla="*/ 2147483647 h 168"/>
                    <a:gd name="T70" fmla="*/ 2147483647 w 132"/>
                    <a:gd name="T71" fmla="*/ 2147483647 h 168"/>
                    <a:gd name="T72" fmla="*/ 2147483647 w 132"/>
                    <a:gd name="T73" fmla="*/ 2147483647 h 168"/>
                    <a:gd name="T74" fmla="*/ 2147483647 w 132"/>
                    <a:gd name="T75" fmla="*/ 2147483647 h 1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2"/>
                    <a:gd name="T115" fmla="*/ 0 h 168"/>
                    <a:gd name="T116" fmla="*/ 132 w 132"/>
                    <a:gd name="T117" fmla="*/ 168 h 1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2" h="168">
                      <a:moveTo>
                        <a:pt x="36" y="72"/>
                      </a:moveTo>
                      <a:lnTo>
                        <a:pt x="36" y="96"/>
                      </a:lnTo>
                      <a:lnTo>
                        <a:pt x="30" y="102"/>
                      </a:lnTo>
                      <a:lnTo>
                        <a:pt x="30" y="138"/>
                      </a:lnTo>
                      <a:lnTo>
                        <a:pt x="36" y="156"/>
                      </a:lnTo>
                      <a:lnTo>
                        <a:pt x="42" y="168"/>
                      </a:lnTo>
                      <a:lnTo>
                        <a:pt x="54" y="168"/>
                      </a:lnTo>
                      <a:lnTo>
                        <a:pt x="60" y="162"/>
                      </a:lnTo>
                      <a:lnTo>
                        <a:pt x="72" y="156"/>
                      </a:lnTo>
                      <a:lnTo>
                        <a:pt x="84" y="144"/>
                      </a:lnTo>
                      <a:lnTo>
                        <a:pt x="90" y="132"/>
                      </a:lnTo>
                      <a:lnTo>
                        <a:pt x="90" y="114"/>
                      </a:lnTo>
                      <a:lnTo>
                        <a:pt x="96" y="102"/>
                      </a:lnTo>
                      <a:lnTo>
                        <a:pt x="114" y="84"/>
                      </a:lnTo>
                      <a:lnTo>
                        <a:pt x="126" y="84"/>
                      </a:lnTo>
                      <a:lnTo>
                        <a:pt x="120" y="72"/>
                      </a:lnTo>
                      <a:lnTo>
                        <a:pt x="132" y="66"/>
                      </a:lnTo>
                      <a:lnTo>
                        <a:pt x="132" y="48"/>
                      </a:lnTo>
                      <a:lnTo>
                        <a:pt x="114" y="48"/>
                      </a:lnTo>
                      <a:lnTo>
                        <a:pt x="108" y="42"/>
                      </a:lnTo>
                      <a:lnTo>
                        <a:pt x="102" y="42"/>
                      </a:lnTo>
                      <a:lnTo>
                        <a:pt x="102" y="24"/>
                      </a:lnTo>
                      <a:lnTo>
                        <a:pt x="108" y="12"/>
                      </a:lnTo>
                      <a:lnTo>
                        <a:pt x="108" y="0"/>
                      </a:lnTo>
                      <a:lnTo>
                        <a:pt x="120" y="0"/>
                      </a:lnTo>
                      <a:lnTo>
                        <a:pt x="66" y="0"/>
                      </a:lnTo>
                      <a:lnTo>
                        <a:pt x="60" y="24"/>
                      </a:lnTo>
                      <a:lnTo>
                        <a:pt x="48" y="30"/>
                      </a:lnTo>
                      <a:lnTo>
                        <a:pt x="42" y="36"/>
                      </a:lnTo>
                      <a:lnTo>
                        <a:pt x="30" y="36"/>
                      </a:lnTo>
                      <a:lnTo>
                        <a:pt x="24" y="30"/>
                      </a:lnTo>
                      <a:lnTo>
                        <a:pt x="18" y="18"/>
                      </a:lnTo>
                      <a:lnTo>
                        <a:pt x="0" y="18"/>
                      </a:lnTo>
                      <a:lnTo>
                        <a:pt x="12" y="48"/>
                      </a:lnTo>
                      <a:lnTo>
                        <a:pt x="18" y="54"/>
                      </a:lnTo>
                      <a:lnTo>
                        <a:pt x="30" y="60"/>
                      </a:lnTo>
                      <a:lnTo>
                        <a:pt x="36" y="66"/>
                      </a:lnTo>
                      <a:lnTo>
                        <a:pt x="36" y="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6" name="Burkina Faso">
                  <a:extLst>
                    <a:ext uri="{FF2B5EF4-FFF2-40B4-BE49-F238E27FC236}">
                      <a16:creationId xmlns:a16="http://schemas.microsoft.com/office/drawing/2014/main" id="{28FF04EA-934E-4BFA-A4CB-76AACE9EC1D1}"/>
                    </a:ext>
                  </a:extLst>
                </p:cNvPr>
                <p:cNvSpPr>
                  <a:spLocks/>
                </p:cNvSpPr>
                <p:nvPr/>
              </p:nvSpPr>
              <p:spPr bwMode="gray">
                <a:xfrm>
                  <a:off x="4090424" y="2925841"/>
                  <a:ext cx="215691" cy="169566"/>
                </a:xfrm>
                <a:custGeom>
                  <a:avLst/>
                  <a:gdLst>
                    <a:gd name="T0" fmla="*/ 2147483647 w 570"/>
                    <a:gd name="T1" fmla="*/ 2147483647 h 450"/>
                    <a:gd name="T2" fmla="*/ 2147483647 w 570"/>
                    <a:gd name="T3" fmla="*/ 2147483647 h 450"/>
                    <a:gd name="T4" fmla="*/ 2147483647 w 570"/>
                    <a:gd name="T5" fmla="*/ 2147483647 h 450"/>
                    <a:gd name="T6" fmla="*/ 2147483647 w 570"/>
                    <a:gd name="T7" fmla="*/ 2147483647 h 450"/>
                    <a:gd name="T8" fmla="*/ 2147483647 w 570"/>
                    <a:gd name="T9" fmla="*/ 2147483647 h 450"/>
                    <a:gd name="T10" fmla="*/ 2147483647 w 570"/>
                    <a:gd name="T11" fmla="*/ 2147483647 h 450"/>
                    <a:gd name="T12" fmla="*/ 2147483647 w 570"/>
                    <a:gd name="T13" fmla="*/ 2147483647 h 450"/>
                    <a:gd name="T14" fmla="*/ 2147483647 w 570"/>
                    <a:gd name="T15" fmla="*/ 2147483647 h 450"/>
                    <a:gd name="T16" fmla="*/ 2147483647 w 570"/>
                    <a:gd name="T17" fmla="*/ 2147483647 h 450"/>
                    <a:gd name="T18" fmla="*/ 2147483647 w 570"/>
                    <a:gd name="T19" fmla="*/ 2147483647 h 450"/>
                    <a:gd name="T20" fmla="*/ 2147483647 w 570"/>
                    <a:gd name="T21" fmla="*/ 2147483647 h 450"/>
                    <a:gd name="T22" fmla="*/ 2147483647 w 570"/>
                    <a:gd name="T23" fmla="*/ 2147483647 h 450"/>
                    <a:gd name="T24" fmla="*/ 2147483647 w 570"/>
                    <a:gd name="T25" fmla="*/ 2147483647 h 450"/>
                    <a:gd name="T26" fmla="*/ 2147483647 w 570"/>
                    <a:gd name="T27" fmla="*/ 2147483647 h 450"/>
                    <a:gd name="T28" fmla="*/ 2147483647 w 570"/>
                    <a:gd name="T29" fmla="*/ 2147483647 h 450"/>
                    <a:gd name="T30" fmla="*/ 2147483647 w 570"/>
                    <a:gd name="T31" fmla="*/ 2147483647 h 450"/>
                    <a:gd name="T32" fmla="*/ 2147483647 w 570"/>
                    <a:gd name="T33" fmla="*/ 2147483647 h 450"/>
                    <a:gd name="T34" fmla="*/ 2147483647 w 570"/>
                    <a:gd name="T35" fmla="*/ 2147483647 h 450"/>
                    <a:gd name="T36" fmla="*/ 2147483647 w 570"/>
                    <a:gd name="T37" fmla="*/ 2147483647 h 450"/>
                    <a:gd name="T38" fmla="*/ 2147483647 w 570"/>
                    <a:gd name="T39" fmla="*/ 2147483647 h 450"/>
                    <a:gd name="T40" fmla="*/ 2147483647 w 570"/>
                    <a:gd name="T41" fmla="*/ 2147483647 h 450"/>
                    <a:gd name="T42" fmla="*/ 2147483647 w 570"/>
                    <a:gd name="T43" fmla="*/ 2147483647 h 450"/>
                    <a:gd name="T44" fmla="*/ 2147483647 w 570"/>
                    <a:gd name="T45" fmla="*/ 2147483647 h 450"/>
                    <a:gd name="T46" fmla="*/ 2147483647 w 570"/>
                    <a:gd name="T47" fmla="*/ 2147483647 h 450"/>
                    <a:gd name="T48" fmla="*/ 2147483647 w 570"/>
                    <a:gd name="T49" fmla="*/ 2147483647 h 450"/>
                    <a:gd name="T50" fmla="*/ 2147483647 w 570"/>
                    <a:gd name="T51" fmla="*/ 2147483647 h 450"/>
                    <a:gd name="T52" fmla="*/ 2147483647 w 570"/>
                    <a:gd name="T53" fmla="*/ 2147483647 h 450"/>
                    <a:gd name="T54" fmla="*/ 2147483647 w 570"/>
                    <a:gd name="T55" fmla="*/ 2147483647 h 450"/>
                    <a:gd name="T56" fmla="*/ 2147483647 w 570"/>
                    <a:gd name="T57" fmla="*/ 2147483647 h 450"/>
                    <a:gd name="T58" fmla="*/ 2147483647 w 570"/>
                    <a:gd name="T59" fmla="*/ 2147483647 h 450"/>
                    <a:gd name="T60" fmla="*/ 2147483647 w 570"/>
                    <a:gd name="T61" fmla="*/ 2147483647 h 450"/>
                    <a:gd name="T62" fmla="*/ 2147483647 w 570"/>
                    <a:gd name="T63" fmla="*/ 2147483647 h 450"/>
                    <a:gd name="T64" fmla="*/ 2147483647 w 570"/>
                    <a:gd name="T65" fmla="*/ 2147483647 h 450"/>
                    <a:gd name="T66" fmla="*/ 2147483647 w 570"/>
                    <a:gd name="T67" fmla="*/ 0 h 450"/>
                    <a:gd name="T68" fmla="*/ 2147483647 w 570"/>
                    <a:gd name="T69" fmla="*/ 2147483647 h 450"/>
                    <a:gd name="T70" fmla="*/ 2147483647 w 570"/>
                    <a:gd name="T71" fmla="*/ 2147483647 h 450"/>
                    <a:gd name="T72" fmla="*/ 2147483647 w 570"/>
                    <a:gd name="T73" fmla="*/ 2147483647 h 450"/>
                    <a:gd name="T74" fmla="*/ 2147483647 w 570"/>
                    <a:gd name="T75" fmla="*/ 2147483647 h 450"/>
                    <a:gd name="T76" fmla="*/ 2147483647 w 570"/>
                    <a:gd name="T77" fmla="*/ 2147483647 h 450"/>
                    <a:gd name="T78" fmla="*/ 2147483647 w 570"/>
                    <a:gd name="T79" fmla="*/ 2147483647 h 450"/>
                    <a:gd name="T80" fmla="*/ 2147483647 w 570"/>
                    <a:gd name="T81" fmla="*/ 2147483647 h 450"/>
                    <a:gd name="T82" fmla="*/ 2147483647 w 570"/>
                    <a:gd name="T83" fmla="*/ 2147483647 h 450"/>
                    <a:gd name="T84" fmla="*/ 2147483647 w 570"/>
                    <a:gd name="T85" fmla="*/ 2147483647 h 450"/>
                    <a:gd name="T86" fmla="*/ 2147483647 w 570"/>
                    <a:gd name="T87" fmla="*/ 2147483647 h 450"/>
                    <a:gd name="T88" fmla="*/ 2147483647 w 570"/>
                    <a:gd name="T89" fmla="*/ 2147483647 h 450"/>
                    <a:gd name="T90" fmla="*/ 2147483647 w 570"/>
                    <a:gd name="T91" fmla="*/ 2147483647 h 450"/>
                    <a:gd name="T92" fmla="*/ 2147483647 w 570"/>
                    <a:gd name="T93" fmla="*/ 2147483647 h 450"/>
                    <a:gd name="T94" fmla="*/ 2147483647 w 570"/>
                    <a:gd name="T95" fmla="*/ 2147483647 h 450"/>
                    <a:gd name="T96" fmla="*/ 2147483647 w 570"/>
                    <a:gd name="T97" fmla="*/ 2147483647 h 450"/>
                    <a:gd name="T98" fmla="*/ 2147483647 w 570"/>
                    <a:gd name="T99" fmla="*/ 2147483647 h 450"/>
                    <a:gd name="T100" fmla="*/ 2147483647 w 570"/>
                    <a:gd name="T101" fmla="*/ 2147483647 h 450"/>
                    <a:gd name="T102" fmla="*/ 2147483647 w 570"/>
                    <a:gd name="T103" fmla="*/ 2147483647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0"/>
                    <a:gd name="T157" fmla="*/ 0 h 450"/>
                    <a:gd name="T158" fmla="*/ 570 w 570"/>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0" h="450">
                      <a:moveTo>
                        <a:pt x="0" y="312"/>
                      </a:moveTo>
                      <a:lnTo>
                        <a:pt x="6" y="366"/>
                      </a:lnTo>
                      <a:lnTo>
                        <a:pt x="6" y="390"/>
                      </a:lnTo>
                      <a:lnTo>
                        <a:pt x="30" y="384"/>
                      </a:lnTo>
                      <a:lnTo>
                        <a:pt x="30" y="390"/>
                      </a:lnTo>
                      <a:lnTo>
                        <a:pt x="36" y="396"/>
                      </a:lnTo>
                      <a:lnTo>
                        <a:pt x="36" y="408"/>
                      </a:lnTo>
                      <a:lnTo>
                        <a:pt x="42" y="420"/>
                      </a:lnTo>
                      <a:lnTo>
                        <a:pt x="54" y="426"/>
                      </a:lnTo>
                      <a:lnTo>
                        <a:pt x="60" y="432"/>
                      </a:lnTo>
                      <a:lnTo>
                        <a:pt x="72" y="432"/>
                      </a:lnTo>
                      <a:lnTo>
                        <a:pt x="78" y="438"/>
                      </a:lnTo>
                      <a:lnTo>
                        <a:pt x="90" y="438"/>
                      </a:lnTo>
                      <a:lnTo>
                        <a:pt x="96" y="432"/>
                      </a:lnTo>
                      <a:lnTo>
                        <a:pt x="96" y="426"/>
                      </a:lnTo>
                      <a:lnTo>
                        <a:pt x="120" y="414"/>
                      </a:lnTo>
                      <a:lnTo>
                        <a:pt x="150" y="414"/>
                      </a:lnTo>
                      <a:lnTo>
                        <a:pt x="168" y="420"/>
                      </a:lnTo>
                      <a:lnTo>
                        <a:pt x="186" y="438"/>
                      </a:lnTo>
                      <a:lnTo>
                        <a:pt x="186" y="450"/>
                      </a:lnTo>
                      <a:lnTo>
                        <a:pt x="204" y="444"/>
                      </a:lnTo>
                      <a:lnTo>
                        <a:pt x="198" y="450"/>
                      </a:lnTo>
                      <a:lnTo>
                        <a:pt x="198" y="396"/>
                      </a:lnTo>
                      <a:lnTo>
                        <a:pt x="192" y="366"/>
                      </a:lnTo>
                      <a:lnTo>
                        <a:pt x="186" y="366"/>
                      </a:lnTo>
                      <a:lnTo>
                        <a:pt x="186" y="348"/>
                      </a:lnTo>
                      <a:lnTo>
                        <a:pt x="192" y="336"/>
                      </a:lnTo>
                      <a:lnTo>
                        <a:pt x="198" y="330"/>
                      </a:lnTo>
                      <a:lnTo>
                        <a:pt x="354" y="330"/>
                      </a:lnTo>
                      <a:lnTo>
                        <a:pt x="378" y="318"/>
                      </a:lnTo>
                      <a:lnTo>
                        <a:pt x="396" y="324"/>
                      </a:lnTo>
                      <a:lnTo>
                        <a:pt x="414" y="324"/>
                      </a:lnTo>
                      <a:lnTo>
                        <a:pt x="438" y="330"/>
                      </a:lnTo>
                      <a:lnTo>
                        <a:pt x="456" y="330"/>
                      </a:lnTo>
                      <a:lnTo>
                        <a:pt x="462" y="318"/>
                      </a:lnTo>
                      <a:lnTo>
                        <a:pt x="474" y="318"/>
                      </a:lnTo>
                      <a:lnTo>
                        <a:pt x="480" y="306"/>
                      </a:lnTo>
                      <a:lnTo>
                        <a:pt x="498" y="288"/>
                      </a:lnTo>
                      <a:lnTo>
                        <a:pt x="528" y="288"/>
                      </a:lnTo>
                      <a:lnTo>
                        <a:pt x="534" y="294"/>
                      </a:lnTo>
                      <a:lnTo>
                        <a:pt x="534" y="282"/>
                      </a:lnTo>
                      <a:lnTo>
                        <a:pt x="540" y="282"/>
                      </a:lnTo>
                      <a:lnTo>
                        <a:pt x="546" y="276"/>
                      </a:lnTo>
                      <a:lnTo>
                        <a:pt x="558" y="276"/>
                      </a:lnTo>
                      <a:lnTo>
                        <a:pt x="564" y="258"/>
                      </a:lnTo>
                      <a:lnTo>
                        <a:pt x="570" y="252"/>
                      </a:lnTo>
                      <a:lnTo>
                        <a:pt x="564" y="252"/>
                      </a:lnTo>
                      <a:lnTo>
                        <a:pt x="540" y="216"/>
                      </a:lnTo>
                      <a:lnTo>
                        <a:pt x="564" y="210"/>
                      </a:lnTo>
                      <a:lnTo>
                        <a:pt x="558" y="198"/>
                      </a:lnTo>
                      <a:lnTo>
                        <a:pt x="546" y="186"/>
                      </a:lnTo>
                      <a:lnTo>
                        <a:pt x="534" y="186"/>
                      </a:lnTo>
                      <a:lnTo>
                        <a:pt x="522" y="198"/>
                      </a:lnTo>
                      <a:lnTo>
                        <a:pt x="504" y="198"/>
                      </a:lnTo>
                      <a:lnTo>
                        <a:pt x="498" y="186"/>
                      </a:lnTo>
                      <a:lnTo>
                        <a:pt x="486" y="180"/>
                      </a:lnTo>
                      <a:lnTo>
                        <a:pt x="462" y="156"/>
                      </a:lnTo>
                      <a:lnTo>
                        <a:pt x="462" y="150"/>
                      </a:lnTo>
                      <a:lnTo>
                        <a:pt x="480" y="132"/>
                      </a:lnTo>
                      <a:lnTo>
                        <a:pt x="468" y="132"/>
                      </a:lnTo>
                      <a:lnTo>
                        <a:pt x="468" y="114"/>
                      </a:lnTo>
                      <a:lnTo>
                        <a:pt x="444" y="114"/>
                      </a:lnTo>
                      <a:lnTo>
                        <a:pt x="432" y="108"/>
                      </a:lnTo>
                      <a:lnTo>
                        <a:pt x="420" y="84"/>
                      </a:lnTo>
                      <a:lnTo>
                        <a:pt x="420" y="60"/>
                      </a:lnTo>
                      <a:lnTo>
                        <a:pt x="414" y="48"/>
                      </a:lnTo>
                      <a:lnTo>
                        <a:pt x="414" y="12"/>
                      </a:lnTo>
                      <a:lnTo>
                        <a:pt x="390" y="0"/>
                      </a:lnTo>
                      <a:lnTo>
                        <a:pt x="342" y="0"/>
                      </a:lnTo>
                      <a:lnTo>
                        <a:pt x="324" y="18"/>
                      </a:lnTo>
                      <a:lnTo>
                        <a:pt x="300" y="18"/>
                      </a:lnTo>
                      <a:lnTo>
                        <a:pt x="282" y="42"/>
                      </a:lnTo>
                      <a:lnTo>
                        <a:pt x="258" y="42"/>
                      </a:lnTo>
                      <a:lnTo>
                        <a:pt x="258" y="60"/>
                      </a:lnTo>
                      <a:lnTo>
                        <a:pt x="252" y="66"/>
                      </a:lnTo>
                      <a:lnTo>
                        <a:pt x="252" y="72"/>
                      </a:lnTo>
                      <a:lnTo>
                        <a:pt x="240" y="72"/>
                      </a:lnTo>
                      <a:lnTo>
                        <a:pt x="228" y="60"/>
                      </a:lnTo>
                      <a:lnTo>
                        <a:pt x="222" y="60"/>
                      </a:lnTo>
                      <a:lnTo>
                        <a:pt x="216" y="66"/>
                      </a:lnTo>
                      <a:lnTo>
                        <a:pt x="210" y="78"/>
                      </a:lnTo>
                      <a:lnTo>
                        <a:pt x="198" y="84"/>
                      </a:lnTo>
                      <a:lnTo>
                        <a:pt x="192" y="96"/>
                      </a:lnTo>
                      <a:lnTo>
                        <a:pt x="186" y="102"/>
                      </a:lnTo>
                      <a:lnTo>
                        <a:pt x="186" y="108"/>
                      </a:lnTo>
                      <a:lnTo>
                        <a:pt x="168" y="108"/>
                      </a:lnTo>
                      <a:lnTo>
                        <a:pt x="168" y="144"/>
                      </a:lnTo>
                      <a:lnTo>
                        <a:pt x="144" y="150"/>
                      </a:lnTo>
                      <a:lnTo>
                        <a:pt x="114" y="120"/>
                      </a:lnTo>
                      <a:lnTo>
                        <a:pt x="96" y="150"/>
                      </a:lnTo>
                      <a:lnTo>
                        <a:pt x="102" y="156"/>
                      </a:lnTo>
                      <a:lnTo>
                        <a:pt x="102" y="186"/>
                      </a:lnTo>
                      <a:lnTo>
                        <a:pt x="84" y="186"/>
                      </a:lnTo>
                      <a:lnTo>
                        <a:pt x="84" y="216"/>
                      </a:lnTo>
                      <a:lnTo>
                        <a:pt x="78" y="222"/>
                      </a:lnTo>
                      <a:lnTo>
                        <a:pt x="72" y="222"/>
                      </a:lnTo>
                      <a:lnTo>
                        <a:pt x="78" y="228"/>
                      </a:lnTo>
                      <a:lnTo>
                        <a:pt x="78" y="240"/>
                      </a:lnTo>
                      <a:lnTo>
                        <a:pt x="42" y="240"/>
                      </a:lnTo>
                      <a:lnTo>
                        <a:pt x="36" y="246"/>
                      </a:lnTo>
                      <a:lnTo>
                        <a:pt x="30" y="246"/>
                      </a:lnTo>
                      <a:lnTo>
                        <a:pt x="12" y="258"/>
                      </a:lnTo>
                      <a:lnTo>
                        <a:pt x="36" y="288"/>
                      </a:lnTo>
                      <a:lnTo>
                        <a:pt x="24" y="312"/>
                      </a:lnTo>
                      <a:lnTo>
                        <a:pt x="0" y="31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7" name="Botswana">
                  <a:extLst>
                    <a:ext uri="{FF2B5EF4-FFF2-40B4-BE49-F238E27FC236}">
                      <a16:creationId xmlns:a16="http://schemas.microsoft.com/office/drawing/2014/main" id="{44E4FBBB-5C92-47B7-9A75-25F641BCC8C3}"/>
                    </a:ext>
                  </a:extLst>
                </p:cNvPr>
                <p:cNvSpPr>
                  <a:spLocks/>
                </p:cNvSpPr>
                <p:nvPr/>
              </p:nvSpPr>
              <p:spPr bwMode="gray">
                <a:xfrm>
                  <a:off x="4767249" y="3922411"/>
                  <a:ext cx="245442" cy="275172"/>
                </a:xfrm>
                <a:custGeom>
                  <a:avLst/>
                  <a:gdLst>
                    <a:gd name="T0" fmla="*/ 2147483647 w 648"/>
                    <a:gd name="T1" fmla="*/ 2147483647 h 732"/>
                    <a:gd name="T2" fmla="*/ 2147483647 w 648"/>
                    <a:gd name="T3" fmla="*/ 2147483647 h 732"/>
                    <a:gd name="T4" fmla="*/ 2147483647 w 648"/>
                    <a:gd name="T5" fmla="*/ 2147483647 h 732"/>
                    <a:gd name="T6" fmla="*/ 2147483647 w 648"/>
                    <a:gd name="T7" fmla="*/ 2147483647 h 732"/>
                    <a:gd name="T8" fmla="*/ 2147483647 w 648"/>
                    <a:gd name="T9" fmla="*/ 2147483647 h 732"/>
                    <a:gd name="T10" fmla="*/ 2147483647 w 648"/>
                    <a:gd name="T11" fmla="*/ 2147483647 h 732"/>
                    <a:gd name="T12" fmla="*/ 2147483647 w 648"/>
                    <a:gd name="T13" fmla="*/ 2147483647 h 732"/>
                    <a:gd name="T14" fmla="*/ 2147483647 w 648"/>
                    <a:gd name="T15" fmla="*/ 2147483647 h 732"/>
                    <a:gd name="T16" fmla="*/ 2147483647 w 648"/>
                    <a:gd name="T17" fmla="*/ 2147483647 h 732"/>
                    <a:gd name="T18" fmla="*/ 2147483647 w 648"/>
                    <a:gd name="T19" fmla="*/ 2147483647 h 732"/>
                    <a:gd name="T20" fmla="*/ 2147483647 w 648"/>
                    <a:gd name="T21" fmla="*/ 2147483647 h 732"/>
                    <a:gd name="T22" fmla="*/ 2147483647 w 648"/>
                    <a:gd name="T23" fmla="*/ 2147483647 h 732"/>
                    <a:gd name="T24" fmla="*/ 2147483647 w 648"/>
                    <a:gd name="T25" fmla="*/ 2147483647 h 732"/>
                    <a:gd name="T26" fmla="*/ 2147483647 w 648"/>
                    <a:gd name="T27" fmla="*/ 2147483647 h 732"/>
                    <a:gd name="T28" fmla="*/ 2147483647 w 648"/>
                    <a:gd name="T29" fmla="*/ 2147483647 h 732"/>
                    <a:gd name="T30" fmla="*/ 2147483647 w 648"/>
                    <a:gd name="T31" fmla="*/ 2147483647 h 732"/>
                    <a:gd name="T32" fmla="*/ 2147483647 w 648"/>
                    <a:gd name="T33" fmla="*/ 2147483647 h 732"/>
                    <a:gd name="T34" fmla="*/ 2147483647 w 648"/>
                    <a:gd name="T35" fmla="*/ 2147483647 h 732"/>
                    <a:gd name="T36" fmla="*/ 2147483647 w 648"/>
                    <a:gd name="T37" fmla="*/ 2147483647 h 732"/>
                    <a:gd name="T38" fmla="*/ 2147483647 w 648"/>
                    <a:gd name="T39" fmla="*/ 2147483647 h 732"/>
                    <a:gd name="T40" fmla="*/ 2147483647 w 648"/>
                    <a:gd name="T41" fmla="*/ 2147483647 h 732"/>
                    <a:gd name="T42" fmla="*/ 2147483647 w 648"/>
                    <a:gd name="T43" fmla="*/ 2147483647 h 732"/>
                    <a:gd name="T44" fmla="*/ 2147483647 w 648"/>
                    <a:gd name="T45" fmla="*/ 2147483647 h 732"/>
                    <a:gd name="T46" fmla="*/ 2147483647 w 648"/>
                    <a:gd name="T47" fmla="*/ 2147483647 h 732"/>
                    <a:gd name="T48" fmla="*/ 2147483647 w 648"/>
                    <a:gd name="T49" fmla="*/ 2147483647 h 732"/>
                    <a:gd name="T50" fmla="*/ 2147483647 w 648"/>
                    <a:gd name="T51" fmla="*/ 2147483647 h 732"/>
                    <a:gd name="T52" fmla="*/ 2147483647 w 648"/>
                    <a:gd name="T53" fmla="*/ 2147483647 h 732"/>
                    <a:gd name="T54" fmla="*/ 2147483647 w 648"/>
                    <a:gd name="T55" fmla="*/ 2147483647 h 732"/>
                    <a:gd name="T56" fmla="*/ 2147483647 w 648"/>
                    <a:gd name="T57" fmla="*/ 2147483647 h 732"/>
                    <a:gd name="T58" fmla="*/ 2147483647 w 648"/>
                    <a:gd name="T59" fmla="*/ 2147483647 h 732"/>
                    <a:gd name="T60" fmla="*/ 2147483647 w 648"/>
                    <a:gd name="T61" fmla="*/ 2147483647 h 732"/>
                    <a:gd name="T62" fmla="*/ 2147483647 w 648"/>
                    <a:gd name="T63" fmla="*/ 2147483647 h 732"/>
                    <a:gd name="T64" fmla="*/ 2147483647 w 648"/>
                    <a:gd name="T65" fmla="*/ 2147483647 h 732"/>
                    <a:gd name="T66" fmla="*/ 2147483647 w 648"/>
                    <a:gd name="T67" fmla="*/ 2147483647 h 732"/>
                    <a:gd name="T68" fmla="*/ 2147483647 w 648"/>
                    <a:gd name="T69" fmla="*/ 2147483647 h 732"/>
                    <a:gd name="T70" fmla="*/ 2147483647 w 648"/>
                    <a:gd name="T71" fmla="*/ 2147483647 h 732"/>
                    <a:gd name="T72" fmla="*/ 2147483647 w 648"/>
                    <a:gd name="T73" fmla="*/ 2147483647 h 732"/>
                    <a:gd name="T74" fmla="*/ 2147483647 w 648"/>
                    <a:gd name="T75" fmla="*/ 2147483647 h 732"/>
                    <a:gd name="T76" fmla="*/ 2147483647 w 648"/>
                    <a:gd name="T77" fmla="*/ 2147483647 h 732"/>
                    <a:gd name="T78" fmla="*/ 2147483647 w 648"/>
                    <a:gd name="T79" fmla="*/ 2147483647 h 732"/>
                    <a:gd name="T80" fmla="*/ 2147483647 w 648"/>
                    <a:gd name="T81" fmla="*/ 2147483647 h 732"/>
                    <a:gd name="T82" fmla="*/ 2147483647 w 648"/>
                    <a:gd name="T83" fmla="*/ 2147483647 h 732"/>
                    <a:gd name="T84" fmla="*/ 2147483647 w 648"/>
                    <a:gd name="T85" fmla="*/ 2147483647 h 732"/>
                    <a:gd name="T86" fmla="*/ 2147483647 w 648"/>
                    <a:gd name="T87" fmla="*/ 2147483647 h 732"/>
                    <a:gd name="T88" fmla="*/ 2147483647 w 648"/>
                    <a:gd name="T89" fmla="*/ 2147483647 h 732"/>
                    <a:gd name="T90" fmla="*/ 2147483647 w 648"/>
                    <a:gd name="T91" fmla="*/ 2147483647 h 732"/>
                    <a:gd name="T92" fmla="*/ 2147483647 w 648"/>
                    <a:gd name="T93" fmla="*/ 2147483647 h 732"/>
                    <a:gd name="T94" fmla="*/ 2147483647 w 648"/>
                    <a:gd name="T95" fmla="*/ 0 h 732"/>
                    <a:gd name="T96" fmla="*/ 2147483647 w 648"/>
                    <a:gd name="T97" fmla="*/ 2147483647 h 732"/>
                    <a:gd name="T98" fmla="*/ 2147483647 w 648"/>
                    <a:gd name="T99" fmla="*/ 2147483647 h 732"/>
                    <a:gd name="T100" fmla="*/ 2147483647 w 648"/>
                    <a:gd name="T101" fmla="*/ 2147483647 h 732"/>
                    <a:gd name="T102" fmla="*/ 2147483647 w 648"/>
                    <a:gd name="T103" fmla="*/ 2147483647 h 732"/>
                    <a:gd name="T104" fmla="*/ 2147483647 w 648"/>
                    <a:gd name="T105" fmla="*/ 2147483647 h 732"/>
                    <a:gd name="T106" fmla="*/ 2147483647 w 648"/>
                    <a:gd name="T107" fmla="*/ 2147483647 h 732"/>
                    <a:gd name="T108" fmla="*/ 2147483647 w 648"/>
                    <a:gd name="T109" fmla="*/ 2147483647 h 732"/>
                    <a:gd name="T110" fmla="*/ 2147483647 w 648"/>
                    <a:gd name="T111" fmla="*/ 2147483647 h 732"/>
                    <a:gd name="T112" fmla="*/ 2147483647 w 648"/>
                    <a:gd name="T113" fmla="*/ 2147483647 h 732"/>
                    <a:gd name="T114" fmla="*/ 0 w 648"/>
                    <a:gd name="T115" fmla="*/ 2147483647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8"/>
                    <a:gd name="T175" fmla="*/ 0 h 732"/>
                    <a:gd name="T176" fmla="*/ 648 w 648"/>
                    <a:gd name="T177" fmla="*/ 732 h 7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8" h="732">
                      <a:moveTo>
                        <a:pt x="0" y="570"/>
                      </a:moveTo>
                      <a:lnTo>
                        <a:pt x="12" y="576"/>
                      </a:lnTo>
                      <a:lnTo>
                        <a:pt x="18" y="582"/>
                      </a:lnTo>
                      <a:lnTo>
                        <a:pt x="30" y="588"/>
                      </a:lnTo>
                      <a:lnTo>
                        <a:pt x="36" y="594"/>
                      </a:lnTo>
                      <a:lnTo>
                        <a:pt x="42" y="612"/>
                      </a:lnTo>
                      <a:lnTo>
                        <a:pt x="48" y="624"/>
                      </a:lnTo>
                      <a:lnTo>
                        <a:pt x="48" y="642"/>
                      </a:lnTo>
                      <a:lnTo>
                        <a:pt x="54" y="648"/>
                      </a:lnTo>
                      <a:lnTo>
                        <a:pt x="54" y="672"/>
                      </a:lnTo>
                      <a:lnTo>
                        <a:pt x="48" y="684"/>
                      </a:lnTo>
                      <a:lnTo>
                        <a:pt x="48" y="690"/>
                      </a:lnTo>
                      <a:lnTo>
                        <a:pt x="42" y="702"/>
                      </a:lnTo>
                      <a:lnTo>
                        <a:pt x="42" y="732"/>
                      </a:lnTo>
                      <a:lnTo>
                        <a:pt x="120" y="732"/>
                      </a:lnTo>
                      <a:lnTo>
                        <a:pt x="120" y="714"/>
                      </a:lnTo>
                      <a:lnTo>
                        <a:pt x="144" y="714"/>
                      </a:lnTo>
                      <a:lnTo>
                        <a:pt x="144" y="708"/>
                      </a:lnTo>
                      <a:lnTo>
                        <a:pt x="150" y="702"/>
                      </a:lnTo>
                      <a:lnTo>
                        <a:pt x="156" y="690"/>
                      </a:lnTo>
                      <a:lnTo>
                        <a:pt x="162" y="684"/>
                      </a:lnTo>
                      <a:lnTo>
                        <a:pt x="168" y="684"/>
                      </a:lnTo>
                      <a:lnTo>
                        <a:pt x="174" y="678"/>
                      </a:lnTo>
                      <a:lnTo>
                        <a:pt x="186" y="678"/>
                      </a:lnTo>
                      <a:lnTo>
                        <a:pt x="186" y="654"/>
                      </a:lnTo>
                      <a:lnTo>
                        <a:pt x="192" y="642"/>
                      </a:lnTo>
                      <a:lnTo>
                        <a:pt x="192" y="630"/>
                      </a:lnTo>
                      <a:lnTo>
                        <a:pt x="198" y="618"/>
                      </a:lnTo>
                      <a:lnTo>
                        <a:pt x="204" y="612"/>
                      </a:lnTo>
                      <a:lnTo>
                        <a:pt x="216" y="606"/>
                      </a:lnTo>
                      <a:lnTo>
                        <a:pt x="228" y="606"/>
                      </a:lnTo>
                      <a:lnTo>
                        <a:pt x="240" y="612"/>
                      </a:lnTo>
                      <a:lnTo>
                        <a:pt x="246" y="618"/>
                      </a:lnTo>
                      <a:lnTo>
                        <a:pt x="258" y="624"/>
                      </a:lnTo>
                      <a:lnTo>
                        <a:pt x="270" y="636"/>
                      </a:lnTo>
                      <a:lnTo>
                        <a:pt x="300" y="636"/>
                      </a:lnTo>
                      <a:lnTo>
                        <a:pt x="306" y="642"/>
                      </a:lnTo>
                      <a:lnTo>
                        <a:pt x="318" y="648"/>
                      </a:lnTo>
                      <a:lnTo>
                        <a:pt x="324" y="654"/>
                      </a:lnTo>
                      <a:lnTo>
                        <a:pt x="336" y="654"/>
                      </a:lnTo>
                      <a:lnTo>
                        <a:pt x="348" y="648"/>
                      </a:lnTo>
                      <a:lnTo>
                        <a:pt x="354" y="642"/>
                      </a:lnTo>
                      <a:lnTo>
                        <a:pt x="360" y="648"/>
                      </a:lnTo>
                      <a:lnTo>
                        <a:pt x="372" y="648"/>
                      </a:lnTo>
                      <a:lnTo>
                        <a:pt x="384" y="642"/>
                      </a:lnTo>
                      <a:lnTo>
                        <a:pt x="390" y="636"/>
                      </a:lnTo>
                      <a:lnTo>
                        <a:pt x="396" y="624"/>
                      </a:lnTo>
                      <a:lnTo>
                        <a:pt x="402" y="606"/>
                      </a:lnTo>
                      <a:lnTo>
                        <a:pt x="408" y="594"/>
                      </a:lnTo>
                      <a:lnTo>
                        <a:pt x="408" y="582"/>
                      </a:lnTo>
                      <a:lnTo>
                        <a:pt x="426" y="564"/>
                      </a:lnTo>
                      <a:lnTo>
                        <a:pt x="444" y="558"/>
                      </a:lnTo>
                      <a:lnTo>
                        <a:pt x="456" y="552"/>
                      </a:lnTo>
                      <a:lnTo>
                        <a:pt x="462" y="546"/>
                      </a:lnTo>
                      <a:lnTo>
                        <a:pt x="468" y="534"/>
                      </a:lnTo>
                      <a:lnTo>
                        <a:pt x="480" y="528"/>
                      </a:lnTo>
                      <a:lnTo>
                        <a:pt x="480" y="492"/>
                      </a:lnTo>
                      <a:lnTo>
                        <a:pt x="492" y="468"/>
                      </a:lnTo>
                      <a:lnTo>
                        <a:pt x="504" y="462"/>
                      </a:lnTo>
                      <a:lnTo>
                        <a:pt x="510" y="462"/>
                      </a:lnTo>
                      <a:lnTo>
                        <a:pt x="522" y="456"/>
                      </a:lnTo>
                      <a:lnTo>
                        <a:pt x="564" y="414"/>
                      </a:lnTo>
                      <a:lnTo>
                        <a:pt x="576" y="390"/>
                      </a:lnTo>
                      <a:lnTo>
                        <a:pt x="582" y="384"/>
                      </a:lnTo>
                      <a:lnTo>
                        <a:pt x="594" y="384"/>
                      </a:lnTo>
                      <a:lnTo>
                        <a:pt x="606" y="378"/>
                      </a:lnTo>
                      <a:lnTo>
                        <a:pt x="618" y="378"/>
                      </a:lnTo>
                      <a:lnTo>
                        <a:pt x="630" y="354"/>
                      </a:lnTo>
                      <a:lnTo>
                        <a:pt x="648" y="354"/>
                      </a:lnTo>
                      <a:lnTo>
                        <a:pt x="648" y="348"/>
                      </a:lnTo>
                      <a:lnTo>
                        <a:pt x="642" y="336"/>
                      </a:lnTo>
                      <a:lnTo>
                        <a:pt x="624" y="318"/>
                      </a:lnTo>
                      <a:lnTo>
                        <a:pt x="606" y="312"/>
                      </a:lnTo>
                      <a:lnTo>
                        <a:pt x="594" y="312"/>
                      </a:lnTo>
                      <a:lnTo>
                        <a:pt x="576" y="306"/>
                      </a:lnTo>
                      <a:lnTo>
                        <a:pt x="564" y="306"/>
                      </a:lnTo>
                      <a:lnTo>
                        <a:pt x="564" y="276"/>
                      </a:lnTo>
                      <a:lnTo>
                        <a:pt x="546" y="276"/>
                      </a:lnTo>
                      <a:lnTo>
                        <a:pt x="546" y="246"/>
                      </a:lnTo>
                      <a:lnTo>
                        <a:pt x="552" y="240"/>
                      </a:lnTo>
                      <a:lnTo>
                        <a:pt x="546" y="216"/>
                      </a:lnTo>
                      <a:lnTo>
                        <a:pt x="516" y="216"/>
                      </a:lnTo>
                      <a:lnTo>
                        <a:pt x="516" y="186"/>
                      </a:lnTo>
                      <a:lnTo>
                        <a:pt x="510" y="180"/>
                      </a:lnTo>
                      <a:lnTo>
                        <a:pt x="480" y="180"/>
                      </a:lnTo>
                      <a:lnTo>
                        <a:pt x="462" y="162"/>
                      </a:lnTo>
                      <a:lnTo>
                        <a:pt x="450" y="156"/>
                      </a:lnTo>
                      <a:lnTo>
                        <a:pt x="432" y="120"/>
                      </a:lnTo>
                      <a:lnTo>
                        <a:pt x="432" y="96"/>
                      </a:lnTo>
                      <a:lnTo>
                        <a:pt x="426" y="90"/>
                      </a:lnTo>
                      <a:lnTo>
                        <a:pt x="414" y="66"/>
                      </a:lnTo>
                      <a:lnTo>
                        <a:pt x="408" y="60"/>
                      </a:lnTo>
                      <a:lnTo>
                        <a:pt x="396" y="60"/>
                      </a:lnTo>
                      <a:lnTo>
                        <a:pt x="396" y="30"/>
                      </a:lnTo>
                      <a:lnTo>
                        <a:pt x="384" y="18"/>
                      </a:lnTo>
                      <a:lnTo>
                        <a:pt x="378" y="0"/>
                      </a:lnTo>
                      <a:lnTo>
                        <a:pt x="342" y="6"/>
                      </a:lnTo>
                      <a:lnTo>
                        <a:pt x="330" y="18"/>
                      </a:lnTo>
                      <a:lnTo>
                        <a:pt x="306" y="18"/>
                      </a:lnTo>
                      <a:lnTo>
                        <a:pt x="264" y="60"/>
                      </a:lnTo>
                      <a:lnTo>
                        <a:pt x="258" y="60"/>
                      </a:lnTo>
                      <a:lnTo>
                        <a:pt x="258" y="42"/>
                      </a:lnTo>
                      <a:lnTo>
                        <a:pt x="252" y="42"/>
                      </a:lnTo>
                      <a:lnTo>
                        <a:pt x="252" y="24"/>
                      </a:lnTo>
                      <a:lnTo>
                        <a:pt x="246" y="18"/>
                      </a:lnTo>
                      <a:lnTo>
                        <a:pt x="228" y="18"/>
                      </a:lnTo>
                      <a:lnTo>
                        <a:pt x="216" y="24"/>
                      </a:lnTo>
                      <a:lnTo>
                        <a:pt x="168" y="36"/>
                      </a:lnTo>
                      <a:lnTo>
                        <a:pt x="132" y="36"/>
                      </a:lnTo>
                      <a:lnTo>
                        <a:pt x="114" y="42"/>
                      </a:lnTo>
                      <a:lnTo>
                        <a:pt x="78" y="42"/>
                      </a:lnTo>
                      <a:lnTo>
                        <a:pt x="78" y="216"/>
                      </a:lnTo>
                      <a:lnTo>
                        <a:pt x="72" y="222"/>
                      </a:lnTo>
                      <a:lnTo>
                        <a:pt x="78" y="348"/>
                      </a:lnTo>
                      <a:lnTo>
                        <a:pt x="6" y="348"/>
                      </a:lnTo>
                      <a:lnTo>
                        <a:pt x="0" y="57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8" name="Benin">
                  <a:extLst>
                    <a:ext uri="{FF2B5EF4-FFF2-40B4-BE49-F238E27FC236}">
                      <a16:creationId xmlns:a16="http://schemas.microsoft.com/office/drawing/2014/main" id="{7DFFE08F-D760-40C5-95F9-F2798E5BFF12}"/>
                    </a:ext>
                  </a:extLst>
                </p:cNvPr>
                <p:cNvSpPr>
                  <a:spLocks/>
                </p:cNvSpPr>
                <p:nvPr/>
              </p:nvSpPr>
              <p:spPr bwMode="gray">
                <a:xfrm>
                  <a:off x="4260003" y="3006161"/>
                  <a:ext cx="84790" cy="187415"/>
                </a:xfrm>
                <a:custGeom>
                  <a:avLst/>
                  <a:gdLst>
                    <a:gd name="T0" fmla="*/ 2147483647 w 222"/>
                    <a:gd name="T1" fmla="*/ 2147483647 h 498"/>
                    <a:gd name="T2" fmla="*/ 2147483647 w 222"/>
                    <a:gd name="T3" fmla="*/ 2147483647 h 498"/>
                    <a:gd name="T4" fmla="*/ 2147483647 w 222"/>
                    <a:gd name="T5" fmla="*/ 2147483647 h 498"/>
                    <a:gd name="T6" fmla="*/ 2147483647 w 222"/>
                    <a:gd name="T7" fmla="*/ 2147483647 h 498"/>
                    <a:gd name="T8" fmla="*/ 2147483647 w 222"/>
                    <a:gd name="T9" fmla="*/ 2147483647 h 498"/>
                    <a:gd name="T10" fmla="*/ 2147483647 w 222"/>
                    <a:gd name="T11" fmla="*/ 2147483647 h 498"/>
                    <a:gd name="T12" fmla="*/ 2147483647 w 222"/>
                    <a:gd name="T13" fmla="*/ 2147483647 h 498"/>
                    <a:gd name="T14" fmla="*/ 2147483647 w 222"/>
                    <a:gd name="T15" fmla="*/ 2147483647 h 498"/>
                    <a:gd name="T16" fmla="*/ 2147483647 w 222"/>
                    <a:gd name="T17" fmla="*/ 2147483647 h 498"/>
                    <a:gd name="T18" fmla="*/ 2147483647 w 222"/>
                    <a:gd name="T19" fmla="*/ 2147483647 h 498"/>
                    <a:gd name="T20" fmla="*/ 2147483647 w 222"/>
                    <a:gd name="T21" fmla="*/ 2147483647 h 498"/>
                    <a:gd name="T22" fmla="*/ 2147483647 w 222"/>
                    <a:gd name="T23" fmla="*/ 2147483647 h 498"/>
                    <a:gd name="T24" fmla="*/ 2147483647 w 222"/>
                    <a:gd name="T25" fmla="*/ 2147483647 h 498"/>
                    <a:gd name="T26" fmla="*/ 2147483647 w 222"/>
                    <a:gd name="T27" fmla="*/ 2147483647 h 498"/>
                    <a:gd name="T28" fmla="*/ 2147483647 w 222"/>
                    <a:gd name="T29" fmla="*/ 2147483647 h 498"/>
                    <a:gd name="T30" fmla="*/ 2147483647 w 222"/>
                    <a:gd name="T31" fmla="*/ 2147483647 h 498"/>
                    <a:gd name="T32" fmla="*/ 2147483647 w 222"/>
                    <a:gd name="T33" fmla="*/ 2147483647 h 498"/>
                    <a:gd name="T34" fmla="*/ 2147483647 w 222"/>
                    <a:gd name="T35" fmla="*/ 2147483647 h 498"/>
                    <a:gd name="T36" fmla="*/ 2147483647 w 222"/>
                    <a:gd name="T37" fmla="*/ 2147483647 h 498"/>
                    <a:gd name="T38" fmla="*/ 2147483647 w 222"/>
                    <a:gd name="T39" fmla="*/ 2147483647 h 498"/>
                    <a:gd name="T40" fmla="*/ 2147483647 w 222"/>
                    <a:gd name="T41" fmla="*/ 2147483647 h 498"/>
                    <a:gd name="T42" fmla="*/ 2147483647 w 222"/>
                    <a:gd name="T43" fmla="*/ 2147483647 h 498"/>
                    <a:gd name="T44" fmla="*/ 2147483647 w 222"/>
                    <a:gd name="T45" fmla="*/ 2147483647 h 498"/>
                    <a:gd name="T46" fmla="*/ 0 w 222"/>
                    <a:gd name="T47" fmla="*/ 2147483647 h 498"/>
                    <a:gd name="T48" fmla="*/ 2147483647 w 222"/>
                    <a:gd name="T49" fmla="*/ 2147483647 h 498"/>
                    <a:gd name="T50" fmla="*/ 2147483647 w 222"/>
                    <a:gd name="T51" fmla="*/ 2147483647 h 498"/>
                    <a:gd name="T52" fmla="*/ 2147483647 w 222"/>
                    <a:gd name="T53" fmla="*/ 2147483647 h 498"/>
                    <a:gd name="T54" fmla="*/ 2147483647 w 222"/>
                    <a:gd name="T55" fmla="*/ 2147483647 h 498"/>
                    <a:gd name="T56" fmla="*/ 2147483647 w 222"/>
                    <a:gd name="T57" fmla="*/ 2147483647 h 498"/>
                    <a:gd name="T58" fmla="*/ 2147483647 w 222"/>
                    <a:gd name="T59" fmla="*/ 2147483647 h 498"/>
                    <a:gd name="T60" fmla="*/ 2147483647 w 222"/>
                    <a:gd name="T61" fmla="*/ 2147483647 h 498"/>
                    <a:gd name="T62" fmla="*/ 2147483647 w 222"/>
                    <a:gd name="T63" fmla="*/ 2147483647 h 498"/>
                    <a:gd name="T64" fmla="*/ 2147483647 w 222"/>
                    <a:gd name="T65" fmla="*/ 2147483647 h 498"/>
                    <a:gd name="T66" fmla="*/ 2147483647 w 222"/>
                    <a:gd name="T67" fmla="*/ 2147483647 h 498"/>
                    <a:gd name="T68" fmla="*/ 2147483647 w 222"/>
                    <a:gd name="T69" fmla="*/ 2147483647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498"/>
                    <a:gd name="T107" fmla="*/ 222 w 222"/>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498">
                      <a:moveTo>
                        <a:pt x="138" y="372"/>
                      </a:moveTo>
                      <a:lnTo>
                        <a:pt x="144" y="342"/>
                      </a:lnTo>
                      <a:lnTo>
                        <a:pt x="138" y="306"/>
                      </a:lnTo>
                      <a:lnTo>
                        <a:pt x="144" y="276"/>
                      </a:lnTo>
                      <a:lnTo>
                        <a:pt x="162" y="276"/>
                      </a:lnTo>
                      <a:lnTo>
                        <a:pt x="174" y="252"/>
                      </a:lnTo>
                      <a:lnTo>
                        <a:pt x="174" y="222"/>
                      </a:lnTo>
                      <a:lnTo>
                        <a:pt x="180" y="216"/>
                      </a:lnTo>
                      <a:lnTo>
                        <a:pt x="186" y="204"/>
                      </a:lnTo>
                      <a:lnTo>
                        <a:pt x="198" y="198"/>
                      </a:lnTo>
                      <a:lnTo>
                        <a:pt x="198" y="156"/>
                      </a:lnTo>
                      <a:lnTo>
                        <a:pt x="210" y="150"/>
                      </a:lnTo>
                      <a:lnTo>
                        <a:pt x="216" y="150"/>
                      </a:lnTo>
                      <a:lnTo>
                        <a:pt x="222" y="144"/>
                      </a:lnTo>
                      <a:lnTo>
                        <a:pt x="222" y="132"/>
                      </a:lnTo>
                      <a:lnTo>
                        <a:pt x="216" y="126"/>
                      </a:lnTo>
                      <a:lnTo>
                        <a:pt x="216" y="114"/>
                      </a:lnTo>
                      <a:lnTo>
                        <a:pt x="210" y="102"/>
                      </a:lnTo>
                      <a:lnTo>
                        <a:pt x="204" y="96"/>
                      </a:lnTo>
                      <a:lnTo>
                        <a:pt x="192" y="72"/>
                      </a:lnTo>
                      <a:lnTo>
                        <a:pt x="198" y="66"/>
                      </a:lnTo>
                      <a:lnTo>
                        <a:pt x="198" y="60"/>
                      </a:lnTo>
                      <a:lnTo>
                        <a:pt x="204" y="48"/>
                      </a:lnTo>
                      <a:lnTo>
                        <a:pt x="198" y="42"/>
                      </a:lnTo>
                      <a:lnTo>
                        <a:pt x="186" y="36"/>
                      </a:lnTo>
                      <a:lnTo>
                        <a:pt x="180" y="36"/>
                      </a:lnTo>
                      <a:lnTo>
                        <a:pt x="174" y="30"/>
                      </a:lnTo>
                      <a:lnTo>
                        <a:pt x="168" y="30"/>
                      </a:lnTo>
                      <a:lnTo>
                        <a:pt x="162" y="24"/>
                      </a:lnTo>
                      <a:lnTo>
                        <a:pt x="156" y="12"/>
                      </a:lnTo>
                      <a:lnTo>
                        <a:pt x="144" y="0"/>
                      </a:lnTo>
                      <a:lnTo>
                        <a:pt x="114" y="12"/>
                      </a:lnTo>
                      <a:lnTo>
                        <a:pt x="114" y="36"/>
                      </a:lnTo>
                      <a:lnTo>
                        <a:pt x="120" y="36"/>
                      </a:lnTo>
                      <a:lnTo>
                        <a:pt x="114" y="42"/>
                      </a:lnTo>
                      <a:lnTo>
                        <a:pt x="108" y="60"/>
                      </a:lnTo>
                      <a:lnTo>
                        <a:pt x="96" y="60"/>
                      </a:lnTo>
                      <a:lnTo>
                        <a:pt x="90" y="66"/>
                      </a:lnTo>
                      <a:lnTo>
                        <a:pt x="84" y="66"/>
                      </a:lnTo>
                      <a:lnTo>
                        <a:pt x="84" y="78"/>
                      </a:lnTo>
                      <a:lnTo>
                        <a:pt x="78" y="72"/>
                      </a:lnTo>
                      <a:lnTo>
                        <a:pt x="48" y="72"/>
                      </a:lnTo>
                      <a:lnTo>
                        <a:pt x="30" y="90"/>
                      </a:lnTo>
                      <a:lnTo>
                        <a:pt x="24" y="102"/>
                      </a:lnTo>
                      <a:lnTo>
                        <a:pt x="12" y="102"/>
                      </a:lnTo>
                      <a:lnTo>
                        <a:pt x="6" y="114"/>
                      </a:lnTo>
                      <a:lnTo>
                        <a:pt x="0" y="132"/>
                      </a:lnTo>
                      <a:lnTo>
                        <a:pt x="0" y="162"/>
                      </a:lnTo>
                      <a:lnTo>
                        <a:pt x="12" y="168"/>
                      </a:lnTo>
                      <a:lnTo>
                        <a:pt x="42" y="198"/>
                      </a:lnTo>
                      <a:lnTo>
                        <a:pt x="42" y="240"/>
                      </a:lnTo>
                      <a:lnTo>
                        <a:pt x="54" y="252"/>
                      </a:lnTo>
                      <a:lnTo>
                        <a:pt x="60" y="264"/>
                      </a:lnTo>
                      <a:lnTo>
                        <a:pt x="60" y="294"/>
                      </a:lnTo>
                      <a:lnTo>
                        <a:pt x="66" y="306"/>
                      </a:lnTo>
                      <a:lnTo>
                        <a:pt x="54" y="318"/>
                      </a:lnTo>
                      <a:lnTo>
                        <a:pt x="54" y="378"/>
                      </a:lnTo>
                      <a:lnTo>
                        <a:pt x="66" y="390"/>
                      </a:lnTo>
                      <a:lnTo>
                        <a:pt x="54" y="396"/>
                      </a:lnTo>
                      <a:lnTo>
                        <a:pt x="60" y="462"/>
                      </a:lnTo>
                      <a:lnTo>
                        <a:pt x="60" y="468"/>
                      </a:lnTo>
                      <a:lnTo>
                        <a:pt x="72" y="480"/>
                      </a:lnTo>
                      <a:lnTo>
                        <a:pt x="72" y="492"/>
                      </a:lnTo>
                      <a:lnTo>
                        <a:pt x="84" y="492"/>
                      </a:lnTo>
                      <a:lnTo>
                        <a:pt x="96" y="498"/>
                      </a:lnTo>
                      <a:lnTo>
                        <a:pt x="108" y="498"/>
                      </a:lnTo>
                      <a:lnTo>
                        <a:pt x="120" y="474"/>
                      </a:lnTo>
                      <a:lnTo>
                        <a:pt x="126" y="480"/>
                      </a:lnTo>
                      <a:lnTo>
                        <a:pt x="138" y="486"/>
                      </a:lnTo>
                      <a:lnTo>
                        <a:pt x="138" y="3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9" name="Angola">
                  <a:extLst>
                    <a:ext uri="{FF2B5EF4-FFF2-40B4-BE49-F238E27FC236}">
                      <a16:creationId xmlns:a16="http://schemas.microsoft.com/office/drawing/2014/main" id="{7C27B9BB-27B7-4261-8297-D735FE5A03B8}"/>
                    </a:ext>
                  </a:extLst>
                </p:cNvPr>
                <p:cNvSpPr>
                  <a:spLocks noEditPoints="1"/>
                </p:cNvSpPr>
                <p:nvPr/>
              </p:nvSpPr>
              <p:spPr bwMode="gray">
                <a:xfrm>
                  <a:off x="4551558" y="3511883"/>
                  <a:ext cx="334694" cy="417965"/>
                </a:xfrm>
                <a:custGeom>
                  <a:avLst/>
                  <a:gdLst>
                    <a:gd name="T0" fmla="*/ 2147483647 w 888"/>
                    <a:gd name="T1" fmla="*/ 2147483647 h 1104"/>
                    <a:gd name="T2" fmla="*/ 2147483647 w 888"/>
                    <a:gd name="T3" fmla="*/ 2147483647 h 1104"/>
                    <a:gd name="T4" fmla="*/ 2147483647 w 888"/>
                    <a:gd name="T5" fmla="*/ 2147483647 h 1104"/>
                    <a:gd name="T6" fmla="*/ 2147483647 w 888"/>
                    <a:gd name="T7" fmla="*/ 0 h 1104"/>
                    <a:gd name="T8" fmla="*/ 2147483647 w 888"/>
                    <a:gd name="T9" fmla="*/ 2147483647 h 1104"/>
                    <a:gd name="T10" fmla="*/ 2147483647 w 888"/>
                    <a:gd name="T11" fmla="*/ 2147483647 h 1104"/>
                    <a:gd name="T12" fmla="*/ 2147483647 w 888"/>
                    <a:gd name="T13" fmla="*/ 2147483647 h 1104"/>
                    <a:gd name="T14" fmla="*/ 2147483647 w 888"/>
                    <a:gd name="T15" fmla="*/ 2147483647 h 1104"/>
                    <a:gd name="T16" fmla="*/ 2147483647 w 888"/>
                    <a:gd name="T17" fmla="*/ 2147483647 h 1104"/>
                    <a:gd name="T18" fmla="*/ 2147483647 w 888"/>
                    <a:gd name="T19" fmla="*/ 2147483647 h 1104"/>
                    <a:gd name="T20" fmla="*/ 2147483647 w 888"/>
                    <a:gd name="T21" fmla="*/ 2147483647 h 1104"/>
                    <a:gd name="T22" fmla="*/ 2147483647 w 888"/>
                    <a:gd name="T23" fmla="*/ 2147483647 h 1104"/>
                    <a:gd name="T24" fmla="*/ 2147483647 w 888"/>
                    <a:gd name="T25" fmla="*/ 2147483647 h 1104"/>
                    <a:gd name="T26" fmla="*/ 2147483647 w 888"/>
                    <a:gd name="T27" fmla="*/ 2147483647 h 1104"/>
                    <a:gd name="T28" fmla="*/ 2147483647 w 888"/>
                    <a:gd name="T29" fmla="*/ 2147483647 h 1104"/>
                    <a:gd name="T30" fmla="*/ 2147483647 w 888"/>
                    <a:gd name="T31" fmla="*/ 2147483647 h 1104"/>
                    <a:gd name="T32" fmla="*/ 2147483647 w 888"/>
                    <a:gd name="T33" fmla="*/ 2147483647 h 1104"/>
                    <a:gd name="T34" fmla="*/ 2147483647 w 888"/>
                    <a:gd name="T35" fmla="*/ 2147483647 h 1104"/>
                    <a:gd name="T36" fmla="*/ 2147483647 w 888"/>
                    <a:gd name="T37" fmla="*/ 2147483647 h 1104"/>
                    <a:gd name="T38" fmla="*/ 2147483647 w 888"/>
                    <a:gd name="T39" fmla="*/ 2147483647 h 1104"/>
                    <a:gd name="T40" fmla="*/ 2147483647 w 888"/>
                    <a:gd name="T41" fmla="*/ 2147483647 h 1104"/>
                    <a:gd name="T42" fmla="*/ 2147483647 w 888"/>
                    <a:gd name="T43" fmla="*/ 2147483647 h 1104"/>
                    <a:gd name="T44" fmla="*/ 2147483647 w 888"/>
                    <a:gd name="T45" fmla="*/ 2147483647 h 1104"/>
                    <a:gd name="T46" fmla="*/ 2147483647 w 888"/>
                    <a:gd name="T47" fmla="*/ 2147483647 h 1104"/>
                    <a:gd name="T48" fmla="*/ 2147483647 w 888"/>
                    <a:gd name="T49" fmla="*/ 2147483647 h 1104"/>
                    <a:gd name="T50" fmla="*/ 2147483647 w 888"/>
                    <a:gd name="T51" fmla="*/ 2147483647 h 1104"/>
                    <a:gd name="T52" fmla="*/ 2147483647 w 888"/>
                    <a:gd name="T53" fmla="*/ 2147483647 h 1104"/>
                    <a:gd name="T54" fmla="*/ 2147483647 w 888"/>
                    <a:gd name="T55" fmla="*/ 2147483647 h 1104"/>
                    <a:gd name="T56" fmla="*/ 2147483647 w 888"/>
                    <a:gd name="T57" fmla="*/ 2147483647 h 1104"/>
                    <a:gd name="T58" fmla="*/ 2147483647 w 888"/>
                    <a:gd name="T59" fmla="*/ 2147483647 h 1104"/>
                    <a:gd name="T60" fmla="*/ 2147483647 w 888"/>
                    <a:gd name="T61" fmla="*/ 2147483647 h 1104"/>
                    <a:gd name="T62" fmla="*/ 2147483647 w 888"/>
                    <a:gd name="T63" fmla="*/ 2147483647 h 1104"/>
                    <a:gd name="T64" fmla="*/ 2147483647 w 888"/>
                    <a:gd name="T65" fmla="*/ 2147483647 h 1104"/>
                    <a:gd name="T66" fmla="*/ 2147483647 w 888"/>
                    <a:gd name="T67" fmla="*/ 2147483647 h 1104"/>
                    <a:gd name="T68" fmla="*/ 2147483647 w 888"/>
                    <a:gd name="T69" fmla="*/ 2147483647 h 1104"/>
                    <a:gd name="T70" fmla="*/ 2147483647 w 888"/>
                    <a:gd name="T71" fmla="*/ 2147483647 h 1104"/>
                    <a:gd name="T72" fmla="*/ 2147483647 w 888"/>
                    <a:gd name="T73" fmla="*/ 2147483647 h 1104"/>
                    <a:gd name="T74" fmla="*/ 0 w 888"/>
                    <a:gd name="T75" fmla="*/ 2147483647 h 1104"/>
                    <a:gd name="T76" fmla="*/ 2147483647 w 888"/>
                    <a:gd name="T77" fmla="*/ 2147483647 h 1104"/>
                    <a:gd name="T78" fmla="*/ 2147483647 w 888"/>
                    <a:gd name="T79" fmla="*/ 2147483647 h 1104"/>
                    <a:gd name="T80" fmla="*/ 2147483647 w 888"/>
                    <a:gd name="T81" fmla="*/ 2147483647 h 1104"/>
                    <a:gd name="T82" fmla="*/ 2147483647 w 888"/>
                    <a:gd name="T83" fmla="*/ 2147483647 h 1104"/>
                    <a:gd name="T84" fmla="*/ 2147483647 w 888"/>
                    <a:gd name="T85" fmla="*/ 2147483647 h 1104"/>
                    <a:gd name="T86" fmla="*/ 2147483647 w 888"/>
                    <a:gd name="T87" fmla="*/ 2147483647 h 1104"/>
                    <a:gd name="T88" fmla="*/ 2147483647 w 888"/>
                    <a:gd name="T89" fmla="*/ 2147483647 h 1104"/>
                    <a:gd name="T90" fmla="*/ 2147483647 w 888"/>
                    <a:gd name="T91" fmla="*/ 2147483647 h 1104"/>
                    <a:gd name="T92" fmla="*/ 2147483647 w 888"/>
                    <a:gd name="T93" fmla="*/ 2147483647 h 1104"/>
                    <a:gd name="T94" fmla="*/ 2147483647 w 888"/>
                    <a:gd name="T95" fmla="*/ 2147483647 h 1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8"/>
                    <a:gd name="T145" fmla="*/ 0 h 1104"/>
                    <a:gd name="T146" fmla="*/ 888 w 888"/>
                    <a:gd name="T147" fmla="*/ 1104 h 1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8" h="1104">
                      <a:moveTo>
                        <a:pt x="42" y="114"/>
                      </a:moveTo>
                      <a:lnTo>
                        <a:pt x="42" y="120"/>
                      </a:lnTo>
                      <a:lnTo>
                        <a:pt x="48" y="120"/>
                      </a:lnTo>
                      <a:lnTo>
                        <a:pt x="54" y="114"/>
                      </a:lnTo>
                      <a:lnTo>
                        <a:pt x="66" y="108"/>
                      </a:lnTo>
                      <a:lnTo>
                        <a:pt x="72" y="102"/>
                      </a:lnTo>
                      <a:lnTo>
                        <a:pt x="72" y="96"/>
                      </a:lnTo>
                      <a:lnTo>
                        <a:pt x="66" y="84"/>
                      </a:lnTo>
                      <a:lnTo>
                        <a:pt x="66" y="78"/>
                      </a:lnTo>
                      <a:lnTo>
                        <a:pt x="60" y="66"/>
                      </a:lnTo>
                      <a:lnTo>
                        <a:pt x="96" y="36"/>
                      </a:lnTo>
                      <a:lnTo>
                        <a:pt x="102" y="24"/>
                      </a:lnTo>
                      <a:lnTo>
                        <a:pt x="102" y="18"/>
                      </a:lnTo>
                      <a:lnTo>
                        <a:pt x="96" y="12"/>
                      </a:lnTo>
                      <a:lnTo>
                        <a:pt x="96" y="6"/>
                      </a:lnTo>
                      <a:lnTo>
                        <a:pt x="90" y="0"/>
                      </a:lnTo>
                      <a:lnTo>
                        <a:pt x="84" y="6"/>
                      </a:lnTo>
                      <a:lnTo>
                        <a:pt x="72" y="12"/>
                      </a:lnTo>
                      <a:lnTo>
                        <a:pt x="66" y="18"/>
                      </a:lnTo>
                      <a:lnTo>
                        <a:pt x="54" y="24"/>
                      </a:lnTo>
                      <a:lnTo>
                        <a:pt x="54" y="42"/>
                      </a:lnTo>
                      <a:lnTo>
                        <a:pt x="36" y="42"/>
                      </a:lnTo>
                      <a:lnTo>
                        <a:pt x="36" y="60"/>
                      </a:lnTo>
                      <a:lnTo>
                        <a:pt x="42" y="114"/>
                      </a:lnTo>
                      <a:close/>
                      <a:moveTo>
                        <a:pt x="876" y="546"/>
                      </a:moveTo>
                      <a:lnTo>
                        <a:pt x="852" y="546"/>
                      </a:lnTo>
                      <a:lnTo>
                        <a:pt x="840" y="534"/>
                      </a:lnTo>
                      <a:lnTo>
                        <a:pt x="828" y="534"/>
                      </a:lnTo>
                      <a:lnTo>
                        <a:pt x="828" y="546"/>
                      </a:lnTo>
                      <a:lnTo>
                        <a:pt x="804" y="552"/>
                      </a:lnTo>
                      <a:lnTo>
                        <a:pt x="774" y="546"/>
                      </a:lnTo>
                      <a:lnTo>
                        <a:pt x="768" y="564"/>
                      </a:lnTo>
                      <a:lnTo>
                        <a:pt x="762" y="558"/>
                      </a:lnTo>
                      <a:lnTo>
                        <a:pt x="756" y="558"/>
                      </a:lnTo>
                      <a:lnTo>
                        <a:pt x="750" y="552"/>
                      </a:lnTo>
                      <a:lnTo>
                        <a:pt x="750" y="528"/>
                      </a:lnTo>
                      <a:lnTo>
                        <a:pt x="756" y="522"/>
                      </a:lnTo>
                      <a:lnTo>
                        <a:pt x="756" y="510"/>
                      </a:lnTo>
                      <a:lnTo>
                        <a:pt x="762" y="498"/>
                      </a:lnTo>
                      <a:lnTo>
                        <a:pt x="762" y="480"/>
                      </a:lnTo>
                      <a:lnTo>
                        <a:pt x="756" y="474"/>
                      </a:lnTo>
                      <a:lnTo>
                        <a:pt x="744" y="450"/>
                      </a:lnTo>
                      <a:lnTo>
                        <a:pt x="732" y="432"/>
                      </a:lnTo>
                      <a:lnTo>
                        <a:pt x="726" y="414"/>
                      </a:lnTo>
                      <a:lnTo>
                        <a:pt x="726" y="402"/>
                      </a:lnTo>
                      <a:lnTo>
                        <a:pt x="732" y="396"/>
                      </a:lnTo>
                      <a:lnTo>
                        <a:pt x="732" y="384"/>
                      </a:lnTo>
                      <a:lnTo>
                        <a:pt x="726" y="360"/>
                      </a:lnTo>
                      <a:lnTo>
                        <a:pt x="732" y="354"/>
                      </a:lnTo>
                      <a:lnTo>
                        <a:pt x="738" y="342"/>
                      </a:lnTo>
                      <a:lnTo>
                        <a:pt x="738" y="330"/>
                      </a:lnTo>
                      <a:lnTo>
                        <a:pt x="732" y="318"/>
                      </a:lnTo>
                      <a:lnTo>
                        <a:pt x="720" y="306"/>
                      </a:lnTo>
                      <a:lnTo>
                        <a:pt x="714" y="288"/>
                      </a:lnTo>
                      <a:lnTo>
                        <a:pt x="726" y="270"/>
                      </a:lnTo>
                      <a:lnTo>
                        <a:pt x="726" y="246"/>
                      </a:lnTo>
                      <a:lnTo>
                        <a:pt x="636" y="246"/>
                      </a:lnTo>
                      <a:lnTo>
                        <a:pt x="636" y="222"/>
                      </a:lnTo>
                      <a:lnTo>
                        <a:pt x="624" y="216"/>
                      </a:lnTo>
                      <a:lnTo>
                        <a:pt x="612" y="216"/>
                      </a:lnTo>
                      <a:lnTo>
                        <a:pt x="612" y="222"/>
                      </a:lnTo>
                      <a:lnTo>
                        <a:pt x="564" y="222"/>
                      </a:lnTo>
                      <a:lnTo>
                        <a:pt x="558" y="228"/>
                      </a:lnTo>
                      <a:lnTo>
                        <a:pt x="558" y="234"/>
                      </a:lnTo>
                      <a:lnTo>
                        <a:pt x="564" y="240"/>
                      </a:lnTo>
                      <a:lnTo>
                        <a:pt x="570" y="252"/>
                      </a:lnTo>
                      <a:lnTo>
                        <a:pt x="570" y="264"/>
                      </a:lnTo>
                      <a:lnTo>
                        <a:pt x="558" y="264"/>
                      </a:lnTo>
                      <a:lnTo>
                        <a:pt x="558" y="270"/>
                      </a:lnTo>
                      <a:lnTo>
                        <a:pt x="552" y="276"/>
                      </a:lnTo>
                      <a:lnTo>
                        <a:pt x="552" y="294"/>
                      </a:lnTo>
                      <a:lnTo>
                        <a:pt x="510" y="300"/>
                      </a:lnTo>
                      <a:lnTo>
                        <a:pt x="504" y="294"/>
                      </a:lnTo>
                      <a:lnTo>
                        <a:pt x="492" y="300"/>
                      </a:lnTo>
                      <a:lnTo>
                        <a:pt x="468" y="300"/>
                      </a:lnTo>
                      <a:lnTo>
                        <a:pt x="462" y="312"/>
                      </a:lnTo>
                      <a:lnTo>
                        <a:pt x="450" y="306"/>
                      </a:lnTo>
                      <a:lnTo>
                        <a:pt x="420" y="306"/>
                      </a:lnTo>
                      <a:lnTo>
                        <a:pt x="408" y="282"/>
                      </a:lnTo>
                      <a:lnTo>
                        <a:pt x="402" y="276"/>
                      </a:lnTo>
                      <a:lnTo>
                        <a:pt x="402" y="264"/>
                      </a:lnTo>
                      <a:lnTo>
                        <a:pt x="390" y="252"/>
                      </a:lnTo>
                      <a:lnTo>
                        <a:pt x="384" y="252"/>
                      </a:lnTo>
                      <a:lnTo>
                        <a:pt x="378" y="246"/>
                      </a:lnTo>
                      <a:lnTo>
                        <a:pt x="378" y="240"/>
                      </a:lnTo>
                      <a:lnTo>
                        <a:pt x="384" y="234"/>
                      </a:lnTo>
                      <a:lnTo>
                        <a:pt x="384" y="210"/>
                      </a:lnTo>
                      <a:lnTo>
                        <a:pt x="366" y="192"/>
                      </a:lnTo>
                      <a:lnTo>
                        <a:pt x="366" y="150"/>
                      </a:lnTo>
                      <a:lnTo>
                        <a:pt x="354" y="138"/>
                      </a:lnTo>
                      <a:lnTo>
                        <a:pt x="348" y="126"/>
                      </a:lnTo>
                      <a:lnTo>
                        <a:pt x="342" y="120"/>
                      </a:lnTo>
                      <a:lnTo>
                        <a:pt x="324" y="120"/>
                      </a:lnTo>
                      <a:lnTo>
                        <a:pt x="318" y="126"/>
                      </a:lnTo>
                      <a:lnTo>
                        <a:pt x="294" y="126"/>
                      </a:lnTo>
                      <a:lnTo>
                        <a:pt x="276" y="132"/>
                      </a:lnTo>
                      <a:lnTo>
                        <a:pt x="246" y="132"/>
                      </a:lnTo>
                      <a:lnTo>
                        <a:pt x="234" y="126"/>
                      </a:lnTo>
                      <a:lnTo>
                        <a:pt x="222" y="126"/>
                      </a:lnTo>
                      <a:lnTo>
                        <a:pt x="210" y="132"/>
                      </a:lnTo>
                      <a:lnTo>
                        <a:pt x="180" y="132"/>
                      </a:lnTo>
                      <a:lnTo>
                        <a:pt x="168" y="126"/>
                      </a:lnTo>
                      <a:lnTo>
                        <a:pt x="144" y="132"/>
                      </a:lnTo>
                      <a:lnTo>
                        <a:pt x="132" y="126"/>
                      </a:lnTo>
                      <a:lnTo>
                        <a:pt x="126" y="132"/>
                      </a:lnTo>
                      <a:lnTo>
                        <a:pt x="102" y="126"/>
                      </a:lnTo>
                      <a:lnTo>
                        <a:pt x="54" y="150"/>
                      </a:lnTo>
                      <a:lnTo>
                        <a:pt x="48" y="156"/>
                      </a:lnTo>
                      <a:lnTo>
                        <a:pt x="54" y="168"/>
                      </a:lnTo>
                      <a:lnTo>
                        <a:pt x="60" y="174"/>
                      </a:lnTo>
                      <a:lnTo>
                        <a:pt x="66" y="186"/>
                      </a:lnTo>
                      <a:lnTo>
                        <a:pt x="90" y="210"/>
                      </a:lnTo>
                      <a:lnTo>
                        <a:pt x="84" y="234"/>
                      </a:lnTo>
                      <a:lnTo>
                        <a:pt x="90" y="246"/>
                      </a:lnTo>
                      <a:lnTo>
                        <a:pt x="108" y="270"/>
                      </a:lnTo>
                      <a:lnTo>
                        <a:pt x="120" y="300"/>
                      </a:lnTo>
                      <a:lnTo>
                        <a:pt x="126" y="330"/>
                      </a:lnTo>
                      <a:lnTo>
                        <a:pt x="120" y="354"/>
                      </a:lnTo>
                      <a:lnTo>
                        <a:pt x="108" y="378"/>
                      </a:lnTo>
                      <a:lnTo>
                        <a:pt x="102" y="384"/>
                      </a:lnTo>
                      <a:lnTo>
                        <a:pt x="102" y="408"/>
                      </a:lnTo>
                      <a:lnTo>
                        <a:pt x="114" y="408"/>
                      </a:lnTo>
                      <a:lnTo>
                        <a:pt x="114" y="438"/>
                      </a:lnTo>
                      <a:lnTo>
                        <a:pt x="126" y="474"/>
                      </a:lnTo>
                      <a:lnTo>
                        <a:pt x="150" y="510"/>
                      </a:lnTo>
                      <a:lnTo>
                        <a:pt x="162" y="552"/>
                      </a:lnTo>
                      <a:lnTo>
                        <a:pt x="162" y="582"/>
                      </a:lnTo>
                      <a:lnTo>
                        <a:pt x="156" y="594"/>
                      </a:lnTo>
                      <a:lnTo>
                        <a:pt x="150" y="612"/>
                      </a:lnTo>
                      <a:lnTo>
                        <a:pt x="144" y="618"/>
                      </a:lnTo>
                      <a:lnTo>
                        <a:pt x="138" y="630"/>
                      </a:lnTo>
                      <a:lnTo>
                        <a:pt x="144" y="642"/>
                      </a:lnTo>
                      <a:lnTo>
                        <a:pt x="144" y="660"/>
                      </a:lnTo>
                      <a:lnTo>
                        <a:pt x="138" y="666"/>
                      </a:lnTo>
                      <a:lnTo>
                        <a:pt x="126" y="672"/>
                      </a:lnTo>
                      <a:lnTo>
                        <a:pt x="108" y="672"/>
                      </a:lnTo>
                      <a:lnTo>
                        <a:pt x="96" y="690"/>
                      </a:lnTo>
                      <a:lnTo>
                        <a:pt x="102" y="714"/>
                      </a:lnTo>
                      <a:lnTo>
                        <a:pt x="78" y="714"/>
                      </a:lnTo>
                      <a:lnTo>
                        <a:pt x="66" y="720"/>
                      </a:lnTo>
                      <a:lnTo>
                        <a:pt x="66" y="750"/>
                      </a:lnTo>
                      <a:lnTo>
                        <a:pt x="60" y="762"/>
                      </a:lnTo>
                      <a:lnTo>
                        <a:pt x="60" y="774"/>
                      </a:lnTo>
                      <a:lnTo>
                        <a:pt x="48" y="786"/>
                      </a:lnTo>
                      <a:lnTo>
                        <a:pt x="48" y="858"/>
                      </a:lnTo>
                      <a:lnTo>
                        <a:pt x="36" y="864"/>
                      </a:lnTo>
                      <a:lnTo>
                        <a:pt x="30" y="870"/>
                      </a:lnTo>
                      <a:lnTo>
                        <a:pt x="30" y="912"/>
                      </a:lnTo>
                      <a:lnTo>
                        <a:pt x="6" y="930"/>
                      </a:lnTo>
                      <a:lnTo>
                        <a:pt x="6" y="966"/>
                      </a:lnTo>
                      <a:lnTo>
                        <a:pt x="18" y="984"/>
                      </a:lnTo>
                      <a:lnTo>
                        <a:pt x="0" y="1002"/>
                      </a:lnTo>
                      <a:lnTo>
                        <a:pt x="0" y="1044"/>
                      </a:lnTo>
                      <a:lnTo>
                        <a:pt x="18" y="1044"/>
                      </a:lnTo>
                      <a:lnTo>
                        <a:pt x="36" y="1038"/>
                      </a:lnTo>
                      <a:lnTo>
                        <a:pt x="42" y="1044"/>
                      </a:lnTo>
                      <a:lnTo>
                        <a:pt x="72" y="1044"/>
                      </a:lnTo>
                      <a:lnTo>
                        <a:pt x="90" y="1026"/>
                      </a:lnTo>
                      <a:lnTo>
                        <a:pt x="90" y="1020"/>
                      </a:lnTo>
                      <a:lnTo>
                        <a:pt x="120" y="1020"/>
                      </a:lnTo>
                      <a:lnTo>
                        <a:pt x="126" y="1026"/>
                      </a:lnTo>
                      <a:lnTo>
                        <a:pt x="132" y="1038"/>
                      </a:lnTo>
                      <a:lnTo>
                        <a:pt x="156" y="1050"/>
                      </a:lnTo>
                      <a:lnTo>
                        <a:pt x="168" y="1050"/>
                      </a:lnTo>
                      <a:lnTo>
                        <a:pt x="174" y="1056"/>
                      </a:lnTo>
                      <a:lnTo>
                        <a:pt x="480" y="1056"/>
                      </a:lnTo>
                      <a:lnTo>
                        <a:pt x="480" y="1062"/>
                      </a:lnTo>
                      <a:lnTo>
                        <a:pt x="504" y="1086"/>
                      </a:lnTo>
                      <a:lnTo>
                        <a:pt x="540" y="1086"/>
                      </a:lnTo>
                      <a:lnTo>
                        <a:pt x="546" y="1098"/>
                      </a:lnTo>
                      <a:lnTo>
                        <a:pt x="618" y="1092"/>
                      </a:lnTo>
                      <a:lnTo>
                        <a:pt x="624" y="1104"/>
                      </a:lnTo>
                      <a:lnTo>
                        <a:pt x="696" y="1104"/>
                      </a:lnTo>
                      <a:lnTo>
                        <a:pt x="732" y="1098"/>
                      </a:lnTo>
                      <a:lnTo>
                        <a:pt x="780" y="1092"/>
                      </a:lnTo>
                      <a:lnTo>
                        <a:pt x="816" y="1080"/>
                      </a:lnTo>
                      <a:lnTo>
                        <a:pt x="828" y="1074"/>
                      </a:lnTo>
                      <a:lnTo>
                        <a:pt x="738" y="984"/>
                      </a:lnTo>
                      <a:lnTo>
                        <a:pt x="738" y="966"/>
                      </a:lnTo>
                      <a:lnTo>
                        <a:pt x="732" y="954"/>
                      </a:lnTo>
                      <a:lnTo>
                        <a:pt x="732" y="702"/>
                      </a:lnTo>
                      <a:lnTo>
                        <a:pt x="858" y="708"/>
                      </a:lnTo>
                      <a:lnTo>
                        <a:pt x="864" y="708"/>
                      </a:lnTo>
                      <a:lnTo>
                        <a:pt x="876" y="696"/>
                      </a:lnTo>
                      <a:lnTo>
                        <a:pt x="876" y="672"/>
                      </a:lnTo>
                      <a:lnTo>
                        <a:pt x="870" y="666"/>
                      </a:lnTo>
                      <a:lnTo>
                        <a:pt x="870" y="660"/>
                      </a:lnTo>
                      <a:lnTo>
                        <a:pt x="888" y="654"/>
                      </a:lnTo>
                      <a:lnTo>
                        <a:pt x="876" y="642"/>
                      </a:lnTo>
                      <a:lnTo>
                        <a:pt x="876" y="588"/>
                      </a:lnTo>
                      <a:lnTo>
                        <a:pt x="882" y="588"/>
                      </a:lnTo>
                      <a:lnTo>
                        <a:pt x="888" y="582"/>
                      </a:lnTo>
                      <a:lnTo>
                        <a:pt x="888" y="564"/>
                      </a:lnTo>
                      <a:lnTo>
                        <a:pt x="876" y="552"/>
                      </a:lnTo>
                      <a:lnTo>
                        <a:pt x="876" y="54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0" name="Freeform 8">
                  <a:extLst>
                    <a:ext uri="{FF2B5EF4-FFF2-40B4-BE49-F238E27FC236}">
                      <a16:creationId xmlns:a16="http://schemas.microsoft.com/office/drawing/2014/main" id="{97994C41-FB43-4F31-8C5A-F5C662DDB008}"/>
                    </a:ext>
                  </a:extLst>
                </p:cNvPr>
                <p:cNvSpPr>
                  <a:spLocks/>
                </p:cNvSpPr>
                <p:nvPr/>
              </p:nvSpPr>
              <p:spPr bwMode="auto">
                <a:xfrm>
                  <a:off x="4817745" y="2674556"/>
                  <a:ext cx="454518" cy="445874"/>
                </a:xfrm>
                <a:custGeom>
                  <a:avLst/>
                  <a:gdLst/>
                  <a:ahLst/>
                  <a:cxnLst>
                    <a:cxn ang="0">
                      <a:pos x="442" y="199"/>
                    </a:cxn>
                    <a:cxn ang="0">
                      <a:pos x="446" y="187"/>
                    </a:cxn>
                    <a:cxn ang="0">
                      <a:pos x="475" y="170"/>
                    </a:cxn>
                    <a:cxn ang="0">
                      <a:pos x="458" y="149"/>
                    </a:cxn>
                    <a:cxn ang="0">
                      <a:pos x="439" y="137"/>
                    </a:cxn>
                    <a:cxn ang="0">
                      <a:pos x="434" y="114"/>
                    </a:cxn>
                    <a:cxn ang="0">
                      <a:pos x="430" y="90"/>
                    </a:cxn>
                    <a:cxn ang="0">
                      <a:pos x="423" y="55"/>
                    </a:cxn>
                    <a:cxn ang="0">
                      <a:pos x="413" y="29"/>
                    </a:cxn>
                    <a:cxn ang="0">
                      <a:pos x="387" y="0"/>
                    </a:cxn>
                    <a:cxn ang="0">
                      <a:pos x="361" y="26"/>
                    </a:cxn>
                    <a:cxn ang="0">
                      <a:pos x="345" y="31"/>
                    </a:cxn>
                    <a:cxn ang="0">
                      <a:pos x="326" y="47"/>
                    </a:cxn>
                    <a:cxn ang="0">
                      <a:pos x="269" y="36"/>
                    </a:cxn>
                    <a:cxn ang="0">
                      <a:pos x="87" y="36"/>
                    </a:cxn>
                    <a:cxn ang="0">
                      <a:pos x="54" y="241"/>
                    </a:cxn>
                    <a:cxn ang="0">
                      <a:pos x="30" y="246"/>
                    </a:cxn>
                    <a:cxn ang="0">
                      <a:pos x="30" y="258"/>
                    </a:cxn>
                    <a:cxn ang="0">
                      <a:pos x="16" y="272"/>
                    </a:cxn>
                    <a:cxn ang="0">
                      <a:pos x="7" y="300"/>
                    </a:cxn>
                    <a:cxn ang="0">
                      <a:pos x="9" y="322"/>
                    </a:cxn>
                    <a:cxn ang="0">
                      <a:pos x="4" y="338"/>
                    </a:cxn>
                    <a:cxn ang="0">
                      <a:pos x="19" y="338"/>
                    </a:cxn>
                    <a:cxn ang="0">
                      <a:pos x="21" y="373"/>
                    </a:cxn>
                    <a:cxn ang="0">
                      <a:pos x="35" y="385"/>
                    </a:cxn>
                    <a:cxn ang="0">
                      <a:pos x="42" y="409"/>
                    </a:cxn>
                    <a:cxn ang="0">
                      <a:pos x="54" y="430"/>
                    </a:cxn>
                    <a:cxn ang="0">
                      <a:pos x="47" y="451"/>
                    </a:cxn>
                    <a:cxn ang="0">
                      <a:pos x="49" y="463"/>
                    </a:cxn>
                    <a:cxn ang="0">
                      <a:pos x="73" y="456"/>
                    </a:cxn>
                    <a:cxn ang="0">
                      <a:pos x="78" y="447"/>
                    </a:cxn>
                    <a:cxn ang="0">
                      <a:pos x="89" y="418"/>
                    </a:cxn>
                    <a:cxn ang="0">
                      <a:pos x="115" y="416"/>
                    </a:cxn>
                    <a:cxn ang="0">
                      <a:pos x="125" y="430"/>
                    </a:cxn>
                    <a:cxn ang="0">
                      <a:pos x="170" y="433"/>
                    </a:cxn>
                    <a:cxn ang="0">
                      <a:pos x="196" y="442"/>
                    </a:cxn>
                    <a:cxn ang="0">
                      <a:pos x="234" y="411"/>
                    </a:cxn>
                    <a:cxn ang="0">
                      <a:pos x="290" y="409"/>
                    </a:cxn>
                    <a:cxn ang="0">
                      <a:pos x="307" y="364"/>
                    </a:cxn>
                    <a:cxn ang="0">
                      <a:pos x="331" y="347"/>
                    </a:cxn>
                    <a:cxn ang="0">
                      <a:pos x="328" y="378"/>
                    </a:cxn>
                    <a:cxn ang="0">
                      <a:pos x="335" y="399"/>
                    </a:cxn>
                    <a:cxn ang="0">
                      <a:pos x="357" y="423"/>
                    </a:cxn>
                    <a:cxn ang="0">
                      <a:pos x="359" y="409"/>
                    </a:cxn>
                    <a:cxn ang="0">
                      <a:pos x="368" y="399"/>
                    </a:cxn>
                    <a:cxn ang="0">
                      <a:pos x="380" y="385"/>
                    </a:cxn>
                    <a:cxn ang="0">
                      <a:pos x="382" y="364"/>
                    </a:cxn>
                    <a:cxn ang="0">
                      <a:pos x="392" y="343"/>
                    </a:cxn>
                    <a:cxn ang="0">
                      <a:pos x="411" y="333"/>
                    </a:cxn>
                    <a:cxn ang="0">
                      <a:pos x="418" y="303"/>
                    </a:cxn>
                    <a:cxn ang="0">
                      <a:pos x="416" y="262"/>
                    </a:cxn>
                    <a:cxn ang="0">
                      <a:pos x="423" y="239"/>
                    </a:cxn>
                    <a:cxn ang="0">
                      <a:pos x="430" y="215"/>
                    </a:cxn>
                  </a:cxnLst>
                  <a:rect l="0" t="0" r="r" b="b"/>
                  <a:pathLst>
                    <a:path w="475" h="466">
                      <a:moveTo>
                        <a:pt x="432" y="208"/>
                      </a:moveTo>
                      <a:lnTo>
                        <a:pt x="434" y="206"/>
                      </a:lnTo>
                      <a:lnTo>
                        <a:pt x="434" y="199"/>
                      </a:lnTo>
                      <a:lnTo>
                        <a:pt x="442" y="199"/>
                      </a:lnTo>
                      <a:lnTo>
                        <a:pt x="444" y="196"/>
                      </a:lnTo>
                      <a:lnTo>
                        <a:pt x="444" y="194"/>
                      </a:lnTo>
                      <a:lnTo>
                        <a:pt x="446" y="192"/>
                      </a:lnTo>
                      <a:lnTo>
                        <a:pt x="446" y="187"/>
                      </a:lnTo>
                      <a:lnTo>
                        <a:pt x="451" y="187"/>
                      </a:lnTo>
                      <a:lnTo>
                        <a:pt x="460" y="184"/>
                      </a:lnTo>
                      <a:lnTo>
                        <a:pt x="470" y="180"/>
                      </a:lnTo>
                      <a:lnTo>
                        <a:pt x="475" y="170"/>
                      </a:lnTo>
                      <a:lnTo>
                        <a:pt x="475" y="166"/>
                      </a:lnTo>
                      <a:lnTo>
                        <a:pt x="460" y="154"/>
                      </a:lnTo>
                      <a:lnTo>
                        <a:pt x="460" y="151"/>
                      </a:lnTo>
                      <a:lnTo>
                        <a:pt x="458" y="149"/>
                      </a:lnTo>
                      <a:lnTo>
                        <a:pt x="458" y="144"/>
                      </a:lnTo>
                      <a:lnTo>
                        <a:pt x="453" y="142"/>
                      </a:lnTo>
                      <a:lnTo>
                        <a:pt x="444" y="142"/>
                      </a:lnTo>
                      <a:lnTo>
                        <a:pt x="439" y="137"/>
                      </a:lnTo>
                      <a:lnTo>
                        <a:pt x="439" y="132"/>
                      </a:lnTo>
                      <a:lnTo>
                        <a:pt x="437" y="125"/>
                      </a:lnTo>
                      <a:lnTo>
                        <a:pt x="437" y="118"/>
                      </a:lnTo>
                      <a:lnTo>
                        <a:pt x="434" y="114"/>
                      </a:lnTo>
                      <a:lnTo>
                        <a:pt x="434" y="107"/>
                      </a:lnTo>
                      <a:lnTo>
                        <a:pt x="432" y="107"/>
                      </a:lnTo>
                      <a:lnTo>
                        <a:pt x="432" y="97"/>
                      </a:lnTo>
                      <a:lnTo>
                        <a:pt x="430" y="90"/>
                      </a:lnTo>
                      <a:lnTo>
                        <a:pt x="430" y="73"/>
                      </a:lnTo>
                      <a:lnTo>
                        <a:pt x="427" y="69"/>
                      </a:lnTo>
                      <a:lnTo>
                        <a:pt x="434" y="66"/>
                      </a:lnTo>
                      <a:lnTo>
                        <a:pt x="423" y="55"/>
                      </a:lnTo>
                      <a:lnTo>
                        <a:pt x="423" y="38"/>
                      </a:lnTo>
                      <a:lnTo>
                        <a:pt x="420" y="33"/>
                      </a:lnTo>
                      <a:lnTo>
                        <a:pt x="418" y="31"/>
                      </a:lnTo>
                      <a:lnTo>
                        <a:pt x="413" y="29"/>
                      </a:lnTo>
                      <a:lnTo>
                        <a:pt x="401" y="17"/>
                      </a:lnTo>
                      <a:lnTo>
                        <a:pt x="397" y="17"/>
                      </a:lnTo>
                      <a:lnTo>
                        <a:pt x="390" y="10"/>
                      </a:lnTo>
                      <a:lnTo>
                        <a:pt x="387" y="0"/>
                      </a:lnTo>
                      <a:lnTo>
                        <a:pt x="378" y="12"/>
                      </a:lnTo>
                      <a:lnTo>
                        <a:pt x="364" y="12"/>
                      </a:lnTo>
                      <a:lnTo>
                        <a:pt x="364" y="21"/>
                      </a:lnTo>
                      <a:lnTo>
                        <a:pt x="361" y="26"/>
                      </a:lnTo>
                      <a:lnTo>
                        <a:pt x="359" y="29"/>
                      </a:lnTo>
                      <a:lnTo>
                        <a:pt x="352" y="29"/>
                      </a:lnTo>
                      <a:lnTo>
                        <a:pt x="349" y="31"/>
                      </a:lnTo>
                      <a:lnTo>
                        <a:pt x="345" y="31"/>
                      </a:lnTo>
                      <a:lnTo>
                        <a:pt x="340" y="36"/>
                      </a:lnTo>
                      <a:lnTo>
                        <a:pt x="335" y="45"/>
                      </a:lnTo>
                      <a:lnTo>
                        <a:pt x="333" y="47"/>
                      </a:lnTo>
                      <a:lnTo>
                        <a:pt x="326" y="47"/>
                      </a:lnTo>
                      <a:lnTo>
                        <a:pt x="323" y="45"/>
                      </a:lnTo>
                      <a:lnTo>
                        <a:pt x="321" y="40"/>
                      </a:lnTo>
                      <a:lnTo>
                        <a:pt x="319" y="38"/>
                      </a:lnTo>
                      <a:lnTo>
                        <a:pt x="269" y="36"/>
                      </a:lnTo>
                      <a:lnTo>
                        <a:pt x="269" y="31"/>
                      </a:lnTo>
                      <a:lnTo>
                        <a:pt x="267" y="31"/>
                      </a:lnTo>
                      <a:lnTo>
                        <a:pt x="260" y="38"/>
                      </a:lnTo>
                      <a:lnTo>
                        <a:pt x="87" y="36"/>
                      </a:lnTo>
                      <a:lnTo>
                        <a:pt x="87" y="99"/>
                      </a:lnTo>
                      <a:lnTo>
                        <a:pt x="56" y="99"/>
                      </a:lnTo>
                      <a:lnTo>
                        <a:pt x="59" y="241"/>
                      </a:lnTo>
                      <a:lnTo>
                        <a:pt x="54" y="241"/>
                      </a:lnTo>
                      <a:lnTo>
                        <a:pt x="49" y="239"/>
                      </a:lnTo>
                      <a:lnTo>
                        <a:pt x="33" y="239"/>
                      </a:lnTo>
                      <a:lnTo>
                        <a:pt x="28" y="244"/>
                      </a:lnTo>
                      <a:lnTo>
                        <a:pt x="30" y="246"/>
                      </a:lnTo>
                      <a:lnTo>
                        <a:pt x="30" y="251"/>
                      </a:lnTo>
                      <a:lnTo>
                        <a:pt x="33" y="253"/>
                      </a:lnTo>
                      <a:lnTo>
                        <a:pt x="33" y="255"/>
                      </a:lnTo>
                      <a:lnTo>
                        <a:pt x="30" y="258"/>
                      </a:lnTo>
                      <a:lnTo>
                        <a:pt x="26" y="260"/>
                      </a:lnTo>
                      <a:lnTo>
                        <a:pt x="21" y="265"/>
                      </a:lnTo>
                      <a:lnTo>
                        <a:pt x="21" y="272"/>
                      </a:lnTo>
                      <a:lnTo>
                        <a:pt x="16" y="272"/>
                      </a:lnTo>
                      <a:lnTo>
                        <a:pt x="19" y="281"/>
                      </a:lnTo>
                      <a:lnTo>
                        <a:pt x="21" y="288"/>
                      </a:lnTo>
                      <a:lnTo>
                        <a:pt x="14" y="293"/>
                      </a:lnTo>
                      <a:lnTo>
                        <a:pt x="7" y="300"/>
                      </a:lnTo>
                      <a:lnTo>
                        <a:pt x="9" y="303"/>
                      </a:lnTo>
                      <a:lnTo>
                        <a:pt x="14" y="312"/>
                      </a:lnTo>
                      <a:lnTo>
                        <a:pt x="14" y="317"/>
                      </a:lnTo>
                      <a:lnTo>
                        <a:pt x="9" y="322"/>
                      </a:lnTo>
                      <a:lnTo>
                        <a:pt x="4" y="324"/>
                      </a:lnTo>
                      <a:lnTo>
                        <a:pt x="0" y="329"/>
                      </a:lnTo>
                      <a:lnTo>
                        <a:pt x="0" y="336"/>
                      </a:lnTo>
                      <a:lnTo>
                        <a:pt x="4" y="338"/>
                      </a:lnTo>
                      <a:lnTo>
                        <a:pt x="9" y="338"/>
                      </a:lnTo>
                      <a:lnTo>
                        <a:pt x="12" y="336"/>
                      </a:lnTo>
                      <a:lnTo>
                        <a:pt x="16" y="336"/>
                      </a:lnTo>
                      <a:lnTo>
                        <a:pt x="19" y="338"/>
                      </a:lnTo>
                      <a:lnTo>
                        <a:pt x="19" y="355"/>
                      </a:lnTo>
                      <a:lnTo>
                        <a:pt x="26" y="362"/>
                      </a:lnTo>
                      <a:lnTo>
                        <a:pt x="19" y="364"/>
                      </a:lnTo>
                      <a:lnTo>
                        <a:pt x="21" y="373"/>
                      </a:lnTo>
                      <a:lnTo>
                        <a:pt x="23" y="373"/>
                      </a:lnTo>
                      <a:lnTo>
                        <a:pt x="28" y="376"/>
                      </a:lnTo>
                      <a:lnTo>
                        <a:pt x="33" y="383"/>
                      </a:lnTo>
                      <a:lnTo>
                        <a:pt x="35" y="385"/>
                      </a:lnTo>
                      <a:lnTo>
                        <a:pt x="35" y="388"/>
                      </a:lnTo>
                      <a:lnTo>
                        <a:pt x="30" y="388"/>
                      </a:lnTo>
                      <a:lnTo>
                        <a:pt x="30" y="397"/>
                      </a:lnTo>
                      <a:lnTo>
                        <a:pt x="42" y="409"/>
                      </a:lnTo>
                      <a:lnTo>
                        <a:pt x="45" y="414"/>
                      </a:lnTo>
                      <a:lnTo>
                        <a:pt x="49" y="418"/>
                      </a:lnTo>
                      <a:lnTo>
                        <a:pt x="52" y="425"/>
                      </a:lnTo>
                      <a:lnTo>
                        <a:pt x="54" y="430"/>
                      </a:lnTo>
                      <a:lnTo>
                        <a:pt x="54" y="442"/>
                      </a:lnTo>
                      <a:lnTo>
                        <a:pt x="52" y="444"/>
                      </a:lnTo>
                      <a:lnTo>
                        <a:pt x="49" y="449"/>
                      </a:lnTo>
                      <a:lnTo>
                        <a:pt x="47" y="451"/>
                      </a:lnTo>
                      <a:lnTo>
                        <a:pt x="47" y="454"/>
                      </a:lnTo>
                      <a:lnTo>
                        <a:pt x="49" y="456"/>
                      </a:lnTo>
                      <a:lnTo>
                        <a:pt x="52" y="456"/>
                      </a:lnTo>
                      <a:lnTo>
                        <a:pt x="49" y="463"/>
                      </a:lnTo>
                      <a:lnTo>
                        <a:pt x="66" y="466"/>
                      </a:lnTo>
                      <a:lnTo>
                        <a:pt x="66" y="461"/>
                      </a:lnTo>
                      <a:lnTo>
                        <a:pt x="68" y="459"/>
                      </a:lnTo>
                      <a:lnTo>
                        <a:pt x="73" y="456"/>
                      </a:lnTo>
                      <a:lnTo>
                        <a:pt x="73" y="456"/>
                      </a:lnTo>
                      <a:lnTo>
                        <a:pt x="73" y="454"/>
                      </a:lnTo>
                      <a:lnTo>
                        <a:pt x="73" y="451"/>
                      </a:lnTo>
                      <a:lnTo>
                        <a:pt x="78" y="447"/>
                      </a:lnTo>
                      <a:lnTo>
                        <a:pt x="78" y="437"/>
                      </a:lnTo>
                      <a:lnTo>
                        <a:pt x="82" y="437"/>
                      </a:lnTo>
                      <a:lnTo>
                        <a:pt x="82" y="428"/>
                      </a:lnTo>
                      <a:lnTo>
                        <a:pt x="89" y="418"/>
                      </a:lnTo>
                      <a:lnTo>
                        <a:pt x="92" y="411"/>
                      </a:lnTo>
                      <a:lnTo>
                        <a:pt x="101" y="409"/>
                      </a:lnTo>
                      <a:lnTo>
                        <a:pt x="113" y="407"/>
                      </a:lnTo>
                      <a:lnTo>
                        <a:pt x="115" y="416"/>
                      </a:lnTo>
                      <a:lnTo>
                        <a:pt x="118" y="418"/>
                      </a:lnTo>
                      <a:lnTo>
                        <a:pt x="123" y="421"/>
                      </a:lnTo>
                      <a:lnTo>
                        <a:pt x="123" y="423"/>
                      </a:lnTo>
                      <a:lnTo>
                        <a:pt x="125" y="430"/>
                      </a:lnTo>
                      <a:lnTo>
                        <a:pt x="127" y="433"/>
                      </a:lnTo>
                      <a:lnTo>
                        <a:pt x="137" y="440"/>
                      </a:lnTo>
                      <a:lnTo>
                        <a:pt x="146" y="435"/>
                      </a:lnTo>
                      <a:lnTo>
                        <a:pt x="170" y="433"/>
                      </a:lnTo>
                      <a:lnTo>
                        <a:pt x="175" y="435"/>
                      </a:lnTo>
                      <a:lnTo>
                        <a:pt x="177" y="442"/>
                      </a:lnTo>
                      <a:lnTo>
                        <a:pt x="177" y="442"/>
                      </a:lnTo>
                      <a:lnTo>
                        <a:pt x="196" y="442"/>
                      </a:lnTo>
                      <a:lnTo>
                        <a:pt x="205" y="430"/>
                      </a:lnTo>
                      <a:lnTo>
                        <a:pt x="219" y="430"/>
                      </a:lnTo>
                      <a:lnTo>
                        <a:pt x="222" y="418"/>
                      </a:lnTo>
                      <a:lnTo>
                        <a:pt x="234" y="411"/>
                      </a:lnTo>
                      <a:lnTo>
                        <a:pt x="250" y="421"/>
                      </a:lnTo>
                      <a:lnTo>
                        <a:pt x="260" y="430"/>
                      </a:lnTo>
                      <a:lnTo>
                        <a:pt x="274" y="430"/>
                      </a:lnTo>
                      <a:lnTo>
                        <a:pt x="290" y="409"/>
                      </a:lnTo>
                      <a:lnTo>
                        <a:pt x="295" y="397"/>
                      </a:lnTo>
                      <a:lnTo>
                        <a:pt x="309" y="388"/>
                      </a:lnTo>
                      <a:lnTo>
                        <a:pt x="307" y="381"/>
                      </a:lnTo>
                      <a:lnTo>
                        <a:pt x="307" y="364"/>
                      </a:lnTo>
                      <a:lnTo>
                        <a:pt x="300" y="357"/>
                      </a:lnTo>
                      <a:lnTo>
                        <a:pt x="319" y="357"/>
                      </a:lnTo>
                      <a:lnTo>
                        <a:pt x="319" y="350"/>
                      </a:lnTo>
                      <a:lnTo>
                        <a:pt x="331" y="347"/>
                      </a:lnTo>
                      <a:lnTo>
                        <a:pt x="328" y="357"/>
                      </a:lnTo>
                      <a:lnTo>
                        <a:pt x="328" y="366"/>
                      </a:lnTo>
                      <a:lnTo>
                        <a:pt x="326" y="369"/>
                      </a:lnTo>
                      <a:lnTo>
                        <a:pt x="328" y="378"/>
                      </a:lnTo>
                      <a:lnTo>
                        <a:pt x="331" y="385"/>
                      </a:lnTo>
                      <a:lnTo>
                        <a:pt x="331" y="390"/>
                      </a:lnTo>
                      <a:lnTo>
                        <a:pt x="328" y="395"/>
                      </a:lnTo>
                      <a:lnTo>
                        <a:pt x="335" y="399"/>
                      </a:lnTo>
                      <a:lnTo>
                        <a:pt x="345" y="407"/>
                      </a:lnTo>
                      <a:lnTo>
                        <a:pt x="352" y="414"/>
                      </a:lnTo>
                      <a:lnTo>
                        <a:pt x="354" y="418"/>
                      </a:lnTo>
                      <a:lnTo>
                        <a:pt x="357" y="423"/>
                      </a:lnTo>
                      <a:lnTo>
                        <a:pt x="359" y="423"/>
                      </a:lnTo>
                      <a:lnTo>
                        <a:pt x="361" y="421"/>
                      </a:lnTo>
                      <a:lnTo>
                        <a:pt x="361" y="414"/>
                      </a:lnTo>
                      <a:lnTo>
                        <a:pt x="359" y="409"/>
                      </a:lnTo>
                      <a:lnTo>
                        <a:pt x="359" y="402"/>
                      </a:lnTo>
                      <a:lnTo>
                        <a:pt x="366" y="395"/>
                      </a:lnTo>
                      <a:lnTo>
                        <a:pt x="368" y="395"/>
                      </a:lnTo>
                      <a:lnTo>
                        <a:pt x="368" y="399"/>
                      </a:lnTo>
                      <a:lnTo>
                        <a:pt x="371" y="402"/>
                      </a:lnTo>
                      <a:lnTo>
                        <a:pt x="378" y="402"/>
                      </a:lnTo>
                      <a:lnTo>
                        <a:pt x="380" y="399"/>
                      </a:lnTo>
                      <a:lnTo>
                        <a:pt x="380" y="385"/>
                      </a:lnTo>
                      <a:lnTo>
                        <a:pt x="378" y="383"/>
                      </a:lnTo>
                      <a:lnTo>
                        <a:pt x="378" y="381"/>
                      </a:lnTo>
                      <a:lnTo>
                        <a:pt x="382" y="373"/>
                      </a:lnTo>
                      <a:lnTo>
                        <a:pt x="382" y="364"/>
                      </a:lnTo>
                      <a:lnTo>
                        <a:pt x="385" y="362"/>
                      </a:lnTo>
                      <a:lnTo>
                        <a:pt x="390" y="362"/>
                      </a:lnTo>
                      <a:lnTo>
                        <a:pt x="392" y="357"/>
                      </a:lnTo>
                      <a:lnTo>
                        <a:pt x="392" y="343"/>
                      </a:lnTo>
                      <a:lnTo>
                        <a:pt x="394" y="340"/>
                      </a:lnTo>
                      <a:lnTo>
                        <a:pt x="397" y="336"/>
                      </a:lnTo>
                      <a:lnTo>
                        <a:pt x="399" y="333"/>
                      </a:lnTo>
                      <a:lnTo>
                        <a:pt x="411" y="333"/>
                      </a:lnTo>
                      <a:lnTo>
                        <a:pt x="411" y="314"/>
                      </a:lnTo>
                      <a:lnTo>
                        <a:pt x="413" y="310"/>
                      </a:lnTo>
                      <a:lnTo>
                        <a:pt x="416" y="307"/>
                      </a:lnTo>
                      <a:lnTo>
                        <a:pt x="418" y="303"/>
                      </a:lnTo>
                      <a:lnTo>
                        <a:pt x="420" y="300"/>
                      </a:lnTo>
                      <a:lnTo>
                        <a:pt x="420" y="284"/>
                      </a:lnTo>
                      <a:lnTo>
                        <a:pt x="418" y="265"/>
                      </a:lnTo>
                      <a:lnTo>
                        <a:pt x="416" y="262"/>
                      </a:lnTo>
                      <a:lnTo>
                        <a:pt x="416" y="255"/>
                      </a:lnTo>
                      <a:lnTo>
                        <a:pt x="420" y="253"/>
                      </a:lnTo>
                      <a:lnTo>
                        <a:pt x="423" y="253"/>
                      </a:lnTo>
                      <a:lnTo>
                        <a:pt x="423" y="239"/>
                      </a:lnTo>
                      <a:lnTo>
                        <a:pt x="425" y="239"/>
                      </a:lnTo>
                      <a:lnTo>
                        <a:pt x="427" y="236"/>
                      </a:lnTo>
                      <a:lnTo>
                        <a:pt x="430" y="232"/>
                      </a:lnTo>
                      <a:lnTo>
                        <a:pt x="430" y="215"/>
                      </a:lnTo>
                      <a:lnTo>
                        <a:pt x="427" y="213"/>
                      </a:lnTo>
                      <a:lnTo>
                        <a:pt x="427" y="208"/>
                      </a:lnTo>
                      <a:lnTo>
                        <a:pt x="432" y="208"/>
                      </a:lnTo>
                      <a:close/>
                    </a:path>
                  </a:pathLst>
                </a:custGeom>
                <a:solidFill>
                  <a:schemeClr val="bg1">
                    <a:lumMod val="85000"/>
                  </a:schemeClr>
                </a:solidFill>
                <a:ln w="3175" algn="ctr">
                  <a:solidFill>
                    <a:schemeClr val="bg1">
                      <a:lumMod val="85000"/>
                    </a:schemeClr>
                  </a:solidFill>
                  <a:round/>
                  <a:headEnd/>
                  <a:tailEnd/>
                </a:ln>
                <a:effectLst/>
              </p:spPr>
              <p:txBody>
                <a:bodyPr vert="horz" wrap="none" lIns="90000" tIns="90000" rIns="72000" bIns="90000" numCol="1" anchor="ctr" anchorCtr="0" compatLnSpc="1">
                  <a:prstTxWarp prst="textNoShape">
                    <a:avLst/>
                  </a:prstTxWarp>
                </a:bodyPr>
                <a:lstStyle/>
                <a:p>
                  <a:pPr algn="ctr">
                    <a:spcBef>
                      <a:spcPct val="0"/>
                    </a:spcBef>
                  </a:pPr>
                  <a:endParaRPr lang="en-US" sz="1800" dirty="0">
                    <a:solidFill>
                      <a:schemeClr val="tx1"/>
                    </a:solidFill>
                    <a:latin typeface="Calibri" pitchFamily="34" charset="0"/>
                    <a:cs typeface="Calibri" pitchFamily="34" charset="0"/>
                  </a:endParaRPr>
                </a:p>
              </p:txBody>
            </p:sp>
            <p:sp>
              <p:nvSpPr>
                <p:cNvPr id="461" name="Freeform 9">
                  <a:extLst>
                    <a:ext uri="{FF2B5EF4-FFF2-40B4-BE49-F238E27FC236}">
                      <a16:creationId xmlns:a16="http://schemas.microsoft.com/office/drawing/2014/main" id="{9BFB348F-A079-4704-9E1D-AB280260A2B4}"/>
                    </a:ext>
                  </a:extLst>
                </p:cNvPr>
                <p:cNvSpPr>
                  <a:spLocks/>
                </p:cNvSpPr>
                <p:nvPr/>
              </p:nvSpPr>
              <p:spPr bwMode="auto">
                <a:xfrm>
                  <a:off x="4880898" y="3006569"/>
                  <a:ext cx="327253" cy="273648"/>
                </a:xfrm>
                <a:custGeom>
                  <a:avLst/>
                  <a:gdLst/>
                  <a:ahLst/>
                  <a:cxnLst>
                    <a:cxn ang="0">
                      <a:pos x="269" y="52"/>
                    </a:cxn>
                    <a:cxn ang="0">
                      <a:pos x="265" y="38"/>
                    </a:cxn>
                    <a:cxn ang="0">
                      <a:pos x="262" y="19"/>
                    </a:cxn>
                    <a:cxn ang="0">
                      <a:pos x="253" y="3"/>
                    </a:cxn>
                    <a:cxn ang="0">
                      <a:pos x="241" y="17"/>
                    </a:cxn>
                    <a:cxn ang="0">
                      <a:pos x="229" y="50"/>
                    </a:cxn>
                    <a:cxn ang="0">
                      <a:pos x="194" y="83"/>
                    </a:cxn>
                    <a:cxn ang="0">
                      <a:pos x="156" y="71"/>
                    </a:cxn>
                    <a:cxn ang="0">
                      <a:pos x="130" y="95"/>
                    </a:cxn>
                    <a:cxn ang="0">
                      <a:pos x="109" y="88"/>
                    </a:cxn>
                    <a:cxn ang="0">
                      <a:pos x="71" y="93"/>
                    </a:cxn>
                    <a:cxn ang="0">
                      <a:pos x="57" y="76"/>
                    </a:cxn>
                    <a:cxn ang="0">
                      <a:pos x="49" y="69"/>
                    </a:cxn>
                    <a:cxn ang="0">
                      <a:pos x="26" y="64"/>
                    </a:cxn>
                    <a:cxn ang="0">
                      <a:pos x="16" y="90"/>
                    </a:cxn>
                    <a:cxn ang="0">
                      <a:pos x="7" y="104"/>
                    </a:cxn>
                    <a:cxn ang="0">
                      <a:pos x="7" y="109"/>
                    </a:cxn>
                    <a:cxn ang="0">
                      <a:pos x="0" y="119"/>
                    </a:cxn>
                    <a:cxn ang="0">
                      <a:pos x="12" y="135"/>
                    </a:cxn>
                    <a:cxn ang="0">
                      <a:pos x="28" y="142"/>
                    </a:cxn>
                    <a:cxn ang="0">
                      <a:pos x="38" y="152"/>
                    </a:cxn>
                    <a:cxn ang="0">
                      <a:pos x="33" y="154"/>
                    </a:cxn>
                    <a:cxn ang="0">
                      <a:pos x="42" y="164"/>
                    </a:cxn>
                    <a:cxn ang="0">
                      <a:pos x="54" y="173"/>
                    </a:cxn>
                    <a:cxn ang="0">
                      <a:pos x="59" y="182"/>
                    </a:cxn>
                    <a:cxn ang="0">
                      <a:pos x="68" y="190"/>
                    </a:cxn>
                    <a:cxn ang="0">
                      <a:pos x="68" y="197"/>
                    </a:cxn>
                    <a:cxn ang="0">
                      <a:pos x="83" y="208"/>
                    </a:cxn>
                    <a:cxn ang="0">
                      <a:pos x="92" y="218"/>
                    </a:cxn>
                    <a:cxn ang="0">
                      <a:pos x="106" y="241"/>
                    </a:cxn>
                    <a:cxn ang="0">
                      <a:pos x="127" y="258"/>
                    </a:cxn>
                    <a:cxn ang="0">
                      <a:pos x="137" y="251"/>
                    </a:cxn>
                    <a:cxn ang="0">
                      <a:pos x="146" y="258"/>
                    </a:cxn>
                    <a:cxn ang="0">
                      <a:pos x="156" y="251"/>
                    </a:cxn>
                    <a:cxn ang="0">
                      <a:pos x="168" y="251"/>
                    </a:cxn>
                    <a:cxn ang="0">
                      <a:pos x="177" y="267"/>
                    </a:cxn>
                    <a:cxn ang="0">
                      <a:pos x="187" y="272"/>
                    </a:cxn>
                    <a:cxn ang="0">
                      <a:pos x="203" y="275"/>
                    </a:cxn>
                    <a:cxn ang="0">
                      <a:pos x="215" y="279"/>
                    </a:cxn>
                    <a:cxn ang="0">
                      <a:pos x="222" y="275"/>
                    </a:cxn>
                    <a:cxn ang="0">
                      <a:pos x="243" y="277"/>
                    </a:cxn>
                    <a:cxn ang="0">
                      <a:pos x="262" y="272"/>
                    </a:cxn>
                    <a:cxn ang="0">
                      <a:pos x="274" y="277"/>
                    </a:cxn>
                    <a:cxn ang="0">
                      <a:pos x="283" y="265"/>
                    </a:cxn>
                    <a:cxn ang="0">
                      <a:pos x="295" y="251"/>
                    </a:cxn>
                    <a:cxn ang="0">
                      <a:pos x="340" y="239"/>
                    </a:cxn>
                    <a:cxn ang="0">
                      <a:pos x="335" y="225"/>
                    </a:cxn>
                    <a:cxn ang="0">
                      <a:pos x="316" y="208"/>
                    </a:cxn>
                    <a:cxn ang="0">
                      <a:pos x="312" y="185"/>
                    </a:cxn>
                    <a:cxn ang="0">
                      <a:pos x="293" y="175"/>
                    </a:cxn>
                    <a:cxn ang="0">
                      <a:pos x="286" y="159"/>
                    </a:cxn>
                    <a:cxn ang="0">
                      <a:pos x="276" y="149"/>
                    </a:cxn>
                    <a:cxn ang="0">
                      <a:pos x="260" y="147"/>
                    </a:cxn>
                    <a:cxn ang="0">
                      <a:pos x="265" y="135"/>
                    </a:cxn>
                    <a:cxn ang="0">
                      <a:pos x="279" y="128"/>
                    </a:cxn>
                    <a:cxn ang="0">
                      <a:pos x="288" y="123"/>
                    </a:cxn>
                    <a:cxn ang="0">
                      <a:pos x="291" y="100"/>
                    </a:cxn>
                    <a:cxn ang="0">
                      <a:pos x="286" y="88"/>
                    </a:cxn>
                    <a:cxn ang="0">
                      <a:pos x="291" y="76"/>
                    </a:cxn>
                  </a:cxnLst>
                  <a:rect l="0" t="0" r="r" b="b"/>
                  <a:pathLst>
                    <a:path w="342" h="286">
                      <a:moveTo>
                        <a:pt x="286" y="67"/>
                      </a:moveTo>
                      <a:lnTo>
                        <a:pt x="279" y="60"/>
                      </a:lnTo>
                      <a:lnTo>
                        <a:pt x="269" y="52"/>
                      </a:lnTo>
                      <a:lnTo>
                        <a:pt x="262" y="48"/>
                      </a:lnTo>
                      <a:lnTo>
                        <a:pt x="265" y="43"/>
                      </a:lnTo>
                      <a:lnTo>
                        <a:pt x="265" y="38"/>
                      </a:lnTo>
                      <a:lnTo>
                        <a:pt x="262" y="31"/>
                      </a:lnTo>
                      <a:lnTo>
                        <a:pt x="260" y="22"/>
                      </a:lnTo>
                      <a:lnTo>
                        <a:pt x="262" y="19"/>
                      </a:lnTo>
                      <a:lnTo>
                        <a:pt x="262" y="10"/>
                      </a:lnTo>
                      <a:lnTo>
                        <a:pt x="265" y="0"/>
                      </a:lnTo>
                      <a:lnTo>
                        <a:pt x="253" y="3"/>
                      </a:lnTo>
                      <a:lnTo>
                        <a:pt x="253" y="10"/>
                      </a:lnTo>
                      <a:lnTo>
                        <a:pt x="234" y="10"/>
                      </a:lnTo>
                      <a:lnTo>
                        <a:pt x="241" y="17"/>
                      </a:lnTo>
                      <a:lnTo>
                        <a:pt x="241" y="34"/>
                      </a:lnTo>
                      <a:lnTo>
                        <a:pt x="243" y="41"/>
                      </a:lnTo>
                      <a:lnTo>
                        <a:pt x="229" y="50"/>
                      </a:lnTo>
                      <a:lnTo>
                        <a:pt x="224" y="62"/>
                      </a:lnTo>
                      <a:lnTo>
                        <a:pt x="208" y="83"/>
                      </a:lnTo>
                      <a:lnTo>
                        <a:pt x="194" y="83"/>
                      </a:lnTo>
                      <a:lnTo>
                        <a:pt x="184" y="74"/>
                      </a:lnTo>
                      <a:lnTo>
                        <a:pt x="168" y="64"/>
                      </a:lnTo>
                      <a:lnTo>
                        <a:pt x="156" y="71"/>
                      </a:lnTo>
                      <a:lnTo>
                        <a:pt x="153" y="83"/>
                      </a:lnTo>
                      <a:lnTo>
                        <a:pt x="139" y="83"/>
                      </a:lnTo>
                      <a:lnTo>
                        <a:pt x="130" y="95"/>
                      </a:lnTo>
                      <a:lnTo>
                        <a:pt x="111" y="95"/>
                      </a:lnTo>
                      <a:lnTo>
                        <a:pt x="111" y="95"/>
                      </a:lnTo>
                      <a:lnTo>
                        <a:pt x="109" y="88"/>
                      </a:lnTo>
                      <a:lnTo>
                        <a:pt x="104" y="86"/>
                      </a:lnTo>
                      <a:lnTo>
                        <a:pt x="80" y="88"/>
                      </a:lnTo>
                      <a:lnTo>
                        <a:pt x="71" y="93"/>
                      </a:lnTo>
                      <a:lnTo>
                        <a:pt x="61" y="86"/>
                      </a:lnTo>
                      <a:lnTo>
                        <a:pt x="59" y="83"/>
                      </a:lnTo>
                      <a:lnTo>
                        <a:pt x="57" y="76"/>
                      </a:lnTo>
                      <a:lnTo>
                        <a:pt x="57" y="74"/>
                      </a:lnTo>
                      <a:lnTo>
                        <a:pt x="52" y="71"/>
                      </a:lnTo>
                      <a:lnTo>
                        <a:pt x="49" y="69"/>
                      </a:lnTo>
                      <a:lnTo>
                        <a:pt x="47" y="60"/>
                      </a:lnTo>
                      <a:lnTo>
                        <a:pt x="35" y="62"/>
                      </a:lnTo>
                      <a:lnTo>
                        <a:pt x="26" y="64"/>
                      </a:lnTo>
                      <a:lnTo>
                        <a:pt x="23" y="71"/>
                      </a:lnTo>
                      <a:lnTo>
                        <a:pt x="16" y="81"/>
                      </a:lnTo>
                      <a:lnTo>
                        <a:pt x="16" y="90"/>
                      </a:lnTo>
                      <a:lnTo>
                        <a:pt x="12" y="90"/>
                      </a:lnTo>
                      <a:lnTo>
                        <a:pt x="12" y="100"/>
                      </a:lnTo>
                      <a:lnTo>
                        <a:pt x="7" y="104"/>
                      </a:lnTo>
                      <a:lnTo>
                        <a:pt x="7" y="107"/>
                      </a:lnTo>
                      <a:lnTo>
                        <a:pt x="7" y="109"/>
                      </a:lnTo>
                      <a:lnTo>
                        <a:pt x="7" y="109"/>
                      </a:lnTo>
                      <a:lnTo>
                        <a:pt x="2" y="112"/>
                      </a:lnTo>
                      <a:lnTo>
                        <a:pt x="0" y="114"/>
                      </a:lnTo>
                      <a:lnTo>
                        <a:pt x="0" y="119"/>
                      </a:lnTo>
                      <a:lnTo>
                        <a:pt x="2" y="119"/>
                      </a:lnTo>
                      <a:lnTo>
                        <a:pt x="2" y="130"/>
                      </a:lnTo>
                      <a:lnTo>
                        <a:pt x="12" y="135"/>
                      </a:lnTo>
                      <a:lnTo>
                        <a:pt x="26" y="135"/>
                      </a:lnTo>
                      <a:lnTo>
                        <a:pt x="26" y="142"/>
                      </a:lnTo>
                      <a:lnTo>
                        <a:pt x="28" y="142"/>
                      </a:lnTo>
                      <a:lnTo>
                        <a:pt x="33" y="145"/>
                      </a:lnTo>
                      <a:lnTo>
                        <a:pt x="38" y="149"/>
                      </a:lnTo>
                      <a:lnTo>
                        <a:pt x="38" y="152"/>
                      </a:lnTo>
                      <a:lnTo>
                        <a:pt x="35" y="152"/>
                      </a:lnTo>
                      <a:lnTo>
                        <a:pt x="35" y="154"/>
                      </a:lnTo>
                      <a:lnTo>
                        <a:pt x="33" y="154"/>
                      </a:lnTo>
                      <a:lnTo>
                        <a:pt x="33" y="156"/>
                      </a:lnTo>
                      <a:lnTo>
                        <a:pt x="38" y="161"/>
                      </a:lnTo>
                      <a:lnTo>
                        <a:pt x="42" y="164"/>
                      </a:lnTo>
                      <a:lnTo>
                        <a:pt x="45" y="164"/>
                      </a:lnTo>
                      <a:lnTo>
                        <a:pt x="49" y="166"/>
                      </a:lnTo>
                      <a:lnTo>
                        <a:pt x="54" y="173"/>
                      </a:lnTo>
                      <a:lnTo>
                        <a:pt x="57" y="178"/>
                      </a:lnTo>
                      <a:lnTo>
                        <a:pt x="59" y="180"/>
                      </a:lnTo>
                      <a:lnTo>
                        <a:pt x="59" y="182"/>
                      </a:lnTo>
                      <a:lnTo>
                        <a:pt x="66" y="182"/>
                      </a:lnTo>
                      <a:lnTo>
                        <a:pt x="68" y="185"/>
                      </a:lnTo>
                      <a:lnTo>
                        <a:pt x="68" y="190"/>
                      </a:lnTo>
                      <a:lnTo>
                        <a:pt x="64" y="190"/>
                      </a:lnTo>
                      <a:lnTo>
                        <a:pt x="64" y="192"/>
                      </a:lnTo>
                      <a:lnTo>
                        <a:pt x="68" y="197"/>
                      </a:lnTo>
                      <a:lnTo>
                        <a:pt x="68" y="204"/>
                      </a:lnTo>
                      <a:lnTo>
                        <a:pt x="80" y="206"/>
                      </a:lnTo>
                      <a:lnTo>
                        <a:pt x="83" y="208"/>
                      </a:lnTo>
                      <a:lnTo>
                        <a:pt x="87" y="211"/>
                      </a:lnTo>
                      <a:lnTo>
                        <a:pt x="90" y="213"/>
                      </a:lnTo>
                      <a:lnTo>
                        <a:pt x="92" y="218"/>
                      </a:lnTo>
                      <a:lnTo>
                        <a:pt x="92" y="227"/>
                      </a:lnTo>
                      <a:lnTo>
                        <a:pt x="94" y="232"/>
                      </a:lnTo>
                      <a:lnTo>
                        <a:pt x="106" y="241"/>
                      </a:lnTo>
                      <a:lnTo>
                        <a:pt x="106" y="251"/>
                      </a:lnTo>
                      <a:lnTo>
                        <a:pt x="125" y="260"/>
                      </a:lnTo>
                      <a:lnTo>
                        <a:pt x="127" y="258"/>
                      </a:lnTo>
                      <a:lnTo>
                        <a:pt x="130" y="253"/>
                      </a:lnTo>
                      <a:lnTo>
                        <a:pt x="132" y="251"/>
                      </a:lnTo>
                      <a:lnTo>
                        <a:pt x="137" y="251"/>
                      </a:lnTo>
                      <a:lnTo>
                        <a:pt x="142" y="253"/>
                      </a:lnTo>
                      <a:lnTo>
                        <a:pt x="142" y="256"/>
                      </a:lnTo>
                      <a:lnTo>
                        <a:pt x="146" y="258"/>
                      </a:lnTo>
                      <a:lnTo>
                        <a:pt x="149" y="258"/>
                      </a:lnTo>
                      <a:lnTo>
                        <a:pt x="156" y="253"/>
                      </a:lnTo>
                      <a:lnTo>
                        <a:pt x="156" y="251"/>
                      </a:lnTo>
                      <a:lnTo>
                        <a:pt x="161" y="246"/>
                      </a:lnTo>
                      <a:lnTo>
                        <a:pt x="163" y="249"/>
                      </a:lnTo>
                      <a:lnTo>
                        <a:pt x="168" y="251"/>
                      </a:lnTo>
                      <a:lnTo>
                        <a:pt x="170" y="258"/>
                      </a:lnTo>
                      <a:lnTo>
                        <a:pt x="172" y="263"/>
                      </a:lnTo>
                      <a:lnTo>
                        <a:pt x="177" y="267"/>
                      </a:lnTo>
                      <a:lnTo>
                        <a:pt x="182" y="270"/>
                      </a:lnTo>
                      <a:lnTo>
                        <a:pt x="184" y="272"/>
                      </a:lnTo>
                      <a:lnTo>
                        <a:pt x="187" y="272"/>
                      </a:lnTo>
                      <a:lnTo>
                        <a:pt x="189" y="282"/>
                      </a:lnTo>
                      <a:lnTo>
                        <a:pt x="196" y="282"/>
                      </a:lnTo>
                      <a:lnTo>
                        <a:pt x="203" y="275"/>
                      </a:lnTo>
                      <a:lnTo>
                        <a:pt x="208" y="275"/>
                      </a:lnTo>
                      <a:lnTo>
                        <a:pt x="210" y="277"/>
                      </a:lnTo>
                      <a:lnTo>
                        <a:pt x="215" y="279"/>
                      </a:lnTo>
                      <a:lnTo>
                        <a:pt x="220" y="279"/>
                      </a:lnTo>
                      <a:lnTo>
                        <a:pt x="220" y="277"/>
                      </a:lnTo>
                      <a:lnTo>
                        <a:pt x="222" y="275"/>
                      </a:lnTo>
                      <a:lnTo>
                        <a:pt x="224" y="275"/>
                      </a:lnTo>
                      <a:lnTo>
                        <a:pt x="236" y="286"/>
                      </a:lnTo>
                      <a:lnTo>
                        <a:pt x="243" y="277"/>
                      </a:lnTo>
                      <a:lnTo>
                        <a:pt x="253" y="277"/>
                      </a:lnTo>
                      <a:lnTo>
                        <a:pt x="257" y="272"/>
                      </a:lnTo>
                      <a:lnTo>
                        <a:pt x="262" y="272"/>
                      </a:lnTo>
                      <a:lnTo>
                        <a:pt x="262" y="275"/>
                      </a:lnTo>
                      <a:lnTo>
                        <a:pt x="265" y="277"/>
                      </a:lnTo>
                      <a:lnTo>
                        <a:pt x="274" y="277"/>
                      </a:lnTo>
                      <a:lnTo>
                        <a:pt x="281" y="270"/>
                      </a:lnTo>
                      <a:lnTo>
                        <a:pt x="281" y="267"/>
                      </a:lnTo>
                      <a:lnTo>
                        <a:pt x="283" y="265"/>
                      </a:lnTo>
                      <a:lnTo>
                        <a:pt x="283" y="263"/>
                      </a:lnTo>
                      <a:lnTo>
                        <a:pt x="288" y="263"/>
                      </a:lnTo>
                      <a:lnTo>
                        <a:pt x="295" y="251"/>
                      </a:lnTo>
                      <a:lnTo>
                        <a:pt x="333" y="251"/>
                      </a:lnTo>
                      <a:lnTo>
                        <a:pt x="342" y="246"/>
                      </a:lnTo>
                      <a:lnTo>
                        <a:pt x="340" y="239"/>
                      </a:lnTo>
                      <a:lnTo>
                        <a:pt x="340" y="232"/>
                      </a:lnTo>
                      <a:lnTo>
                        <a:pt x="338" y="227"/>
                      </a:lnTo>
                      <a:lnTo>
                        <a:pt x="335" y="225"/>
                      </a:lnTo>
                      <a:lnTo>
                        <a:pt x="328" y="225"/>
                      </a:lnTo>
                      <a:lnTo>
                        <a:pt x="324" y="223"/>
                      </a:lnTo>
                      <a:lnTo>
                        <a:pt x="316" y="208"/>
                      </a:lnTo>
                      <a:lnTo>
                        <a:pt x="316" y="201"/>
                      </a:lnTo>
                      <a:lnTo>
                        <a:pt x="312" y="199"/>
                      </a:lnTo>
                      <a:lnTo>
                        <a:pt x="312" y="185"/>
                      </a:lnTo>
                      <a:lnTo>
                        <a:pt x="305" y="185"/>
                      </a:lnTo>
                      <a:lnTo>
                        <a:pt x="302" y="175"/>
                      </a:lnTo>
                      <a:lnTo>
                        <a:pt x="293" y="175"/>
                      </a:lnTo>
                      <a:lnTo>
                        <a:pt x="291" y="168"/>
                      </a:lnTo>
                      <a:lnTo>
                        <a:pt x="291" y="161"/>
                      </a:lnTo>
                      <a:lnTo>
                        <a:pt x="286" y="159"/>
                      </a:lnTo>
                      <a:lnTo>
                        <a:pt x="283" y="154"/>
                      </a:lnTo>
                      <a:lnTo>
                        <a:pt x="279" y="152"/>
                      </a:lnTo>
                      <a:lnTo>
                        <a:pt x="276" y="149"/>
                      </a:lnTo>
                      <a:lnTo>
                        <a:pt x="267" y="149"/>
                      </a:lnTo>
                      <a:lnTo>
                        <a:pt x="262" y="147"/>
                      </a:lnTo>
                      <a:lnTo>
                        <a:pt x="260" y="147"/>
                      </a:lnTo>
                      <a:lnTo>
                        <a:pt x="260" y="142"/>
                      </a:lnTo>
                      <a:lnTo>
                        <a:pt x="262" y="138"/>
                      </a:lnTo>
                      <a:lnTo>
                        <a:pt x="265" y="135"/>
                      </a:lnTo>
                      <a:lnTo>
                        <a:pt x="262" y="126"/>
                      </a:lnTo>
                      <a:lnTo>
                        <a:pt x="276" y="126"/>
                      </a:lnTo>
                      <a:lnTo>
                        <a:pt x="279" y="128"/>
                      </a:lnTo>
                      <a:lnTo>
                        <a:pt x="281" y="126"/>
                      </a:lnTo>
                      <a:lnTo>
                        <a:pt x="286" y="126"/>
                      </a:lnTo>
                      <a:lnTo>
                        <a:pt x="288" y="123"/>
                      </a:lnTo>
                      <a:lnTo>
                        <a:pt x="288" y="119"/>
                      </a:lnTo>
                      <a:lnTo>
                        <a:pt x="291" y="114"/>
                      </a:lnTo>
                      <a:lnTo>
                        <a:pt x="291" y="100"/>
                      </a:lnTo>
                      <a:lnTo>
                        <a:pt x="288" y="97"/>
                      </a:lnTo>
                      <a:lnTo>
                        <a:pt x="288" y="93"/>
                      </a:lnTo>
                      <a:lnTo>
                        <a:pt x="286" y="88"/>
                      </a:lnTo>
                      <a:lnTo>
                        <a:pt x="286" y="83"/>
                      </a:lnTo>
                      <a:lnTo>
                        <a:pt x="288" y="78"/>
                      </a:lnTo>
                      <a:lnTo>
                        <a:pt x="291" y="76"/>
                      </a:lnTo>
                      <a:lnTo>
                        <a:pt x="288" y="71"/>
                      </a:lnTo>
                      <a:lnTo>
                        <a:pt x="286" y="67"/>
                      </a:lnTo>
                      <a:close/>
                    </a:path>
                  </a:pathLst>
                </a:custGeom>
                <a:solidFill>
                  <a:schemeClr val="bg1">
                    <a:lumMod val="85000"/>
                  </a:schemeClr>
                </a:solidFill>
                <a:ln w="3175" algn="ctr">
                  <a:solidFill>
                    <a:schemeClr val="bg1">
                      <a:lumMod val="85000"/>
                    </a:schemeClr>
                  </a:solidFill>
                  <a:round/>
                  <a:headEnd/>
                  <a:tailEnd/>
                </a:ln>
                <a:effectLst/>
              </p:spPr>
              <p:txBody>
                <a:bodyPr vert="horz" wrap="none" lIns="90000" tIns="90000" rIns="72000" bIns="90000" numCol="1" anchor="ctr" anchorCtr="0" compatLnSpc="1">
                  <a:prstTxWarp prst="textNoShape">
                    <a:avLst/>
                  </a:prstTxWarp>
                </a:bodyPr>
                <a:lstStyle/>
                <a:p>
                  <a:pPr algn="ctr">
                    <a:spcBef>
                      <a:spcPct val="0"/>
                    </a:spcBef>
                  </a:pPr>
                  <a:endParaRPr lang="en-US" sz="1800" dirty="0">
                    <a:solidFill>
                      <a:schemeClr val="tx1"/>
                    </a:solidFill>
                    <a:latin typeface="Calibri" pitchFamily="34" charset="0"/>
                    <a:cs typeface="Calibri" pitchFamily="34" charset="0"/>
                  </a:endParaRPr>
                </a:p>
              </p:txBody>
            </p:sp>
          </p:grpSp>
        </p:grpSp>
      </p:grpSp>
      <p:sp>
        <p:nvSpPr>
          <p:cNvPr id="10" name="Title 9">
            <a:extLst>
              <a:ext uri="{FF2B5EF4-FFF2-40B4-BE49-F238E27FC236}">
                <a16:creationId xmlns:a16="http://schemas.microsoft.com/office/drawing/2014/main" id="{9F3C65ED-A17F-4254-99E8-275B4DB79266}"/>
              </a:ext>
            </a:extLst>
          </p:cNvPr>
          <p:cNvSpPr>
            <a:spLocks noGrp="1"/>
          </p:cNvSpPr>
          <p:nvPr>
            <p:ph type="title"/>
          </p:nvPr>
        </p:nvSpPr>
        <p:spPr/>
        <p:txBody>
          <a:bodyPr/>
          <a:lstStyle/>
          <a:p>
            <a:r>
              <a:rPr lang="en-GB" dirty="0"/>
              <a:t>FIA WEC 2023 Broadcast Partners</a:t>
            </a:r>
          </a:p>
        </p:txBody>
      </p:sp>
      <p:sp>
        <p:nvSpPr>
          <p:cNvPr id="158" name="Slide Number Placeholder 2">
            <a:extLst>
              <a:ext uri="{FF2B5EF4-FFF2-40B4-BE49-F238E27FC236}">
                <a16:creationId xmlns:a16="http://schemas.microsoft.com/office/drawing/2014/main" id="{0426ADB9-A609-46D1-963C-E68C38CA164B}"/>
              </a:ext>
            </a:extLst>
          </p:cNvPr>
          <p:cNvSpPr>
            <a:spLocks noGrp="1"/>
          </p:cNvSpPr>
          <p:nvPr>
            <p:ph type="sldNum" sz="quarter" idx="12"/>
          </p:nvPr>
        </p:nvSpPr>
        <p:spPr/>
        <p:txBody>
          <a:bodyPr/>
          <a:lstStyle/>
          <a:p>
            <a:fld id="{9B60B346-FC99-4236-B943-65AE761B958F}" type="slidenum">
              <a:rPr lang="de-CH" smtClean="0"/>
              <a:t>2</a:t>
            </a:fld>
            <a:endParaRPr lang="de-CH" dirty="0"/>
          </a:p>
        </p:txBody>
      </p:sp>
      <p:sp>
        <p:nvSpPr>
          <p:cNvPr id="2" name="Footer Placeholder 1">
            <a:extLst>
              <a:ext uri="{FF2B5EF4-FFF2-40B4-BE49-F238E27FC236}">
                <a16:creationId xmlns:a16="http://schemas.microsoft.com/office/drawing/2014/main" id="{CD6571C0-7713-4980-99C1-F3D1BD06AB14}"/>
              </a:ext>
            </a:extLst>
          </p:cNvPr>
          <p:cNvSpPr>
            <a:spLocks noGrp="1"/>
          </p:cNvSpPr>
          <p:nvPr>
            <p:ph type="ftr" sz="quarter" idx="14"/>
          </p:nvPr>
        </p:nvSpPr>
        <p:spPr/>
        <p:txBody>
          <a:bodyPr/>
          <a:lstStyle/>
          <a:p>
            <a:r>
              <a:rPr lang="de-CH" dirty="0"/>
              <a:t>#</a:t>
            </a:r>
            <a:r>
              <a:rPr lang="de-CH" dirty="0" err="1"/>
              <a:t>AllAboutSports</a:t>
            </a:r>
            <a:endParaRPr lang="de-CH" dirty="0"/>
          </a:p>
        </p:txBody>
      </p:sp>
      <p:sp>
        <p:nvSpPr>
          <p:cNvPr id="20" name="Round Diagonal Corner Rectangle 74">
            <a:extLst>
              <a:ext uri="{FF2B5EF4-FFF2-40B4-BE49-F238E27FC236}">
                <a16:creationId xmlns:a16="http://schemas.microsoft.com/office/drawing/2014/main" id="{A2AB56C5-53E6-40F5-9D4A-7F05BFD7813F}"/>
              </a:ext>
            </a:extLst>
          </p:cNvPr>
          <p:cNvSpPr/>
          <p:nvPr/>
        </p:nvSpPr>
        <p:spPr bwMode="blackWhite">
          <a:xfrm>
            <a:off x="2272129" y="2679855"/>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highlight>
                <a:srgbClr val="FFFF00"/>
              </a:highlight>
              <a:latin typeface="Arial" charset="0"/>
            </a:endParaRPr>
          </a:p>
        </p:txBody>
      </p:sp>
      <p:cxnSp>
        <p:nvCxnSpPr>
          <p:cNvPr id="21" name="Straight Connector 76">
            <a:extLst>
              <a:ext uri="{FF2B5EF4-FFF2-40B4-BE49-F238E27FC236}">
                <a16:creationId xmlns:a16="http://schemas.microsoft.com/office/drawing/2014/main" id="{DFED3080-5E5A-41B0-AADD-5B07CB53F9E7}"/>
              </a:ext>
            </a:extLst>
          </p:cNvPr>
          <p:cNvCxnSpPr>
            <a:cxnSpLocks/>
            <a:stCxn id="20" idx="2"/>
          </p:cNvCxnSpPr>
          <p:nvPr/>
        </p:nvCxnSpPr>
        <p:spPr bwMode="auto">
          <a:xfrm flipH="1">
            <a:off x="2555429" y="2967855"/>
            <a:ext cx="40700" cy="448626"/>
          </a:xfrm>
          <a:prstGeom prst="line">
            <a:avLst/>
          </a:prstGeom>
          <a:noFill/>
          <a:ln w="12700" algn="ctr">
            <a:solidFill>
              <a:schemeClr val="tx2"/>
            </a:solidFill>
            <a:round/>
            <a:headEnd/>
            <a:tailEnd type="oval" w="sm" len="sm"/>
          </a:ln>
          <a:effectLst/>
        </p:spPr>
      </p:cxnSp>
      <p:sp>
        <p:nvSpPr>
          <p:cNvPr id="22" name="Round Diagonal Corner Rectangle 80">
            <a:extLst>
              <a:ext uri="{FF2B5EF4-FFF2-40B4-BE49-F238E27FC236}">
                <a16:creationId xmlns:a16="http://schemas.microsoft.com/office/drawing/2014/main" id="{703946FD-FABF-4BBD-BCE6-F1914DE14AC6}"/>
              </a:ext>
            </a:extLst>
          </p:cNvPr>
          <p:cNvSpPr/>
          <p:nvPr/>
        </p:nvSpPr>
        <p:spPr bwMode="blackWhite">
          <a:xfrm>
            <a:off x="6801073" y="1205004"/>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r>
              <a:rPr lang="en-GB" sz="700" dirty="0">
                <a:solidFill>
                  <a:schemeClr val="tx2"/>
                </a:solidFill>
                <a:highlight>
                  <a:srgbClr val="00FF00"/>
                </a:highlight>
                <a:latin typeface="Arial" charset="0"/>
              </a:rPr>
              <a:t>&lt;</a:t>
            </a:r>
          </a:p>
        </p:txBody>
      </p:sp>
      <p:pic>
        <p:nvPicPr>
          <p:cNvPr id="23" name="Picture 81">
            <a:extLst>
              <a:ext uri="{FF2B5EF4-FFF2-40B4-BE49-F238E27FC236}">
                <a16:creationId xmlns:a16="http://schemas.microsoft.com/office/drawing/2014/main" id="{7F5E335D-8E27-4131-B698-E4C7F49966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67405" y="1252292"/>
            <a:ext cx="515337" cy="19342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4" name="Straight Connector 82">
            <a:extLst>
              <a:ext uri="{FF2B5EF4-FFF2-40B4-BE49-F238E27FC236}">
                <a16:creationId xmlns:a16="http://schemas.microsoft.com/office/drawing/2014/main" id="{40202C64-A377-47C3-BB58-03C3C897E58B}"/>
              </a:ext>
            </a:extLst>
          </p:cNvPr>
          <p:cNvCxnSpPr>
            <a:cxnSpLocks/>
            <a:stCxn id="22" idx="2"/>
          </p:cNvCxnSpPr>
          <p:nvPr/>
        </p:nvCxnSpPr>
        <p:spPr bwMode="auto">
          <a:xfrm flipH="1">
            <a:off x="7009638" y="1493004"/>
            <a:ext cx="115435" cy="472062"/>
          </a:xfrm>
          <a:prstGeom prst="line">
            <a:avLst/>
          </a:prstGeom>
          <a:noFill/>
          <a:ln w="12700" algn="ctr">
            <a:solidFill>
              <a:schemeClr val="tx2"/>
            </a:solidFill>
            <a:round/>
            <a:headEnd/>
            <a:tailEnd type="oval" w="sm" len="sm"/>
          </a:ln>
          <a:effectLst/>
        </p:spPr>
      </p:cxnSp>
      <p:sp>
        <p:nvSpPr>
          <p:cNvPr id="25" name="Round Diagonal Corner Rectangle 132">
            <a:extLst>
              <a:ext uri="{FF2B5EF4-FFF2-40B4-BE49-F238E27FC236}">
                <a16:creationId xmlns:a16="http://schemas.microsoft.com/office/drawing/2014/main" id="{1B7CDF43-C773-40C5-8534-BB922173ED5F}"/>
              </a:ext>
            </a:extLst>
          </p:cNvPr>
          <p:cNvSpPr/>
          <p:nvPr/>
        </p:nvSpPr>
        <p:spPr bwMode="blackWhite">
          <a:xfrm>
            <a:off x="4119270" y="2474485"/>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highlight>
                <a:srgbClr val="FFFF00"/>
              </a:highlight>
              <a:latin typeface="Arial" charset="0"/>
            </a:endParaRPr>
          </a:p>
        </p:txBody>
      </p:sp>
      <p:pic>
        <p:nvPicPr>
          <p:cNvPr id="26" name="Picture 2">
            <a:extLst>
              <a:ext uri="{FF2B5EF4-FFF2-40B4-BE49-F238E27FC236}">
                <a16:creationId xmlns:a16="http://schemas.microsoft.com/office/drawing/2014/main" id="{F26E9E39-94B8-40DE-810F-B69E553C94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24030" y="2521996"/>
            <a:ext cx="438481" cy="19297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cxnSp>
        <p:nvCxnSpPr>
          <p:cNvPr id="27" name="Straight Connector 141">
            <a:extLst>
              <a:ext uri="{FF2B5EF4-FFF2-40B4-BE49-F238E27FC236}">
                <a16:creationId xmlns:a16="http://schemas.microsoft.com/office/drawing/2014/main" id="{4C632E24-6724-4010-9D44-7387A7EACF70}"/>
              </a:ext>
            </a:extLst>
          </p:cNvPr>
          <p:cNvCxnSpPr>
            <a:cxnSpLocks noChangeShapeType="1"/>
            <a:stCxn id="25" idx="2"/>
          </p:cNvCxnSpPr>
          <p:nvPr/>
        </p:nvCxnSpPr>
        <p:spPr bwMode="auto">
          <a:xfrm>
            <a:off x="4443270" y="2762485"/>
            <a:ext cx="36271" cy="435472"/>
          </a:xfrm>
          <a:prstGeom prst="line">
            <a:avLst/>
          </a:prstGeom>
          <a:noFill/>
          <a:ln w="12700" algn="ctr">
            <a:solidFill>
              <a:schemeClr val="tx2"/>
            </a:solidFill>
            <a:round/>
            <a:headEnd/>
            <a:tailEnd type="oval" w="sm" len="sm"/>
          </a:ln>
          <a:effectLst/>
        </p:spPr>
      </p:cxnSp>
      <p:sp>
        <p:nvSpPr>
          <p:cNvPr id="31" name="Round Diagonal Corner Rectangle 270">
            <a:extLst>
              <a:ext uri="{FF2B5EF4-FFF2-40B4-BE49-F238E27FC236}">
                <a16:creationId xmlns:a16="http://schemas.microsoft.com/office/drawing/2014/main" id="{BAE20D01-7426-4AFF-A56F-0CC26DFBB11E}"/>
              </a:ext>
            </a:extLst>
          </p:cNvPr>
          <p:cNvSpPr/>
          <p:nvPr/>
        </p:nvSpPr>
        <p:spPr bwMode="blackWhite">
          <a:xfrm>
            <a:off x="154946" y="3829625"/>
            <a:ext cx="1800000" cy="360218"/>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highlight>
                <a:srgbClr val="00FF00"/>
              </a:highlight>
              <a:latin typeface="Arial" charset="0"/>
            </a:endParaRPr>
          </a:p>
        </p:txBody>
      </p:sp>
      <p:sp>
        <p:nvSpPr>
          <p:cNvPr id="32" name="TextBox 31">
            <a:extLst>
              <a:ext uri="{FF2B5EF4-FFF2-40B4-BE49-F238E27FC236}">
                <a16:creationId xmlns:a16="http://schemas.microsoft.com/office/drawing/2014/main" id="{910E70C1-B0AB-416B-8FDB-6E7D8EB42E5D}"/>
              </a:ext>
            </a:extLst>
          </p:cNvPr>
          <p:cNvSpPr txBox="1"/>
          <p:nvPr/>
        </p:nvSpPr>
        <p:spPr>
          <a:xfrm>
            <a:off x="1109137" y="3471905"/>
            <a:ext cx="592095" cy="235527"/>
          </a:xfrm>
          <a:prstGeom prst="rect">
            <a:avLst/>
          </a:prstGeom>
          <a:noFill/>
          <a:effectLst/>
        </p:spPr>
        <p:txBody>
          <a:bodyPr lIns="0" tIns="0" rIns="0" bIns="0" anchor="ctr"/>
          <a:lstStyle/>
          <a:p>
            <a:pPr eaLnBrk="1" hangingPunct="1">
              <a:defRPr/>
            </a:pPr>
            <a:r>
              <a:rPr lang="en-GB" sz="800" dirty="0">
                <a:latin typeface="Arial" charset="0"/>
              </a:rPr>
              <a:t>Worldwide</a:t>
            </a:r>
          </a:p>
        </p:txBody>
      </p:sp>
      <p:cxnSp>
        <p:nvCxnSpPr>
          <p:cNvPr id="33" name="Straight Connector 32">
            <a:extLst>
              <a:ext uri="{FF2B5EF4-FFF2-40B4-BE49-F238E27FC236}">
                <a16:creationId xmlns:a16="http://schemas.microsoft.com/office/drawing/2014/main" id="{4F68A07E-B9D2-4821-ADB2-5B9C594A67FA}"/>
              </a:ext>
            </a:extLst>
          </p:cNvPr>
          <p:cNvCxnSpPr/>
          <p:nvPr/>
        </p:nvCxnSpPr>
        <p:spPr bwMode="auto">
          <a:xfrm>
            <a:off x="993967" y="3458178"/>
            <a:ext cx="0" cy="252000"/>
          </a:xfrm>
          <a:prstGeom prst="line">
            <a:avLst/>
          </a:prstGeom>
          <a:solidFill>
            <a:srgbClr val="FF0000"/>
          </a:solidFill>
          <a:ln w="12700" cap="flat" cmpd="sng" algn="ctr">
            <a:solidFill>
              <a:schemeClr val="tx2"/>
            </a:solidFill>
            <a:prstDash val="solid"/>
            <a:round/>
            <a:headEnd type="none" w="med" len="med"/>
            <a:tailEnd type="none" w="med" len="med"/>
          </a:ln>
          <a:effectLst/>
        </p:spPr>
      </p:cxnSp>
      <p:sp>
        <p:nvSpPr>
          <p:cNvPr id="35" name="Round Diagonal Corner Rectangle 68">
            <a:extLst>
              <a:ext uri="{FF2B5EF4-FFF2-40B4-BE49-F238E27FC236}">
                <a16:creationId xmlns:a16="http://schemas.microsoft.com/office/drawing/2014/main" id="{56A1BED5-62D8-4FD7-BBB2-F7072A3B2934}"/>
              </a:ext>
            </a:extLst>
          </p:cNvPr>
          <p:cNvSpPr/>
          <p:nvPr/>
        </p:nvSpPr>
        <p:spPr bwMode="blackWhite">
          <a:xfrm>
            <a:off x="1398601" y="1144006"/>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36" name="Straight Connector 70">
            <a:extLst>
              <a:ext uri="{FF2B5EF4-FFF2-40B4-BE49-F238E27FC236}">
                <a16:creationId xmlns:a16="http://schemas.microsoft.com/office/drawing/2014/main" id="{BA8A6A4E-4095-4C4F-BE93-69FFCB8BB613}"/>
              </a:ext>
            </a:extLst>
          </p:cNvPr>
          <p:cNvCxnSpPr>
            <a:cxnSpLocks noChangeShapeType="1"/>
            <a:stCxn id="35" idx="2"/>
          </p:cNvCxnSpPr>
          <p:nvPr/>
        </p:nvCxnSpPr>
        <p:spPr bwMode="auto">
          <a:xfrm>
            <a:off x="1722601" y="1432006"/>
            <a:ext cx="45051" cy="554962"/>
          </a:xfrm>
          <a:prstGeom prst="line">
            <a:avLst/>
          </a:prstGeom>
          <a:noFill/>
          <a:ln w="12700" algn="ctr">
            <a:solidFill>
              <a:schemeClr val="tx2"/>
            </a:solidFill>
            <a:round/>
            <a:headEnd type="none" w="sm" len="sm"/>
            <a:tailEnd type="oval" w="sm" len="sm"/>
          </a:ln>
          <a:effectLst/>
        </p:spPr>
      </p:cxnSp>
      <p:cxnSp>
        <p:nvCxnSpPr>
          <p:cNvPr id="37" name="Straight Connector 97">
            <a:extLst>
              <a:ext uri="{FF2B5EF4-FFF2-40B4-BE49-F238E27FC236}">
                <a16:creationId xmlns:a16="http://schemas.microsoft.com/office/drawing/2014/main" id="{99D6CDB4-965B-4DE5-8F36-98DFDB6CE205}"/>
              </a:ext>
            </a:extLst>
          </p:cNvPr>
          <p:cNvCxnSpPr>
            <a:cxnSpLocks/>
            <a:stCxn id="38" idx="1"/>
          </p:cNvCxnSpPr>
          <p:nvPr/>
        </p:nvCxnSpPr>
        <p:spPr bwMode="auto">
          <a:xfrm flipH="1" flipV="1">
            <a:off x="6737261" y="2425526"/>
            <a:ext cx="997290" cy="328119"/>
          </a:xfrm>
          <a:prstGeom prst="line">
            <a:avLst/>
          </a:prstGeom>
          <a:noFill/>
          <a:ln w="12700" algn="ctr">
            <a:solidFill>
              <a:schemeClr val="tx2"/>
            </a:solidFill>
            <a:round/>
            <a:headEnd/>
            <a:tailEnd type="oval" w="sm" len="sm"/>
          </a:ln>
          <a:effectLst/>
        </p:spPr>
      </p:cxnSp>
      <p:sp>
        <p:nvSpPr>
          <p:cNvPr id="38" name="Round Diagonal Corner Rectangle 96">
            <a:extLst>
              <a:ext uri="{FF2B5EF4-FFF2-40B4-BE49-F238E27FC236}">
                <a16:creationId xmlns:a16="http://schemas.microsoft.com/office/drawing/2014/main" id="{B8BB0335-AABD-4CD3-8D9F-20C9ACFED5E5}"/>
              </a:ext>
            </a:extLst>
          </p:cNvPr>
          <p:cNvSpPr/>
          <p:nvPr/>
        </p:nvSpPr>
        <p:spPr bwMode="blackWhite">
          <a:xfrm>
            <a:off x="7734551" y="2609645"/>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rgbClr val="FF0000"/>
              </a:solidFill>
              <a:latin typeface="Arial" charset="0"/>
            </a:endParaRPr>
          </a:p>
        </p:txBody>
      </p:sp>
      <p:pic>
        <p:nvPicPr>
          <p:cNvPr id="39" name="Picture 4" descr="http://www.elta.tv/images/header/ELTA_logo.jpg">
            <a:extLst>
              <a:ext uri="{FF2B5EF4-FFF2-40B4-BE49-F238E27FC236}">
                <a16:creationId xmlns:a16="http://schemas.microsoft.com/office/drawing/2014/main" id="{A07ED86E-F978-4BF9-A558-9EAB69FC550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54447" y="2666468"/>
            <a:ext cx="416463" cy="1743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443" descr="https://pmcdeadline2.files.wordpress.com/2018/11/motortrend-e1542136057557.jpg?w=300&amp;h=57&amp;crop=1">
            <a:extLst>
              <a:ext uri="{FF2B5EF4-FFF2-40B4-BE49-F238E27FC236}">
                <a16:creationId xmlns:a16="http://schemas.microsoft.com/office/drawing/2014/main" id="{089F28E7-5196-440F-B1F1-134D566D155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4617" y="1191011"/>
            <a:ext cx="463255" cy="877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 name="Round Diagonal Corner Rectangle 113">
            <a:extLst>
              <a:ext uri="{FF2B5EF4-FFF2-40B4-BE49-F238E27FC236}">
                <a16:creationId xmlns:a16="http://schemas.microsoft.com/office/drawing/2014/main" id="{3353CF6F-6A48-4183-A204-82C2CC7EF83D}"/>
              </a:ext>
            </a:extLst>
          </p:cNvPr>
          <p:cNvSpPr/>
          <p:nvPr/>
        </p:nvSpPr>
        <p:spPr bwMode="blackWhite">
          <a:xfrm>
            <a:off x="5479887" y="1357542"/>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61" name="Straight Connector 169">
            <a:extLst>
              <a:ext uri="{FF2B5EF4-FFF2-40B4-BE49-F238E27FC236}">
                <a16:creationId xmlns:a16="http://schemas.microsoft.com/office/drawing/2014/main" id="{7E6A94BC-F34E-48E7-BCCB-6F39123EABC6}"/>
              </a:ext>
            </a:extLst>
          </p:cNvPr>
          <p:cNvCxnSpPr>
            <a:cxnSpLocks noChangeShapeType="1"/>
            <a:stCxn id="60" idx="2"/>
          </p:cNvCxnSpPr>
          <p:nvPr/>
        </p:nvCxnSpPr>
        <p:spPr bwMode="auto">
          <a:xfrm>
            <a:off x="5803887" y="1645542"/>
            <a:ext cx="377194" cy="439648"/>
          </a:xfrm>
          <a:prstGeom prst="line">
            <a:avLst/>
          </a:prstGeom>
          <a:noFill/>
          <a:ln w="12700" algn="ctr">
            <a:solidFill>
              <a:schemeClr val="tx2"/>
            </a:solidFill>
            <a:round/>
            <a:headEnd/>
            <a:tailEnd type="oval" w="sm" len="sm"/>
          </a:ln>
          <a:effectLst/>
        </p:spPr>
      </p:cxnSp>
      <p:pic>
        <p:nvPicPr>
          <p:cNvPr id="70" name="Picture 101">
            <a:extLst>
              <a:ext uri="{FF2B5EF4-FFF2-40B4-BE49-F238E27FC236}">
                <a16:creationId xmlns:a16="http://schemas.microsoft.com/office/drawing/2014/main" id="{E0CA58D2-787C-41D0-BFED-8D71D9A1110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551" t="8424" r="1495" b="16240"/>
          <a:stretch>
            <a:fillRect/>
          </a:stretch>
        </p:blipFill>
        <p:spPr bwMode="auto">
          <a:xfrm>
            <a:off x="1484618" y="1302811"/>
            <a:ext cx="461904" cy="9319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Round Diagonal Corner Rectangle 122">
            <a:extLst>
              <a:ext uri="{FF2B5EF4-FFF2-40B4-BE49-F238E27FC236}">
                <a16:creationId xmlns:a16="http://schemas.microsoft.com/office/drawing/2014/main" id="{8677CC25-41AC-4A6F-90A1-D2799226AB76}"/>
              </a:ext>
            </a:extLst>
          </p:cNvPr>
          <p:cNvSpPr/>
          <p:nvPr/>
        </p:nvSpPr>
        <p:spPr bwMode="blackWhite">
          <a:xfrm>
            <a:off x="5654023" y="3588438"/>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rgbClr val="FF0000"/>
              </a:solidFill>
              <a:latin typeface="Arial" charset="0"/>
            </a:endParaRPr>
          </a:p>
        </p:txBody>
      </p:sp>
      <p:cxnSp>
        <p:nvCxnSpPr>
          <p:cNvPr id="72" name="Straight Connector 71">
            <a:extLst>
              <a:ext uri="{FF2B5EF4-FFF2-40B4-BE49-F238E27FC236}">
                <a16:creationId xmlns:a16="http://schemas.microsoft.com/office/drawing/2014/main" id="{16324250-555B-4F3F-9AC1-A20D6DF62ACF}"/>
              </a:ext>
            </a:extLst>
          </p:cNvPr>
          <p:cNvCxnSpPr>
            <a:cxnSpLocks/>
            <a:stCxn id="71" idx="0"/>
          </p:cNvCxnSpPr>
          <p:nvPr/>
        </p:nvCxnSpPr>
        <p:spPr bwMode="auto">
          <a:xfrm flipV="1">
            <a:off x="5978023" y="3191131"/>
            <a:ext cx="476850" cy="397307"/>
          </a:xfrm>
          <a:prstGeom prst="line">
            <a:avLst/>
          </a:prstGeom>
          <a:solidFill>
            <a:srgbClr val="FFFF00"/>
          </a:solidFill>
          <a:ln w="12700" cap="flat" cmpd="sng" algn="ctr">
            <a:solidFill>
              <a:schemeClr val="tx2"/>
            </a:solidFill>
            <a:prstDash val="solid"/>
            <a:round/>
            <a:headEnd type="none" w="med" len="med"/>
            <a:tailEnd type="oval" w="sm" len="sm"/>
          </a:ln>
          <a:effectLst/>
        </p:spPr>
      </p:cxnSp>
      <p:pic>
        <p:nvPicPr>
          <p:cNvPr id="73" name="Picture 484" descr="KUY Entertainment - YouTube">
            <a:extLst>
              <a:ext uri="{FF2B5EF4-FFF2-40B4-BE49-F238E27FC236}">
                <a16:creationId xmlns:a16="http://schemas.microsoft.com/office/drawing/2014/main" id="{014F26DE-5473-4983-89ED-479E9598675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15866" t="21002" r="16211" b="22551"/>
          <a:stretch>
            <a:fillRect/>
          </a:stretch>
        </p:blipFill>
        <p:spPr bwMode="auto">
          <a:xfrm>
            <a:off x="5847848" y="3624488"/>
            <a:ext cx="260350" cy="2159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Round Diagonal Corner Rectangle 80">
            <a:extLst>
              <a:ext uri="{FF2B5EF4-FFF2-40B4-BE49-F238E27FC236}">
                <a16:creationId xmlns:a16="http://schemas.microsoft.com/office/drawing/2014/main" id="{76F7C88C-9A63-4D2C-8DDC-2A5E855EE674}"/>
              </a:ext>
            </a:extLst>
          </p:cNvPr>
          <p:cNvSpPr/>
          <p:nvPr/>
        </p:nvSpPr>
        <p:spPr bwMode="blackWhite">
          <a:xfrm>
            <a:off x="7543429" y="3276093"/>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82" name="Straight Connector 120">
            <a:extLst>
              <a:ext uri="{FF2B5EF4-FFF2-40B4-BE49-F238E27FC236}">
                <a16:creationId xmlns:a16="http://schemas.microsoft.com/office/drawing/2014/main" id="{5E02AEAD-B9FE-4B44-8332-35EEA30055FA}"/>
              </a:ext>
            </a:extLst>
          </p:cNvPr>
          <p:cNvCxnSpPr>
            <a:cxnSpLocks/>
            <a:stCxn id="81" idx="2"/>
          </p:cNvCxnSpPr>
          <p:nvPr/>
        </p:nvCxnSpPr>
        <p:spPr bwMode="auto">
          <a:xfrm flipH="1">
            <a:off x="7855509" y="3564093"/>
            <a:ext cx="11920" cy="455556"/>
          </a:xfrm>
          <a:prstGeom prst="line">
            <a:avLst/>
          </a:prstGeom>
          <a:noFill/>
          <a:ln w="12700" algn="ctr">
            <a:solidFill>
              <a:schemeClr val="tx2"/>
            </a:solidFill>
            <a:round/>
            <a:headEnd/>
            <a:tailEnd type="oval" w="sm" len="sm"/>
          </a:ln>
          <a:effectLst/>
        </p:spPr>
      </p:cxnSp>
      <p:pic>
        <p:nvPicPr>
          <p:cNvPr id="83" name="Picture 50" descr="Sky2013logo.png">
            <a:extLst>
              <a:ext uri="{FF2B5EF4-FFF2-40B4-BE49-F238E27FC236}">
                <a16:creationId xmlns:a16="http://schemas.microsoft.com/office/drawing/2014/main" id="{E79E8B1F-540A-4B46-80E5-85CFCF637CE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91217" y="3314007"/>
            <a:ext cx="352425" cy="2254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 name="Round Diagonal Corner Rectangle 80">
            <a:extLst>
              <a:ext uri="{FF2B5EF4-FFF2-40B4-BE49-F238E27FC236}">
                <a16:creationId xmlns:a16="http://schemas.microsoft.com/office/drawing/2014/main" id="{471BF715-55F9-4312-9EE9-3CF8D868321F}"/>
              </a:ext>
            </a:extLst>
          </p:cNvPr>
          <p:cNvSpPr/>
          <p:nvPr/>
        </p:nvSpPr>
        <p:spPr bwMode="blackWhite">
          <a:xfrm>
            <a:off x="5562032" y="2456719"/>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95" name="Straight Connector 140">
            <a:extLst>
              <a:ext uri="{FF2B5EF4-FFF2-40B4-BE49-F238E27FC236}">
                <a16:creationId xmlns:a16="http://schemas.microsoft.com/office/drawing/2014/main" id="{F11B8312-D5CD-43DB-8596-219407957E65}"/>
              </a:ext>
            </a:extLst>
          </p:cNvPr>
          <p:cNvCxnSpPr>
            <a:cxnSpLocks/>
            <a:stCxn id="94" idx="1"/>
          </p:cNvCxnSpPr>
          <p:nvPr/>
        </p:nvCxnSpPr>
        <p:spPr bwMode="auto">
          <a:xfrm flipH="1" flipV="1">
            <a:off x="4928307" y="2123057"/>
            <a:ext cx="633725" cy="477662"/>
          </a:xfrm>
          <a:prstGeom prst="line">
            <a:avLst/>
          </a:prstGeom>
          <a:noFill/>
          <a:ln w="12700" algn="ctr">
            <a:solidFill>
              <a:schemeClr val="tx2"/>
            </a:solidFill>
            <a:round/>
            <a:headEnd/>
            <a:tailEnd type="oval" w="sm" len="sm"/>
          </a:ln>
          <a:effectLst/>
        </p:spPr>
      </p:cxnSp>
      <p:pic>
        <p:nvPicPr>
          <p:cNvPr id="149" name="Picture 148">
            <a:extLst>
              <a:ext uri="{FF2B5EF4-FFF2-40B4-BE49-F238E27FC236}">
                <a16:creationId xmlns:a16="http://schemas.microsoft.com/office/drawing/2014/main" id="{CC7A1865-EAE4-437B-9BBB-0719552EDE6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512930" y="1467730"/>
            <a:ext cx="581914" cy="67625"/>
          </a:xfrm>
          <a:prstGeom prst="rect">
            <a:avLst/>
          </a:prstGeom>
          <a:solidFill>
            <a:srgbClr val="F5F5F4"/>
          </a:solidFill>
        </p:spPr>
      </p:pic>
      <p:pic>
        <p:nvPicPr>
          <p:cNvPr id="59" name="Picture 58">
            <a:extLst>
              <a:ext uri="{FF2B5EF4-FFF2-40B4-BE49-F238E27FC236}">
                <a16:creationId xmlns:a16="http://schemas.microsoft.com/office/drawing/2014/main" id="{3F591E8C-811F-477D-AB51-1F33C4D58008}"/>
              </a:ext>
            </a:extLst>
          </p:cNvPr>
          <p:cNvPicPr>
            <a:picLocks noChangeAspect="1"/>
          </p:cNvPicPr>
          <p:nvPr/>
        </p:nvPicPr>
        <p:blipFill rotWithShape="1">
          <a:blip r:embed="rId10"/>
          <a:srcRect l="8386" t="-5328" r="7821" b="-7656"/>
          <a:stretch/>
        </p:blipFill>
        <p:spPr>
          <a:xfrm>
            <a:off x="3603400" y="1183598"/>
            <a:ext cx="959038" cy="955155"/>
          </a:xfrm>
          <a:prstGeom prst="ellipse">
            <a:avLst/>
          </a:prstGeom>
          <a:solidFill>
            <a:schemeClr val="bg1"/>
          </a:solidFill>
          <a:ln w="19050">
            <a:solidFill>
              <a:schemeClr val="tx2"/>
            </a:solidFill>
          </a:ln>
        </p:spPr>
      </p:pic>
      <p:pic>
        <p:nvPicPr>
          <p:cNvPr id="245" name="Picture 30">
            <a:extLst>
              <a:ext uri="{FF2B5EF4-FFF2-40B4-BE49-F238E27FC236}">
                <a16:creationId xmlns:a16="http://schemas.microsoft.com/office/drawing/2014/main" id="{CF159AA7-A3A6-4B1A-A6C2-9E2EEA67145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08941" y="3532912"/>
            <a:ext cx="669856" cy="918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7" name="Round Diagonal Corner Rectangle 74">
            <a:extLst>
              <a:ext uri="{FF2B5EF4-FFF2-40B4-BE49-F238E27FC236}">
                <a16:creationId xmlns:a16="http://schemas.microsoft.com/office/drawing/2014/main" id="{003B0C2F-2EDA-416E-9993-65CEA9CB0068}"/>
              </a:ext>
            </a:extLst>
          </p:cNvPr>
          <p:cNvSpPr/>
          <p:nvPr/>
        </p:nvSpPr>
        <p:spPr bwMode="blackWhite">
          <a:xfrm>
            <a:off x="526523" y="2374689"/>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highlight>
                <a:srgbClr val="FF00FF"/>
              </a:highlight>
              <a:latin typeface="Arial" charset="0"/>
            </a:endParaRPr>
          </a:p>
        </p:txBody>
      </p:sp>
      <p:cxnSp>
        <p:nvCxnSpPr>
          <p:cNvPr id="248" name="Straight Connector 76">
            <a:extLst>
              <a:ext uri="{FF2B5EF4-FFF2-40B4-BE49-F238E27FC236}">
                <a16:creationId xmlns:a16="http://schemas.microsoft.com/office/drawing/2014/main" id="{345645B1-D5EF-4C4C-B5BE-3B533E55E054}"/>
              </a:ext>
            </a:extLst>
          </p:cNvPr>
          <p:cNvCxnSpPr>
            <a:cxnSpLocks/>
            <a:stCxn id="247" idx="3"/>
          </p:cNvCxnSpPr>
          <p:nvPr/>
        </p:nvCxnSpPr>
        <p:spPr bwMode="auto">
          <a:xfrm>
            <a:off x="1174523" y="2518689"/>
            <a:ext cx="393261" cy="0"/>
          </a:xfrm>
          <a:prstGeom prst="line">
            <a:avLst/>
          </a:prstGeom>
          <a:noFill/>
          <a:ln w="12700" algn="ctr">
            <a:solidFill>
              <a:schemeClr val="tx2"/>
            </a:solidFill>
            <a:round/>
            <a:headEnd/>
            <a:tailEnd type="oval" w="sm" len="sm"/>
          </a:ln>
          <a:effectLst/>
        </p:spPr>
      </p:cxnSp>
      <p:pic>
        <p:nvPicPr>
          <p:cNvPr id="254" name="Picture 623" descr="Saudi Sports Company - Wikipedia">
            <a:extLst>
              <a:ext uri="{FF2B5EF4-FFF2-40B4-BE49-F238E27FC236}">
                <a16:creationId xmlns:a16="http://schemas.microsoft.com/office/drawing/2014/main" id="{B7AB051A-4C90-4865-997D-A2569149CDD8}"/>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34164" b="31031"/>
          <a:stretch/>
        </p:blipFill>
        <p:spPr bwMode="auto">
          <a:xfrm>
            <a:off x="5667388" y="2528038"/>
            <a:ext cx="436418" cy="138535"/>
          </a:xfrm>
          <a:prstGeom prst="rect">
            <a:avLst/>
          </a:prstGeom>
          <a:noFill/>
          <a:extLst>
            <a:ext uri="{909E8E84-426E-40DD-AFC4-6F175D3DCCD1}">
              <a14:hiddenFill xmlns:a14="http://schemas.microsoft.com/office/drawing/2010/main">
                <a:solidFill>
                  <a:srgbClr val="FFFFFF"/>
                </a:solidFill>
              </a14:hiddenFill>
            </a:ext>
          </a:extLst>
        </p:spPr>
      </p:pic>
      <p:sp>
        <p:nvSpPr>
          <p:cNvPr id="255" name="Round Diagonal Corner Rectangle 80">
            <a:extLst>
              <a:ext uri="{FF2B5EF4-FFF2-40B4-BE49-F238E27FC236}">
                <a16:creationId xmlns:a16="http://schemas.microsoft.com/office/drawing/2014/main" id="{8F7FFBDE-F8A5-46D0-A2D3-00C1B532D274}"/>
              </a:ext>
            </a:extLst>
          </p:cNvPr>
          <p:cNvSpPr/>
          <p:nvPr/>
        </p:nvSpPr>
        <p:spPr bwMode="blackWhite">
          <a:xfrm>
            <a:off x="6674544" y="4430250"/>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256" name="Straight Connector 140">
            <a:extLst>
              <a:ext uri="{FF2B5EF4-FFF2-40B4-BE49-F238E27FC236}">
                <a16:creationId xmlns:a16="http://schemas.microsoft.com/office/drawing/2014/main" id="{9B384789-893B-4CA7-B08B-2F4757BD603B}"/>
              </a:ext>
            </a:extLst>
          </p:cNvPr>
          <p:cNvCxnSpPr>
            <a:cxnSpLocks/>
            <a:stCxn id="255" idx="0"/>
          </p:cNvCxnSpPr>
          <p:nvPr/>
        </p:nvCxnSpPr>
        <p:spPr bwMode="auto">
          <a:xfrm flipH="1" flipV="1">
            <a:off x="6977330" y="3564094"/>
            <a:ext cx="21214" cy="866156"/>
          </a:xfrm>
          <a:prstGeom prst="line">
            <a:avLst/>
          </a:prstGeom>
          <a:noFill/>
          <a:ln w="12700" algn="ctr">
            <a:solidFill>
              <a:schemeClr val="tx2"/>
            </a:solidFill>
            <a:round/>
            <a:headEnd/>
            <a:tailEnd type="oval" w="sm" len="sm"/>
          </a:ln>
          <a:effectLst/>
        </p:spPr>
      </p:cxnSp>
      <p:pic>
        <p:nvPicPr>
          <p:cNvPr id="259" name="Picture 258">
            <a:extLst>
              <a:ext uri="{FF2B5EF4-FFF2-40B4-BE49-F238E27FC236}">
                <a16:creationId xmlns:a16="http://schemas.microsoft.com/office/drawing/2014/main" id="{787583C6-4362-4A56-BA9C-3CAA36CF2CF0}"/>
              </a:ext>
            </a:extLst>
          </p:cNvPr>
          <p:cNvPicPr>
            <a:picLocks noChangeAspect="1"/>
          </p:cNvPicPr>
          <p:nvPr/>
        </p:nvPicPr>
        <p:blipFill>
          <a:blip r:embed="rId13"/>
          <a:stretch>
            <a:fillRect/>
          </a:stretch>
        </p:blipFill>
        <p:spPr>
          <a:xfrm>
            <a:off x="6701582" y="4490944"/>
            <a:ext cx="296200" cy="166612"/>
          </a:xfrm>
          <a:prstGeom prst="rect">
            <a:avLst/>
          </a:prstGeom>
        </p:spPr>
      </p:pic>
      <p:sp>
        <p:nvSpPr>
          <p:cNvPr id="244" name="Round Diagonal Corner Rectangle 80">
            <a:extLst>
              <a:ext uri="{FF2B5EF4-FFF2-40B4-BE49-F238E27FC236}">
                <a16:creationId xmlns:a16="http://schemas.microsoft.com/office/drawing/2014/main" id="{1656758B-5C3D-4E55-81CA-A1CB6F4E8A92}"/>
              </a:ext>
            </a:extLst>
          </p:cNvPr>
          <p:cNvSpPr/>
          <p:nvPr/>
        </p:nvSpPr>
        <p:spPr bwMode="blackWhite">
          <a:xfrm>
            <a:off x="7605823" y="2199281"/>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highlight>
                <a:srgbClr val="FFFF00"/>
              </a:highlight>
              <a:latin typeface="Arial" charset="0"/>
            </a:endParaRPr>
          </a:p>
        </p:txBody>
      </p:sp>
      <p:cxnSp>
        <p:nvCxnSpPr>
          <p:cNvPr id="250" name="Straight Connector 82">
            <a:extLst>
              <a:ext uri="{FF2B5EF4-FFF2-40B4-BE49-F238E27FC236}">
                <a16:creationId xmlns:a16="http://schemas.microsoft.com/office/drawing/2014/main" id="{63F47310-2A87-4E25-9151-474DD1BB2FD2}"/>
              </a:ext>
            </a:extLst>
          </p:cNvPr>
          <p:cNvCxnSpPr>
            <a:cxnSpLocks/>
            <a:stCxn id="244" idx="1"/>
          </p:cNvCxnSpPr>
          <p:nvPr/>
        </p:nvCxnSpPr>
        <p:spPr bwMode="auto">
          <a:xfrm flipH="1" flipV="1">
            <a:off x="6393556" y="2256424"/>
            <a:ext cx="1212267" cy="86857"/>
          </a:xfrm>
          <a:prstGeom prst="line">
            <a:avLst/>
          </a:prstGeom>
          <a:noFill/>
          <a:ln w="12700" algn="ctr">
            <a:solidFill>
              <a:schemeClr val="tx2"/>
            </a:solidFill>
            <a:round/>
            <a:headEnd/>
            <a:tailEnd type="oval" w="sm" len="sm"/>
          </a:ln>
          <a:effectLst/>
        </p:spPr>
      </p:cxnSp>
      <p:pic>
        <p:nvPicPr>
          <p:cNvPr id="251" name="Picture 2" descr="DOUYIN: The new Chinese propaganda machine – Mass Media and Culture">
            <a:extLst>
              <a:ext uri="{FF2B5EF4-FFF2-40B4-BE49-F238E27FC236}">
                <a16:creationId xmlns:a16="http://schemas.microsoft.com/office/drawing/2014/main" id="{DE0A593F-129D-4F9E-B9E6-D9C9B0D3DD15}"/>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13243" t="32722" r="12581" b="32398"/>
          <a:stretch/>
        </p:blipFill>
        <p:spPr bwMode="auto">
          <a:xfrm>
            <a:off x="7700035" y="2240368"/>
            <a:ext cx="459575" cy="216107"/>
          </a:xfrm>
          <a:prstGeom prst="rect">
            <a:avLst/>
          </a:prstGeom>
          <a:noFill/>
          <a:extLst>
            <a:ext uri="{909E8E84-426E-40DD-AFC4-6F175D3DCCD1}">
              <a14:hiddenFill xmlns:a14="http://schemas.microsoft.com/office/drawing/2010/main">
                <a:solidFill>
                  <a:srgbClr val="FFFFFF"/>
                </a:solidFill>
              </a14:hiddenFill>
            </a:ext>
          </a:extLst>
        </p:spPr>
      </p:pic>
      <p:sp>
        <p:nvSpPr>
          <p:cNvPr id="257" name="Round Diagonal Corner Rectangle 68">
            <a:extLst>
              <a:ext uri="{FF2B5EF4-FFF2-40B4-BE49-F238E27FC236}">
                <a16:creationId xmlns:a16="http://schemas.microsoft.com/office/drawing/2014/main" id="{1D40B3EA-5563-4CBB-A0E8-E443BE5F2BDB}"/>
              </a:ext>
            </a:extLst>
          </p:cNvPr>
          <p:cNvSpPr/>
          <p:nvPr/>
        </p:nvSpPr>
        <p:spPr bwMode="blackWhite">
          <a:xfrm>
            <a:off x="339383" y="1832447"/>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highlight>
                <a:srgbClr val="FFFF00"/>
              </a:highlight>
              <a:latin typeface="Arial" charset="0"/>
            </a:endParaRPr>
          </a:p>
        </p:txBody>
      </p:sp>
      <p:cxnSp>
        <p:nvCxnSpPr>
          <p:cNvPr id="261" name="Straight Connector 70">
            <a:extLst>
              <a:ext uri="{FF2B5EF4-FFF2-40B4-BE49-F238E27FC236}">
                <a16:creationId xmlns:a16="http://schemas.microsoft.com/office/drawing/2014/main" id="{35850DC7-2E5D-4D4D-A5DA-EF9BC554EA3F}"/>
              </a:ext>
            </a:extLst>
          </p:cNvPr>
          <p:cNvCxnSpPr>
            <a:cxnSpLocks/>
            <a:stCxn id="257" idx="3"/>
          </p:cNvCxnSpPr>
          <p:nvPr/>
        </p:nvCxnSpPr>
        <p:spPr bwMode="auto">
          <a:xfrm flipV="1">
            <a:off x="987383" y="1715890"/>
            <a:ext cx="650559" cy="260557"/>
          </a:xfrm>
          <a:prstGeom prst="line">
            <a:avLst/>
          </a:prstGeom>
          <a:noFill/>
          <a:ln w="12700" algn="ctr">
            <a:solidFill>
              <a:schemeClr val="tx2"/>
            </a:solidFill>
            <a:round/>
            <a:headEnd type="none" w="sm" len="sm"/>
            <a:tailEnd type="oval" w="sm" len="sm"/>
          </a:ln>
          <a:effectLst/>
        </p:spPr>
      </p:cxnSp>
      <p:pic>
        <p:nvPicPr>
          <p:cNvPr id="262" name="Picture 2" descr="Discovery Velocity - Wikipedia">
            <a:extLst>
              <a:ext uri="{FF2B5EF4-FFF2-40B4-BE49-F238E27FC236}">
                <a16:creationId xmlns:a16="http://schemas.microsoft.com/office/drawing/2014/main" id="{217E3748-0DB8-4BCB-9E0F-427EC88E49A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72263" y="1863584"/>
            <a:ext cx="389250" cy="232787"/>
          </a:xfrm>
          <a:prstGeom prst="rect">
            <a:avLst/>
          </a:prstGeom>
          <a:noFill/>
          <a:extLst>
            <a:ext uri="{909E8E84-426E-40DD-AFC4-6F175D3DCCD1}">
              <a14:hiddenFill xmlns:a14="http://schemas.microsoft.com/office/drawing/2010/main">
                <a:solidFill>
                  <a:srgbClr val="FFFFFF"/>
                </a:solidFill>
              </a14:hiddenFill>
            </a:ext>
          </a:extLst>
        </p:spPr>
      </p:pic>
      <p:pic>
        <p:nvPicPr>
          <p:cNvPr id="263" name="Picture 2" descr="Nine Network - Wikipedia">
            <a:extLst>
              <a:ext uri="{FF2B5EF4-FFF2-40B4-BE49-F238E27FC236}">
                <a16:creationId xmlns:a16="http://schemas.microsoft.com/office/drawing/2014/main" id="{C8424171-188E-4A4E-BA42-5EEEDD0D2E0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025721" y="4519583"/>
            <a:ext cx="232105" cy="1094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864ADBFA-77FE-04F9-EA71-6B30B1EC9C17}"/>
              </a:ext>
            </a:extLst>
          </p:cNvPr>
          <p:cNvPicPr>
            <a:picLocks noChangeAspect="1"/>
          </p:cNvPicPr>
          <p:nvPr/>
        </p:nvPicPr>
        <p:blipFill>
          <a:blip r:embed="rId17" r:link="rId18" cstate="print">
            <a:extLst>
              <a:ext uri="{28A0092B-C50C-407E-A947-70E740481C1C}">
                <a14:useLocalDpi xmlns:a14="http://schemas.microsoft.com/office/drawing/2010/main" val="0"/>
              </a:ext>
            </a:extLst>
          </a:blip>
          <a:srcRect/>
          <a:stretch>
            <a:fillRect/>
          </a:stretch>
        </p:blipFill>
        <p:spPr bwMode="auto">
          <a:xfrm>
            <a:off x="2336697" y="2728797"/>
            <a:ext cx="457758" cy="193207"/>
          </a:xfrm>
          <a:prstGeom prst="rect">
            <a:avLst/>
          </a:prstGeom>
          <a:noFill/>
          <a:ln>
            <a:noFill/>
          </a:ln>
        </p:spPr>
      </p:pic>
      <p:pic>
        <p:nvPicPr>
          <p:cNvPr id="9" name="Picture 8">
            <a:extLst>
              <a:ext uri="{FF2B5EF4-FFF2-40B4-BE49-F238E27FC236}">
                <a16:creationId xmlns:a16="http://schemas.microsoft.com/office/drawing/2014/main" id="{B63E1C6E-5457-190F-7535-A79401AA6506}"/>
              </a:ext>
            </a:extLst>
          </p:cNvPr>
          <p:cNvPicPr>
            <a:picLocks noChangeAspect="1"/>
          </p:cNvPicPr>
          <p:nvPr/>
        </p:nvPicPr>
        <p:blipFill rotWithShape="1">
          <a:blip r:embed="rId19" r:link="rId20" cstate="print">
            <a:extLst>
              <a:ext uri="{28A0092B-C50C-407E-A947-70E740481C1C}">
                <a14:useLocalDpi xmlns:a14="http://schemas.microsoft.com/office/drawing/2010/main" val="0"/>
              </a:ext>
            </a:extLst>
          </a:blip>
          <a:srcRect l="25299" t="19456" r="24848" b="20644"/>
          <a:stretch>
            <a:fillRect/>
          </a:stretch>
        </p:blipFill>
        <p:spPr bwMode="auto">
          <a:xfrm>
            <a:off x="670064" y="2400585"/>
            <a:ext cx="355210" cy="240090"/>
          </a:xfrm>
          <a:prstGeom prst="rect">
            <a:avLst/>
          </a:prstGeom>
          <a:solidFill>
            <a:srgbClr val="F5F5F4"/>
          </a:solidFill>
          <a:ln>
            <a:noFill/>
          </a:ln>
        </p:spPr>
      </p:pic>
      <p:sp>
        <p:nvSpPr>
          <p:cNvPr id="6" name="Round Diagonal Corner Rectangle 270">
            <a:extLst>
              <a:ext uri="{FF2B5EF4-FFF2-40B4-BE49-F238E27FC236}">
                <a16:creationId xmlns:a16="http://schemas.microsoft.com/office/drawing/2014/main" id="{EE5EEF05-0BC5-727E-59D7-34BD8CE247DC}"/>
              </a:ext>
            </a:extLst>
          </p:cNvPr>
          <p:cNvSpPr/>
          <p:nvPr/>
        </p:nvSpPr>
        <p:spPr bwMode="blackWhite">
          <a:xfrm>
            <a:off x="154605" y="4258786"/>
            <a:ext cx="1800000" cy="360218"/>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latin typeface="Arial" charset="0"/>
            </a:endParaRPr>
          </a:p>
        </p:txBody>
      </p:sp>
      <p:cxnSp>
        <p:nvCxnSpPr>
          <p:cNvPr id="7" name="Straight Connector 159">
            <a:extLst>
              <a:ext uri="{FF2B5EF4-FFF2-40B4-BE49-F238E27FC236}">
                <a16:creationId xmlns:a16="http://schemas.microsoft.com/office/drawing/2014/main" id="{55CFF0D5-2D83-7ABA-2030-43B21EF3839E}"/>
              </a:ext>
            </a:extLst>
          </p:cNvPr>
          <p:cNvCxnSpPr>
            <a:cxnSpLocks noChangeShapeType="1"/>
          </p:cNvCxnSpPr>
          <p:nvPr/>
        </p:nvCxnSpPr>
        <p:spPr bwMode="auto">
          <a:xfrm>
            <a:off x="979523" y="4303933"/>
            <a:ext cx="0" cy="252000"/>
          </a:xfrm>
          <a:prstGeom prst="line">
            <a:avLst/>
          </a:prstGeom>
          <a:noFill/>
          <a:ln w="12700" algn="ctr">
            <a:solidFill>
              <a:schemeClr val="tx2"/>
            </a:solidFill>
            <a:round/>
            <a:headEnd/>
            <a:tailEnd/>
          </a:ln>
          <a:effectLst/>
        </p:spPr>
      </p:cxnSp>
      <p:pic>
        <p:nvPicPr>
          <p:cNvPr id="11" name="Picture 10">
            <a:extLst>
              <a:ext uri="{FF2B5EF4-FFF2-40B4-BE49-F238E27FC236}">
                <a16:creationId xmlns:a16="http://schemas.microsoft.com/office/drawing/2014/main" id="{A578919A-7BA8-D68C-B322-F7F1DABC8EA7}"/>
              </a:ext>
            </a:extLst>
          </p:cNvPr>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411347" y="4719687"/>
            <a:ext cx="279959" cy="279959"/>
          </a:xfrm>
          <a:prstGeom prst="rect">
            <a:avLst/>
          </a:prstGeom>
          <a:noFill/>
          <a:ln>
            <a:noFill/>
          </a:ln>
        </p:spPr>
      </p:pic>
      <p:sp>
        <p:nvSpPr>
          <p:cNvPr id="12" name="TextBox 154">
            <a:extLst>
              <a:ext uri="{FF2B5EF4-FFF2-40B4-BE49-F238E27FC236}">
                <a16:creationId xmlns:a16="http://schemas.microsoft.com/office/drawing/2014/main" id="{02B53AFD-7F3D-D30F-7428-EFDA43495630}"/>
              </a:ext>
            </a:extLst>
          </p:cNvPr>
          <p:cNvSpPr txBox="1">
            <a:spLocks noChangeArrowheads="1"/>
          </p:cNvSpPr>
          <p:nvPr/>
        </p:nvSpPr>
        <p:spPr bwMode="auto">
          <a:xfrm>
            <a:off x="1047218" y="4392265"/>
            <a:ext cx="793519" cy="140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r>
              <a:rPr lang="en-GB" altLang="en-US" sz="800" dirty="0"/>
              <a:t>Worldwide News</a:t>
            </a:r>
          </a:p>
        </p:txBody>
      </p:sp>
      <p:sp>
        <p:nvSpPr>
          <p:cNvPr id="14" name="TextBox 154">
            <a:extLst>
              <a:ext uri="{FF2B5EF4-FFF2-40B4-BE49-F238E27FC236}">
                <a16:creationId xmlns:a16="http://schemas.microsoft.com/office/drawing/2014/main" id="{6C3D8C8B-068C-4186-687E-EA91FA448117}"/>
              </a:ext>
            </a:extLst>
          </p:cNvPr>
          <p:cNvSpPr txBox="1">
            <a:spLocks noChangeArrowheads="1"/>
          </p:cNvSpPr>
          <p:nvPr/>
        </p:nvSpPr>
        <p:spPr bwMode="auto">
          <a:xfrm>
            <a:off x="1080403" y="3899722"/>
            <a:ext cx="793519" cy="2733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r>
              <a:rPr lang="en-GB" altLang="en-US" sz="800" dirty="0"/>
              <a:t>Pan-Europe; Pan-Asia-Pacific</a:t>
            </a:r>
          </a:p>
        </p:txBody>
      </p:sp>
      <p:cxnSp>
        <p:nvCxnSpPr>
          <p:cNvPr id="15" name="Straight Connector 159">
            <a:extLst>
              <a:ext uri="{FF2B5EF4-FFF2-40B4-BE49-F238E27FC236}">
                <a16:creationId xmlns:a16="http://schemas.microsoft.com/office/drawing/2014/main" id="{F55CDF6C-7A49-6D34-2DF4-5C60267CF47D}"/>
              </a:ext>
            </a:extLst>
          </p:cNvPr>
          <p:cNvCxnSpPr>
            <a:cxnSpLocks noChangeShapeType="1"/>
          </p:cNvCxnSpPr>
          <p:nvPr/>
        </p:nvCxnSpPr>
        <p:spPr bwMode="auto">
          <a:xfrm>
            <a:off x="992897" y="3895368"/>
            <a:ext cx="0" cy="252000"/>
          </a:xfrm>
          <a:prstGeom prst="line">
            <a:avLst/>
          </a:prstGeom>
          <a:noFill/>
          <a:ln w="12700" algn="ctr">
            <a:solidFill>
              <a:schemeClr val="tx2"/>
            </a:solidFill>
            <a:round/>
            <a:headEnd/>
            <a:tailEnd/>
          </a:ln>
          <a:effectLst/>
        </p:spPr>
      </p:cxnSp>
      <p:pic>
        <p:nvPicPr>
          <p:cNvPr id="16" name="Picture 15">
            <a:extLst>
              <a:ext uri="{FF2B5EF4-FFF2-40B4-BE49-F238E27FC236}">
                <a16:creationId xmlns:a16="http://schemas.microsoft.com/office/drawing/2014/main" id="{175F598D-CA45-93AF-2801-C3F9E5CA9BE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1057" y="3964573"/>
            <a:ext cx="744324" cy="86499"/>
          </a:xfrm>
          <a:prstGeom prst="rect">
            <a:avLst/>
          </a:prstGeom>
        </p:spPr>
      </p:pic>
      <p:pic>
        <p:nvPicPr>
          <p:cNvPr id="17" name="Picture 16">
            <a:extLst>
              <a:ext uri="{FF2B5EF4-FFF2-40B4-BE49-F238E27FC236}">
                <a16:creationId xmlns:a16="http://schemas.microsoft.com/office/drawing/2014/main" id="{A9296047-3000-C3B6-B56C-A94AB7E6EAA4}"/>
              </a:ext>
            </a:extLst>
          </p:cNvPr>
          <p:cNvPicPr>
            <a:picLocks noChangeAspect="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325694" y="4311430"/>
            <a:ext cx="468136" cy="260090"/>
          </a:xfrm>
          <a:prstGeom prst="rect">
            <a:avLst/>
          </a:prstGeom>
          <a:noFill/>
          <a:ln>
            <a:noFill/>
          </a:ln>
        </p:spPr>
      </p:pic>
      <p:sp>
        <p:nvSpPr>
          <p:cNvPr id="28" name="TextBox 154">
            <a:extLst>
              <a:ext uri="{FF2B5EF4-FFF2-40B4-BE49-F238E27FC236}">
                <a16:creationId xmlns:a16="http://schemas.microsoft.com/office/drawing/2014/main" id="{69D817D8-8071-5C43-E51A-422FCEF6E9EE}"/>
              </a:ext>
            </a:extLst>
          </p:cNvPr>
          <p:cNvSpPr txBox="1">
            <a:spLocks noChangeArrowheads="1"/>
          </p:cNvSpPr>
          <p:nvPr/>
        </p:nvSpPr>
        <p:spPr bwMode="auto">
          <a:xfrm>
            <a:off x="1046710" y="4785646"/>
            <a:ext cx="793519" cy="17035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r>
              <a:rPr lang="en-GB" altLang="en-US" sz="800" dirty="0"/>
              <a:t>Worldwide News</a:t>
            </a:r>
          </a:p>
        </p:txBody>
      </p:sp>
      <p:cxnSp>
        <p:nvCxnSpPr>
          <p:cNvPr id="29" name="Straight Connector 159">
            <a:extLst>
              <a:ext uri="{FF2B5EF4-FFF2-40B4-BE49-F238E27FC236}">
                <a16:creationId xmlns:a16="http://schemas.microsoft.com/office/drawing/2014/main" id="{522C9744-7CF8-00D0-86CE-3AF6942ADEE7}"/>
              </a:ext>
            </a:extLst>
          </p:cNvPr>
          <p:cNvCxnSpPr>
            <a:cxnSpLocks noChangeShapeType="1"/>
          </p:cNvCxnSpPr>
          <p:nvPr/>
        </p:nvCxnSpPr>
        <p:spPr bwMode="auto">
          <a:xfrm>
            <a:off x="979523" y="4747427"/>
            <a:ext cx="0" cy="252000"/>
          </a:xfrm>
          <a:prstGeom prst="line">
            <a:avLst/>
          </a:prstGeom>
          <a:noFill/>
          <a:ln w="12700" algn="ctr">
            <a:solidFill>
              <a:schemeClr val="tx2"/>
            </a:solidFill>
            <a:round/>
            <a:headEnd/>
            <a:tailEnd/>
          </a:ln>
          <a:effectLst/>
        </p:spPr>
      </p:cxnSp>
      <p:sp>
        <p:nvSpPr>
          <p:cNvPr id="3" name="Round Diagonal Corner Rectangle 80">
            <a:extLst>
              <a:ext uri="{FF2B5EF4-FFF2-40B4-BE49-F238E27FC236}">
                <a16:creationId xmlns:a16="http://schemas.microsoft.com/office/drawing/2014/main" id="{9A961F71-40C2-5AC4-F8FB-1930D2A19B6F}"/>
              </a:ext>
            </a:extLst>
          </p:cNvPr>
          <p:cNvSpPr/>
          <p:nvPr/>
        </p:nvSpPr>
        <p:spPr bwMode="blackWhite">
          <a:xfrm>
            <a:off x="8397806" y="1974746"/>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highlight>
                <a:srgbClr val="FFFF00"/>
              </a:highlight>
              <a:latin typeface="Arial" charset="0"/>
            </a:endParaRPr>
          </a:p>
        </p:txBody>
      </p:sp>
      <p:cxnSp>
        <p:nvCxnSpPr>
          <p:cNvPr id="4" name="Straight Connector 82">
            <a:extLst>
              <a:ext uri="{FF2B5EF4-FFF2-40B4-BE49-F238E27FC236}">
                <a16:creationId xmlns:a16="http://schemas.microsoft.com/office/drawing/2014/main" id="{B54A181F-6A77-E5C5-8FE7-52AE51754ED1}"/>
              </a:ext>
            </a:extLst>
          </p:cNvPr>
          <p:cNvCxnSpPr>
            <a:cxnSpLocks/>
            <a:stCxn id="3" idx="1"/>
          </p:cNvCxnSpPr>
          <p:nvPr/>
        </p:nvCxnSpPr>
        <p:spPr bwMode="auto">
          <a:xfrm flipH="1">
            <a:off x="6450189" y="2118746"/>
            <a:ext cx="1947617" cy="50923"/>
          </a:xfrm>
          <a:prstGeom prst="line">
            <a:avLst/>
          </a:prstGeom>
          <a:noFill/>
          <a:ln w="12700" algn="ctr">
            <a:solidFill>
              <a:schemeClr val="tx2"/>
            </a:solidFill>
            <a:round/>
            <a:headEnd/>
            <a:tailEnd type="oval" w="sm" len="sm"/>
          </a:ln>
          <a:effectLst/>
        </p:spPr>
      </p:cxnSp>
      <p:sp>
        <p:nvSpPr>
          <p:cNvPr id="18" name="Round Diagonal Corner Rectangle 80">
            <a:extLst>
              <a:ext uri="{FF2B5EF4-FFF2-40B4-BE49-F238E27FC236}">
                <a16:creationId xmlns:a16="http://schemas.microsoft.com/office/drawing/2014/main" id="{4F183BF7-5AB3-07D0-3F5E-39FC6302441C}"/>
              </a:ext>
            </a:extLst>
          </p:cNvPr>
          <p:cNvSpPr/>
          <p:nvPr/>
        </p:nvSpPr>
        <p:spPr bwMode="blackWhite">
          <a:xfrm>
            <a:off x="7666072" y="1461203"/>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highlight>
                <a:srgbClr val="FFFF00"/>
              </a:highlight>
              <a:latin typeface="Arial" charset="0"/>
            </a:endParaRPr>
          </a:p>
        </p:txBody>
      </p:sp>
      <p:cxnSp>
        <p:nvCxnSpPr>
          <p:cNvPr id="30" name="Straight Connector 82">
            <a:extLst>
              <a:ext uri="{FF2B5EF4-FFF2-40B4-BE49-F238E27FC236}">
                <a16:creationId xmlns:a16="http://schemas.microsoft.com/office/drawing/2014/main" id="{C661D1CC-48B1-EA4D-92F1-9A721E14ECBB}"/>
              </a:ext>
            </a:extLst>
          </p:cNvPr>
          <p:cNvCxnSpPr>
            <a:cxnSpLocks/>
            <a:stCxn id="18" idx="1"/>
          </p:cNvCxnSpPr>
          <p:nvPr/>
        </p:nvCxnSpPr>
        <p:spPr bwMode="auto">
          <a:xfrm flipH="1">
            <a:off x="6374015" y="1605203"/>
            <a:ext cx="1292057" cy="315349"/>
          </a:xfrm>
          <a:prstGeom prst="line">
            <a:avLst/>
          </a:prstGeom>
          <a:noFill/>
          <a:ln w="12700" algn="ctr">
            <a:solidFill>
              <a:schemeClr val="tx2"/>
            </a:solidFill>
            <a:round/>
            <a:headEnd/>
            <a:tailEnd type="oval" w="sm" len="sm"/>
          </a:ln>
          <a:effectLst/>
        </p:spPr>
      </p:cxnSp>
      <p:pic>
        <p:nvPicPr>
          <p:cNvPr id="229" name="Picture 2" descr="Porsche Logo and symbol, meaning, history, PNG, brand">
            <a:extLst>
              <a:ext uri="{FF2B5EF4-FFF2-40B4-BE49-F238E27FC236}">
                <a16:creationId xmlns:a16="http://schemas.microsoft.com/office/drawing/2014/main" id="{34BF0926-2A87-7A6C-7283-971BBCAF9C69}"/>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788532" y="1497722"/>
            <a:ext cx="356378" cy="199572"/>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Weibo SVG Vector Logos - Vector Logo Zone">
            <a:extLst>
              <a:ext uri="{FF2B5EF4-FFF2-40B4-BE49-F238E27FC236}">
                <a16:creationId xmlns:a16="http://schemas.microsoft.com/office/drawing/2014/main" id="{2DFFEE31-3AF5-CDC6-A3C8-E3A198275AD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8478749" y="1994653"/>
            <a:ext cx="522838" cy="261419"/>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Straight Connector 82">
            <a:extLst>
              <a:ext uri="{FF2B5EF4-FFF2-40B4-BE49-F238E27FC236}">
                <a16:creationId xmlns:a16="http://schemas.microsoft.com/office/drawing/2014/main" id="{43E4CD09-73F3-1E25-6531-0FD5A75072D1}"/>
              </a:ext>
            </a:extLst>
          </p:cNvPr>
          <p:cNvCxnSpPr>
            <a:cxnSpLocks/>
          </p:cNvCxnSpPr>
          <p:nvPr/>
        </p:nvCxnSpPr>
        <p:spPr bwMode="auto">
          <a:xfrm flipH="1">
            <a:off x="6421120" y="1819658"/>
            <a:ext cx="1976686" cy="250931"/>
          </a:xfrm>
          <a:prstGeom prst="line">
            <a:avLst/>
          </a:prstGeom>
          <a:noFill/>
          <a:ln w="12700" algn="ctr">
            <a:solidFill>
              <a:schemeClr val="tx2"/>
            </a:solidFill>
            <a:round/>
            <a:headEnd/>
            <a:tailEnd type="oval" w="sm" len="sm"/>
          </a:ln>
          <a:effectLst/>
        </p:spPr>
      </p:cxnSp>
      <p:cxnSp>
        <p:nvCxnSpPr>
          <p:cNvPr id="48" name="Straight Connector 70">
            <a:extLst>
              <a:ext uri="{FF2B5EF4-FFF2-40B4-BE49-F238E27FC236}">
                <a16:creationId xmlns:a16="http://schemas.microsoft.com/office/drawing/2014/main" id="{2C06C80E-3DAA-C102-11BD-E4098E6B7F3E}"/>
              </a:ext>
            </a:extLst>
          </p:cNvPr>
          <p:cNvCxnSpPr>
            <a:cxnSpLocks/>
            <a:stCxn id="47" idx="3"/>
          </p:cNvCxnSpPr>
          <p:nvPr/>
        </p:nvCxnSpPr>
        <p:spPr bwMode="auto">
          <a:xfrm>
            <a:off x="789608" y="1609913"/>
            <a:ext cx="772855" cy="24905"/>
          </a:xfrm>
          <a:prstGeom prst="line">
            <a:avLst/>
          </a:prstGeom>
          <a:noFill/>
          <a:ln w="12700" algn="ctr">
            <a:solidFill>
              <a:schemeClr val="tx2"/>
            </a:solidFill>
            <a:round/>
            <a:headEnd type="none" w="sm" len="sm"/>
            <a:tailEnd type="oval" w="sm" len="sm"/>
          </a:ln>
          <a:effectLst/>
        </p:spPr>
      </p:cxnSp>
      <p:sp>
        <p:nvSpPr>
          <p:cNvPr id="47" name="Round Diagonal Corner Rectangle 68">
            <a:extLst>
              <a:ext uri="{FF2B5EF4-FFF2-40B4-BE49-F238E27FC236}">
                <a16:creationId xmlns:a16="http://schemas.microsoft.com/office/drawing/2014/main" id="{3C66D988-DE56-4836-7BBB-FB2D3DF044F3}"/>
              </a:ext>
            </a:extLst>
          </p:cNvPr>
          <p:cNvSpPr/>
          <p:nvPr/>
        </p:nvSpPr>
        <p:spPr bwMode="blackWhite">
          <a:xfrm>
            <a:off x="141608" y="1442653"/>
            <a:ext cx="648000" cy="33452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highlight>
                <a:srgbClr val="FFFF00"/>
              </a:highlight>
              <a:latin typeface="Arial" charset="0"/>
            </a:endParaRPr>
          </a:p>
        </p:txBody>
      </p:sp>
      <p:pic>
        <p:nvPicPr>
          <p:cNvPr id="46" name="Picture 2">
            <a:extLst>
              <a:ext uri="{FF2B5EF4-FFF2-40B4-BE49-F238E27FC236}">
                <a16:creationId xmlns:a16="http://schemas.microsoft.com/office/drawing/2014/main" id="{E9877C40-82C2-0F22-F6CC-7912D0C1F985}"/>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35467" y="1466937"/>
            <a:ext cx="477800" cy="265445"/>
          </a:xfrm>
          <a:prstGeom prst="rect">
            <a:avLst/>
          </a:prstGeom>
          <a:noFill/>
          <a:extLst>
            <a:ext uri="{909E8E84-426E-40DD-AFC4-6F175D3DCCD1}">
              <a14:hiddenFill xmlns:a14="http://schemas.microsoft.com/office/drawing/2010/main">
                <a:solidFill>
                  <a:srgbClr val="FFFFFF"/>
                </a:solidFill>
              </a14:hiddenFill>
            </a:ext>
          </a:extLst>
        </p:spPr>
      </p:pic>
      <p:sp>
        <p:nvSpPr>
          <p:cNvPr id="41" name="Round Diagonal Corner Rectangle 80">
            <a:extLst>
              <a:ext uri="{FF2B5EF4-FFF2-40B4-BE49-F238E27FC236}">
                <a16:creationId xmlns:a16="http://schemas.microsoft.com/office/drawing/2014/main" id="{3FA36B14-9156-9F56-1AB5-683B2CB37BA7}"/>
              </a:ext>
            </a:extLst>
          </p:cNvPr>
          <p:cNvSpPr/>
          <p:nvPr/>
        </p:nvSpPr>
        <p:spPr bwMode="blackWhite">
          <a:xfrm>
            <a:off x="8382551" y="1610476"/>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highlight>
                <a:srgbClr val="FFFF00"/>
              </a:highlight>
              <a:latin typeface="Arial" charset="0"/>
            </a:endParaRPr>
          </a:p>
        </p:txBody>
      </p:sp>
      <p:pic>
        <p:nvPicPr>
          <p:cNvPr id="5" name="Picture 2" descr="Wechat Logo PNG Vector (AI) Free Download">
            <a:extLst>
              <a:ext uri="{FF2B5EF4-FFF2-40B4-BE49-F238E27FC236}">
                <a16:creationId xmlns:a16="http://schemas.microsoft.com/office/drawing/2014/main" id="{0D0CC398-5646-5847-9699-F5BABB2E7326}"/>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651274" y="1644459"/>
            <a:ext cx="217456" cy="217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7536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4" name="Group 283">
            <a:extLst>
              <a:ext uri="{FF2B5EF4-FFF2-40B4-BE49-F238E27FC236}">
                <a16:creationId xmlns:a16="http://schemas.microsoft.com/office/drawing/2014/main" id="{9A466A55-1507-4956-A59E-3C2D48D0F6A5}"/>
              </a:ext>
            </a:extLst>
          </p:cNvPr>
          <p:cNvGrpSpPr/>
          <p:nvPr/>
        </p:nvGrpSpPr>
        <p:grpSpPr>
          <a:xfrm>
            <a:off x="1329078" y="662921"/>
            <a:ext cx="5908337" cy="4358115"/>
            <a:chOff x="1331640" y="661907"/>
            <a:chExt cx="5908337" cy="4358115"/>
          </a:xfrm>
        </p:grpSpPr>
        <p:sp>
          <p:nvSpPr>
            <p:cNvPr id="285" name="Freeform 6">
              <a:extLst>
                <a:ext uri="{FF2B5EF4-FFF2-40B4-BE49-F238E27FC236}">
                  <a16:creationId xmlns:a16="http://schemas.microsoft.com/office/drawing/2014/main" id="{E557E11E-14E7-49FA-A03F-11E4D32A9D51}"/>
                </a:ext>
              </a:extLst>
            </p:cNvPr>
            <p:cNvSpPr>
              <a:spLocks/>
            </p:cNvSpPr>
            <p:nvPr/>
          </p:nvSpPr>
          <p:spPr bwMode="auto">
            <a:xfrm>
              <a:off x="4677386" y="4824988"/>
              <a:ext cx="81432" cy="78416"/>
            </a:xfrm>
            <a:custGeom>
              <a:avLst/>
              <a:gdLst>
                <a:gd name="T0" fmla="*/ 23 w 34"/>
                <a:gd name="T1" fmla="*/ 33 h 33"/>
                <a:gd name="T2" fmla="*/ 8 w 34"/>
                <a:gd name="T3" fmla="*/ 14 h 33"/>
                <a:gd name="T4" fmla="*/ 23 w 34"/>
                <a:gd name="T5" fmla="*/ 33 h 33"/>
              </a:gdLst>
              <a:ahLst/>
              <a:cxnLst>
                <a:cxn ang="0">
                  <a:pos x="T0" y="T1"/>
                </a:cxn>
                <a:cxn ang="0">
                  <a:pos x="T2" y="T3"/>
                </a:cxn>
                <a:cxn ang="0">
                  <a:pos x="T4" y="T5"/>
                </a:cxn>
              </a:cxnLst>
              <a:rect l="0" t="0" r="r" b="b"/>
              <a:pathLst>
                <a:path w="34" h="33">
                  <a:moveTo>
                    <a:pt x="23" y="33"/>
                  </a:moveTo>
                  <a:cubicBezTo>
                    <a:pt x="34" y="20"/>
                    <a:pt x="16" y="0"/>
                    <a:pt x="8" y="14"/>
                  </a:cubicBezTo>
                  <a:cubicBezTo>
                    <a:pt x="0" y="28"/>
                    <a:pt x="23" y="33"/>
                    <a:pt x="23" y="33"/>
                  </a:cubicBezTo>
                  <a:close/>
                </a:path>
              </a:pathLst>
            </a:custGeom>
            <a:solidFill>
              <a:srgbClr val="E6E6E6"/>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86" name="Freeform 7">
              <a:extLst>
                <a:ext uri="{FF2B5EF4-FFF2-40B4-BE49-F238E27FC236}">
                  <a16:creationId xmlns:a16="http://schemas.microsoft.com/office/drawing/2014/main" id="{3787960A-5E0A-4C51-81B6-846ED1DCCD2A}"/>
                </a:ext>
              </a:extLst>
            </p:cNvPr>
            <p:cNvSpPr>
              <a:spLocks/>
            </p:cNvSpPr>
            <p:nvPr/>
          </p:nvSpPr>
          <p:spPr bwMode="auto">
            <a:xfrm>
              <a:off x="1331640" y="1162563"/>
              <a:ext cx="939986" cy="360915"/>
            </a:xfrm>
            <a:custGeom>
              <a:avLst/>
              <a:gdLst>
                <a:gd name="T0" fmla="*/ 207 w 396"/>
                <a:gd name="T1" fmla="*/ 144 h 152"/>
                <a:gd name="T2" fmla="*/ 238 w 396"/>
                <a:gd name="T3" fmla="*/ 136 h 152"/>
                <a:gd name="T4" fmla="*/ 262 w 396"/>
                <a:gd name="T5" fmla="*/ 130 h 152"/>
                <a:gd name="T6" fmla="*/ 339 w 396"/>
                <a:gd name="T7" fmla="*/ 105 h 152"/>
                <a:gd name="T8" fmla="*/ 363 w 396"/>
                <a:gd name="T9" fmla="*/ 83 h 152"/>
                <a:gd name="T10" fmla="*/ 373 w 396"/>
                <a:gd name="T11" fmla="*/ 68 h 152"/>
                <a:gd name="T12" fmla="*/ 356 w 396"/>
                <a:gd name="T13" fmla="*/ 50 h 152"/>
                <a:gd name="T14" fmla="*/ 341 w 396"/>
                <a:gd name="T15" fmla="*/ 41 h 152"/>
                <a:gd name="T16" fmla="*/ 342 w 396"/>
                <a:gd name="T17" fmla="*/ 24 h 152"/>
                <a:gd name="T18" fmla="*/ 325 w 396"/>
                <a:gd name="T19" fmla="*/ 17 h 152"/>
                <a:gd name="T20" fmla="*/ 294 w 396"/>
                <a:gd name="T21" fmla="*/ 16 h 152"/>
                <a:gd name="T22" fmla="*/ 262 w 396"/>
                <a:gd name="T23" fmla="*/ 19 h 152"/>
                <a:gd name="T24" fmla="*/ 227 w 396"/>
                <a:gd name="T25" fmla="*/ 19 h 152"/>
                <a:gd name="T26" fmla="*/ 201 w 396"/>
                <a:gd name="T27" fmla="*/ 16 h 152"/>
                <a:gd name="T28" fmla="*/ 182 w 396"/>
                <a:gd name="T29" fmla="*/ 26 h 152"/>
                <a:gd name="T30" fmla="*/ 171 w 396"/>
                <a:gd name="T31" fmla="*/ 39 h 152"/>
                <a:gd name="T32" fmla="*/ 145 w 396"/>
                <a:gd name="T33" fmla="*/ 50 h 152"/>
                <a:gd name="T34" fmla="*/ 112 w 396"/>
                <a:gd name="T35" fmla="*/ 63 h 152"/>
                <a:gd name="T36" fmla="*/ 102 w 396"/>
                <a:gd name="T37" fmla="*/ 40 h 152"/>
                <a:gd name="T38" fmla="*/ 68 w 396"/>
                <a:gd name="T39" fmla="*/ 7 h 152"/>
                <a:gd name="T40" fmla="*/ 43 w 396"/>
                <a:gd name="T41" fmla="*/ 19 h 152"/>
                <a:gd name="T42" fmla="*/ 35 w 396"/>
                <a:gd name="T43" fmla="*/ 37 h 152"/>
                <a:gd name="T44" fmla="*/ 4 w 396"/>
                <a:gd name="T45" fmla="*/ 47 h 152"/>
                <a:gd name="T46" fmla="*/ 55 w 396"/>
                <a:gd name="T47" fmla="*/ 43 h 152"/>
                <a:gd name="T48" fmla="*/ 64 w 396"/>
                <a:gd name="T49" fmla="*/ 61 h 152"/>
                <a:gd name="T50" fmla="*/ 35 w 396"/>
                <a:gd name="T51" fmla="*/ 73 h 152"/>
                <a:gd name="T52" fmla="*/ 38 w 396"/>
                <a:gd name="T53" fmla="*/ 82 h 152"/>
                <a:gd name="T54" fmla="*/ 88 w 396"/>
                <a:gd name="T55" fmla="*/ 91 h 152"/>
                <a:gd name="T56" fmla="*/ 85 w 396"/>
                <a:gd name="T57" fmla="*/ 105 h 152"/>
                <a:gd name="T58" fmla="*/ 41 w 396"/>
                <a:gd name="T59" fmla="*/ 125 h 152"/>
                <a:gd name="T60" fmla="*/ 98 w 396"/>
                <a:gd name="T61" fmla="*/ 123 h 152"/>
                <a:gd name="T62" fmla="*/ 124 w 396"/>
                <a:gd name="T63" fmla="*/ 127 h 152"/>
                <a:gd name="T64" fmla="*/ 172 w 396"/>
                <a:gd name="T65" fmla="*/ 1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6" h="152">
                  <a:moveTo>
                    <a:pt x="172" y="150"/>
                  </a:moveTo>
                  <a:cubicBezTo>
                    <a:pt x="200" y="143"/>
                    <a:pt x="200" y="149"/>
                    <a:pt x="207" y="144"/>
                  </a:cubicBezTo>
                  <a:cubicBezTo>
                    <a:pt x="214" y="139"/>
                    <a:pt x="211" y="131"/>
                    <a:pt x="211" y="131"/>
                  </a:cubicBezTo>
                  <a:cubicBezTo>
                    <a:pt x="211" y="131"/>
                    <a:pt x="230" y="139"/>
                    <a:pt x="238" y="136"/>
                  </a:cubicBezTo>
                  <a:cubicBezTo>
                    <a:pt x="246" y="133"/>
                    <a:pt x="246" y="126"/>
                    <a:pt x="246" y="126"/>
                  </a:cubicBezTo>
                  <a:cubicBezTo>
                    <a:pt x="246" y="126"/>
                    <a:pt x="257" y="130"/>
                    <a:pt x="262" y="130"/>
                  </a:cubicBezTo>
                  <a:cubicBezTo>
                    <a:pt x="267" y="130"/>
                    <a:pt x="305" y="107"/>
                    <a:pt x="313" y="106"/>
                  </a:cubicBezTo>
                  <a:cubicBezTo>
                    <a:pt x="321" y="105"/>
                    <a:pt x="332" y="112"/>
                    <a:pt x="339" y="105"/>
                  </a:cubicBezTo>
                  <a:cubicBezTo>
                    <a:pt x="346" y="98"/>
                    <a:pt x="347" y="87"/>
                    <a:pt x="347" y="87"/>
                  </a:cubicBezTo>
                  <a:cubicBezTo>
                    <a:pt x="347" y="87"/>
                    <a:pt x="354" y="87"/>
                    <a:pt x="363" y="83"/>
                  </a:cubicBezTo>
                  <a:cubicBezTo>
                    <a:pt x="372" y="79"/>
                    <a:pt x="383" y="69"/>
                    <a:pt x="383" y="69"/>
                  </a:cubicBezTo>
                  <a:cubicBezTo>
                    <a:pt x="373" y="68"/>
                    <a:pt x="373" y="68"/>
                    <a:pt x="373" y="68"/>
                  </a:cubicBezTo>
                  <a:cubicBezTo>
                    <a:pt x="373" y="68"/>
                    <a:pt x="396" y="57"/>
                    <a:pt x="382" y="50"/>
                  </a:cubicBezTo>
                  <a:cubicBezTo>
                    <a:pt x="368" y="43"/>
                    <a:pt x="356" y="50"/>
                    <a:pt x="356" y="50"/>
                  </a:cubicBezTo>
                  <a:cubicBezTo>
                    <a:pt x="359" y="40"/>
                    <a:pt x="359" y="40"/>
                    <a:pt x="359" y="40"/>
                  </a:cubicBezTo>
                  <a:cubicBezTo>
                    <a:pt x="341" y="41"/>
                    <a:pt x="341" y="41"/>
                    <a:pt x="341" y="41"/>
                  </a:cubicBezTo>
                  <a:cubicBezTo>
                    <a:pt x="351" y="26"/>
                    <a:pt x="351" y="26"/>
                    <a:pt x="351" y="26"/>
                  </a:cubicBezTo>
                  <a:cubicBezTo>
                    <a:pt x="342" y="24"/>
                    <a:pt x="342" y="24"/>
                    <a:pt x="342" y="24"/>
                  </a:cubicBezTo>
                  <a:cubicBezTo>
                    <a:pt x="346" y="12"/>
                    <a:pt x="346" y="12"/>
                    <a:pt x="346" y="12"/>
                  </a:cubicBezTo>
                  <a:cubicBezTo>
                    <a:pt x="325" y="17"/>
                    <a:pt x="325" y="17"/>
                    <a:pt x="325" y="17"/>
                  </a:cubicBezTo>
                  <a:cubicBezTo>
                    <a:pt x="325" y="17"/>
                    <a:pt x="304" y="0"/>
                    <a:pt x="297" y="0"/>
                  </a:cubicBezTo>
                  <a:cubicBezTo>
                    <a:pt x="290" y="0"/>
                    <a:pt x="294" y="16"/>
                    <a:pt x="294" y="16"/>
                  </a:cubicBezTo>
                  <a:cubicBezTo>
                    <a:pt x="280" y="22"/>
                    <a:pt x="280" y="22"/>
                    <a:pt x="280" y="22"/>
                  </a:cubicBezTo>
                  <a:cubicBezTo>
                    <a:pt x="280" y="22"/>
                    <a:pt x="268" y="19"/>
                    <a:pt x="262" y="19"/>
                  </a:cubicBezTo>
                  <a:cubicBezTo>
                    <a:pt x="256" y="19"/>
                    <a:pt x="249" y="29"/>
                    <a:pt x="249" y="29"/>
                  </a:cubicBezTo>
                  <a:cubicBezTo>
                    <a:pt x="249" y="29"/>
                    <a:pt x="233" y="17"/>
                    <a:pt x="227" y="19"/>
                  </a:cubicBezTo>
                  <a:cubicBezTo>
                    <a:pt x="221" y="21"/>
                    <a:pt x="226" y="41"/>
                    <a:pt x="226" y="41"/>
                  </a:cubicBezTo>
                  <a:cubicBezTo>
                    <a:pt x="226" y="41"/>
                    <a:pt x="208" y="16"/>
                    <a:pt x="201" y="16"/>
                  </a:cubicBezTo>
                  <a:cubicBezTo>
                    <a:pt x="194" y="16"/>
                    <a:pt x="198" y="23"/>
                    <a:pt x="198" y="23"/>
                  </a:cubicBezTo>
                  <a:cubicBezTo>
                    <a:pt x="198" y="23"/>
                    <a:pt x="183" y="23"/>
                    <a:pt x="182" y="26"/>
                  </a:cubicBezTo>
                  <a:cubicBezTo>
                    <a:pt x="181" y="29"/>
                    <a:pt x="181" y="38"/>
                    <a:pt x="181" y="38"/>
                  </a:cubicBezTo>
                  <a:cubicBezTo>
                    <a:pt x="171" y="39"/>
                    <a:pt x="171" y="39"/>
                    <a:pt x="171" y="39"/>
                  </a:cubicBezTo>
                  <a:cubicBezTo>
                    <a:pt x="171" y="39"/>
                    <a:pt x="155" y="18"/>
                    <a:pt x="150" y="22"/>
                  </a:cubicBezTo>
                  <a:cubicBezTo>
                    <a:pt x="145" y="26"/>
                    <a:pt x="150" y="49"/>
                    <a:pt x="145" y="50"/>
                  </a:cubicBezTo>
                  <a:cubicBezTo>
                    <a:pt x="140" y="51"/>
                    <a:pt x="133" y="42"/>
                    <a:pt x="129" y="42"/>
                  </a:cubicBezTo>
                  <a:cubicBezTo>
                    <a:pt x="125" y="42"/>
                    <a:pt x="112" y="63"/>
                    <a:pt x="112" y="63"/>
                  </a:cubicBezTo>
                  <a:cubicBezTo>
                    <a:pt x="110" y="56"/>
                    <a:pt x="110" y="56"/>
                    <a:pt x="110" y="56"/>
                  </a:cubicBezTo>
                  <a:cubicBezTo>
                    <a:pt x="102" y="40"/>
                    <a:pt x="102" y="40"/>
                    <a:pt x="102" y="40"/>
                  </a:cubicBezTo>
                  <a:cubicBezTo>
                    <a:pt x="102" y="40"/>
                    <a:pt x="118" y="35"/>
                    <a:pt x="112" y="26"/>
                  </a:cubicBezTo>
                  <a:cubicBezTo>
                    <a:pt x="106" y="17"/>
                    <a:pt x="73" y="3"/>
                    <a:pt x="68" y="7"/>
                  </a:cubicBezTo>
                  <a:cubicBezTo>
                    <a:pt x="63" y="11"/>
                    <a:pt x="69" y="26"/>
                    <a:pt x="69" y="26"/>
                  </a:cubicBezTo>
                  <a:cubicBezTo>
                    <a:pt x="69" y="26"/>
                    <a:pt x="49" y="19"/>
                    <a:pt x="43" y="19"/>
                  </a:cubicBezTo>
                  <a:cubicBezTo>
                    <a:pt x="37" y="19"/>
                    <a:pt x="25" y="31"/>
                    <a:pt x="25" y="31"/>
                  </a:cubicBezTo>
                  <a:cubicBezTo>
                    <a:pt x="35" y="37"/>
                    <a:pt x="35" y="37"/>
                    <a:pt x="35" y="37"/>
                  </a:cubicBezTo>
                  <a:cubicBezTo>
                    <a:pt x="35" y="37"/>
                    <a:pt x="23" y="35"/>
                    <a:pt x="17" y="41"/>
                  </a:cubicBezTo>
                  <a:cubicBezTo>
                    <a:pt x="11" y="47"/>
                    <a:pt x="4" y="47"/>
                    <a:pt x="4" y="47"/>
                  </a:cubicBezTo>
                  <a:cubicBezTo>
                    <a:pt x="4" y="47"/>
                    <a:pt x="12" y="54"/>
                    <a:pt x="20" y="54"/>
                  </a:cubicBezTo>
                  <a:cubicBezTo>
                    <a:pt x="28" y="54"/>
                    <a:pt x="55" y="43"/>
                    <a:pt x="55" y="43"/>
                  </a:cubicBezTo>
                  <a:cubicBezTo>
                    <a:pt x="90" y="49"/>
                    <a:pt x="90" y="49"/>
                    <a:pt x="90" y="49"/>
                  </a:cubicBezTo>
                  <a:cubicBezTo>
                    <a:pt x="64" y="61"/>
                    <a:pt x="64" y="61"/>
                    <a:pt x="64" y="61"/>
                  </a:cubicBezTo>
                  <a:cubicBezTo>
                    <a:pt x="64" y="61"/>
                    <a:pt x="84" y="64"/>
                    <a:pt x="84" y="68"/>
                  </a:cubicBezTo>
                  <a:cubicBezTo>
                    <a:pt x="84" y="72"/>
                    <a:pt x="39" y="72"/>
                    <a:pt x="35" y="73"/>
                  </a:cubicBezTo>
                  <a:cubicBezTo>
                    <a:pt x="31" y="74"/>
                    <a:pt x="0" y="72"/>
                    <a:pt x="6" y="79"/>
                  </a:cubicBezTo>
                  <a:cubicBezTo>
                    <a:pt x="12" y="86"/>
                    <a:pt x="25" y="81"/>
                    <a:pt x="38" y="82"/>
                  </a:cubicBezTo>
                  <a:cubicBezTo>
                    <a:pt x="51" y="83"/>
                    <a:pt x="65" y="95"/>
                    <a:pt x="65" y="95"/>
                  </a:cubicBezTo>
                  <a:cubicBezTo>
                    <a:pt x="88" y="91"/>
                    <a:pt x="88" y="91"/>
                    <a:pt x="88" y="91"/>
                  </a:cubicBezTo>
                  <a:cubicBezTo>
                    <a:pt x="75" y="101"/>
                    <a:pt x="75" y="101"/>
                    <a:pt x="75" y="101"/>
                  </a:cubicBezTo>
                  <a:cubicBezTo>
                    <a:pt x="85" y="105"/>
                    <a:pt x="85" y="105"/>
                    <a:pt x="85" y="105"/>
                  </a:cubicBezTo>
                  <a:cubicBezTo>
                    <a:pt x="85" y="105"/>
                    <a:pt x="82" y="114"/>
                    <a:pt x="75" y="118"/>
                  </a:cubicBezTo>
                  <a:cubicBezTo>
                    <a:pt x="68" y="122"/>
                    <a:pt x="35" y="116"/>
                    <a:pt x="41" y="125"/>
                  </a:cubicBezTo>
                  <a:cubicBezTo>
                    <a:pt x="47" y="134"/>
                    <a:pt x="75" y="130"/>
                    <a:pt x="82" y="130"/>
                  </a:cubicBezTo>
                  <a:cubicBezTo>
                    <a:pt x="89" y="130"/>
                    <a:pt x="98" y="123"/>
                    <a:pt x="98" y="123"/>
                  </a:cubicBezTo>
                  <a:cubicBezTo>
                    <a:pt x="116" y="134"/>
                    <a:pt x="116" y="134"/>
                    <a:pt x="116" y="134"/>
                  </a:cubicBezTo>
                  <a:cubicBezTo>
                    <a:pt x="124" y="127"/>
                    <a:pt x="124" y="127"/>
                    <a:pt x="124" y="127"/>
                  </a:cubicBezTo>
                  <a:cubicBezTo>
                    <a:pt x="124" y="127"/>
                    <a:pt x="121" y="133"/>
                    <a:pt x="131" y="138"/>
                  </a:cubicBezTo>
                  <a:cubicBezTo>
                    <a:pt x="141" y="143"/>
                    <a:pt x="164" y="152"/>
                    <a:pt x="172" y="15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87" name="Freeform 8">
              <a:extLst>
                <a:ext uri="{FF2B5EF4-FFF2-40B4-BE49-F238E27FC236}">
                  <a16:creationId xmlns:a16="http://schemas.microsoft.com/office/drawing/2014/main" id="{931E75B1-0472-4723-954D-859D5B9E3B40}"/>
                </a:ext>
              </a:extLst>
            </p:cNvPr>
            <p:cNvSpPr>
              <a:spLocks noEditPoints="1"/>
            </p:cNvSpPr>
            <p:nvPr/>
          </p:nvSpPr>
          <p:spPr bwMode="auto">
            <a:xfrm>
              <a:off x="5320798" y="4148399"/>
              <a:ext cx="867602" cy="871623"/>
            </a:xfrm>
            <a:custGeom>
              <a:avLst/>
              <a:gdLst>
                <a:gd name="T0" fmla="*/ 190 w 365"/>
                <a:gd name="T1" fmla="*/ 78 h 367"/>
                <a:gd name="T2" fmla="*/ 5 w 365"/>
                <a:gd name="T3" fmla="*/ 188 h 367"/>
                <a:gd name="T4" fmla="*/ 212 w 365"/>
                <a:gd name="T5" fmla="*/ 277 h 367"/>
                <a:gd name="T6" fmla="*/ 210 w 365"/>
                <a:gd name="T7" fmla="*/ 258 h 367"/>
                <a:gd name="T8" fmla="*/ 210 w 365"/>
                <a:gd name="T9" fmla="*/ 258 h 367"/>
                <a:gd name="T10" fmla="*/ 223 w 365"/>
                <a:gd name="T11" fmla="*/ 213 h 367"/>
                <a:gd name="T12" fmla="*/ 97 w 365"/>
                <a:gd name="T13" fmla="*/ 176 h 367"/>
                <a:gd name="T14" fmla="*/ 166 w 365"/>
                <a:gd name="T15" fmla="*/ 188 h 367"/>
                <a:gd name="T16" fmla="*/ 128 w 365"/>
                <a:gd name="T17" fmla="*/ 152 h 367"/>
                <a:gd name="T18" fmla="*/ 153 w 365"/>
                <a:gd name="T19" fmla="*/ 156 h 367"/>
                <a:gd name="T20" fmla="*/ 107 w 365"/>
                <a:gd name="T21" fmla="*/ 94 h 367"/>
                <a:gd name="T22" fmla="*/ 129 w 365"/>
                <a:gd name="T23" fmla="*/ 78 h 367"/>
                <a:gd name="T24" fmla="*/ 140 w 365"/>
                <a:gd name="T25" fmla="*/ 79 h 367"/>
                <a:gd name="T26" fmla="*/ 152 w 365"/>
                <a:gd name="T27" fmla="*/ 77 h 367"/>
                <a:gd name="T28" fmla="*/ 182 w 365"/>
                <a:gd name="T29" fmla="*/ 49 h 367"/>
                <a:gd name="T30" fmla="*/ 258 w 365"/>
                <a:gd name="T31" fmla="*/ 52 h 367"/>
                <a:gd name="T32" fmla="*/ 275 w 365"/>
                <a:gd name="T33" fmla="*/ 22 h 367"/>
                <a:gd name="T34" fmla="*/ 261 w 365"/>
                <a:gd name="T35" fmla="*/ 0 h 367"/>
                <a:gd name="T36" fmla="*/ 237 w 365"/>
                <a:gd name="T37" fmla="*/ 25 h 367"/>
                <a:gd name="T38" fmla="*/ 205 w 365"/>
                <a:gd name="T39" fmla="*/ 17 h 367"/>
                <a:gd name="T40" fmla="*/ 161 w 365"/>
                <a:gd name="T41" fmla="*/ 9 h 367"/>
                <a:gd name="T42" fmla="*/ 123 w 365"/>
                <a:gd name="T43" fmla="*/ 25 h 367"/>
                <a:gd name="T44" fmla="*/ 70 w 365"/>
                <a:gd name="T45" fmla="*/ 36 h 367"/>
                <a:gd name="T46" fmla="*/ 38 w 365"/>
                <a:gd name="T47" fmla="*/ 50 h 367"/>
                <a:gd name="T48" fmla="*/ 21 w 365"/>
                <a:gd name="T49" fmla="*/ 84 h 367"/>
                <a:gd name="T50" fmla="*/ 3 w 365"/>
                <a:gd name="T51" fmla="*/ 109 h 367"/>
                <a:gd name="T52" fmla="*/ 29 w 365"/>
                <a:gd name="T53" fmla="*/ 156 h 367"/>
                <a:gd name="T54" fmla="*/ 266 w 365"/>
                <a:gd name="T55" fmla="*/ 168 h 367"/>
                <a:gd name="T56" fmla="*/ 261 w 365"/>
                <a:gd name="T57" fmla="*/ 196 h 367"/>
                <a:gd name="T58" fmla="*/ 30 w 365"/>
                <a:gd name="T59" fmla="*/ 220 h 367"/>
                <a:gd name="T60" fmla="*/ 255 w 365"/>
                <a:gd name="T61" fmla="*/ 270 h 367"/>
                <a:gd name="T62" fmla="*/ 275 w 365"/>
                <a:gd name="T63" fmla="*/ 220 h 367"/>
                <a:gd name="T64" fmla="*/ 269 w 365"/>
                <a:gd name="T65" fmla="*/ 127 h 367"/>
                <a:gd name="T66" fmla="*/ 278 w 365"/>
                <a:gd name="T67" fmla="*/ 148 h 367"/>
                <a:gd name="T68" fmla="*/ 247 w 365"/>
                <a:gd name="T69" fmla="*/ 254 h 367"/>
                <a:gd name="T70" fmla="*/ 291 w 365"/>
                <a:gd name="T71" fmla="*/ 220 h 367"/>
                <a:gd name="T72" fmla="*/ 307 w 365"/>
                <a:gd name="T73" fmla="*/ 236 h 367"/>
                <a:gd name="T74" fmla="*/ 186 w 365"/>
                <a:gd name="T75" fmla="*/ 146 h 367"/>
                <a:gd name="T76" fmla="*/ 361 w 365"/>
                <a:gd name="T77" fmla="*/ 281 h 367"/>
                <a:gd name="T78" fmla="*/ 310 w 365"/>
                <a:gd name="T79" fmla="*/ 258 h 367"/>
                <a:gd name="T80" fmla="*/ 326 w 365"/>
                <a:gd name="T81" fmla="*/ 249 h 367"/>
                <a:gd name="T82" fmla="*/ 324 w 365"/>
                <a:gd name="T83" fmla="*/ 339 h 367"/>
                <a:gd name="T84" fmla="*/ 186 w 365"/>
                <a:gd name="T85" fmla="*/ 221 h 367"/>
                <a:gd name="T86" fmla="*/ 127 w 365"/>
                <a:gd name="T87" fmla="*/ 288 h 367"/>
                <a:gd name="T88" fmla="*/ 259 w 365"/>
                <a:gd name="T89" fmla="*/ 352 h 367"/>
                <a:gd name="T90" fmla="*/ 209 w 365"/>
                <a:gd name="T91" fmla="*/ 336 h 367"/>
                <a:gd name="T92" fmla="*/ 161 w 365"/>
                <a:gd name="T93" fmla="*/ 342 h 367"/>
                <a:gd name="T94" fmla="*/ 205 w 365"/>
                <a:gd name="T95" fmla="*/ 352 h 367"/>
                <a:gd name="T96" fmla="*/ 241 w 365"/>
                <a:gd name="T97" fmla="*/ 362 h 367"/>
                <a:gd name="T98" fmla="*/ 285 w 365"/>
                <a:gd name="T99" fmla="*/ 272 h 367"/>
                <a:gd name="T100" fmla="*/ 79 w 365"/>
                <a:gd name="T101" fmla="*/ 186 h 367"/>
                <a:gd name="T102" fmla="*/ 47 w 365"/>
                <a:gd name="T103" fmla="*/ 207 h 367"/>
                <a:gd name="T104" fmla="*/ 81 w 365"/>
                <a:gd name="T105" fmla="*/ 260 h 367"/>
                <a:gd name="T106" fmla="*/ 113 w 365"/>
                <a:gd name="T107" fmla="*/ 262 h 367"/>
                <a:gd name="T108" fmla="*/ 129 w 365"/>
                <a:gd name="T109" fmla="*/ 270 h 367"/>
                <a:gd name="T110" fmla="*/ 117 w 365"/>
                <a:gd name="T111" fmla="*/ 221 h 367"/>
                <a:gd name="T112" fmla="*/ 132 w 365"/>
                <a:gd name="T113" fmla="*/ 212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5" h="367">
                  <a:moveTo>
                    <a:pt x="165" y="73"/>
                  </a:moveTo>
                  <a:cubicBezTo>
                    <a:pt x="183" y="85"/>
                    <a:pt x="183" y="85"/>
                    <a:pt x="183" y="85"/>
                  </a:cubicBezTo>
                  <a:cubicBezTo>
                    <a:pt x="190" y="78"/>
                    <a:pt x="190" y="78"/>
                    <a:pt x="190" y="78"/>
                  </a:cubicBezTo>
                  <a:lnTo>
                    <a:pt x="165" y="73"/>
                  </a:lnTo>
                  <a:close/>
                  <a:moveTo>
                    <a:pt x="19" y="173"/>
                  </a:moveTo>
                  <a:cubicBezTo>
                    <a:pt x="5" y="188"/>
                    <a:pt x="5" y="188"/>
                    <a:pt x="5" y="188"/>
                  </a:cubicBezTo>
                  <a:cubicBezTo>
                    <a:pt x="30" y="195"/>
                    <a:pt x="30" y="195"/>
                    <a:pt x="30" y="195"/>
                  </a:cubicBezTo>
                  <a:lnTo>
                    <a:pt x="19" y="173"/>
                  </a:lnTo>
                  <a:close/>
                  <a:moveTo>
                    <a:pt x="212" y="277"/>
                  </a:moveTo>
                  <a:cubicBezTo>
                    <a:pt x="211" y="280"/>
                    <a:pt x="220" y="282"/>
                    <a:pt x="219" y="275"/>
                  </a:cubicBezTo>
                  <a:cubicBezTo>
                    <a:pt x="218" y="268"/>
                    <a:pt x="213" y="271"/>
                    <a:pt x="212" y="277"/>
                  </a:cubicBezTo>
                  <a:close/>
                  <a:moveTo>
                    <a:pt x="210" y="258"/>
                  </a:moveTo>
                  <a:cubicBezTo>
                    <a:pt x="204" y="253"/>
                    <a:pt x="204" y="253"/>
                    <a:pt x="204" y="253"/>
                  </a:cubicBezTo>
                  <a:cubicBezTo>
                    <a:pt x="198" y="259"/>
                    <a:pt x="198" y="259"/>
                    <a:pt x="198" y="259"/>
                  </a:cubicBezTo>
                  <a:lnTo>
                    <a:pt x="210" y="258"/>
                  </a:lnTo>
                  <a:close/>
                  <a:moveTo>
                    <a:pt x="201" y="196"/>
                  </a:moveTo>
                  <a:cubicBezTo>
                    <a:pt x="217" y="224"/>
                    <a:pt x="217" y="224"/>
                    <a:pt x="217" y="224"/>
                  </a:cubicBezTo>
                  <a:cubicBezTo>
                    <a:pt x="223" y="213"/>
                    <a:pt x="223" y="213"/>
                    <a:pt x="223" y="213"/>
                  </a:cubicBezTo>
                  <a:lnTo>
                    <a:pt x="201" y="196"/>
                  </a:lnTo>
                  <a:close/>
                  <a:moveTo>
                    <a:pt x="76" y="178"/>
                  </a:moveTo>
                  <a:cubicBezTo>
                    <a:pt x="76" y="178"/>
                    <a:pt x="90" y="173"/>
                    <a:pt x="97" y="176"/>
                  </a:cubicBezTo>
                  <a:cubicBezTo>
                    <a:pt x="104" y="179"/>
                    <a:pt x="141" y="193"/>
                    <a:pt x="141" y="193"/>
                  </a:cubicBezTo>
                  <a:cubicBezTo>
                    <a:pt x="141" y="193"/>
                    <a:pt x="163" y="216"/>
                    <a:pt x="168" y="210"/>
                  </a:cubicBezTo>
                  <a:cubicBezTo>
                    <a:pt x="173" y="204"/>
                    <a:pt x="174" y="195"/>
                    <a:pt x="166" y="188"/>
                  </a:cubicBezTo>
                  <a:cubicBezTo>
                    <a:pt x="158" y="181"/>
                    <a:pt x="142" y="168"/>
                    <a:pt x="139" y="167"/>
                  </a:cubicBezTo>
                  <a:cubicBezTo>
                    <a:pt x="136" y="166"/>
                    <a:pt x="117" y="157"/>
                    <a:pt x="117" y="157"/>
                  </a:cubicBezTo>
                  <a:cubicBezTo>
                    <a:pt x="117" y="157"/>
                    <a:pt x="124" y="151"/>
                    <a:pt x="128" y="152"/>
                  </a:cubicBezTo>
                  <a:cubicBezTo>
                    <a:pt x="132" y="153"/>
                    <a:pt x="155" y="176"/>
                    <a:pt x="169" y="178"/>
                  </a:cubicBezTo>
                  <a:cubicBezTo>
                    <a:pt x="183" y="180"/>
                    <a:pt x="189" y="164"/>
                    <a:pt x="176" y="162"/>
                  </a:cubicBezTo>
                  <a:cubicBezTo>
                    <a:pt x="163" y="160"/>
                    <a:pt x="153" y="156"/>
                    <a:pt x="153" y="156"/>
                  </a:cubicBezTo>
                  <a:cubicBezTo>
                    <a:pt x="153" y="156"/>
                    <a:pt x="139" y="148"/>
                    <a:pt x="137" y="141"/>
                  </a:cubicBezTo>
                  <a:cubicBezTo>
                    <a:pt x="135" y="134"/>
                    <a:pt x="123" y="117"/>
                    <a:pt x="123" y="117"/>
                  </a:cubicBezTo>
                  <a:cubicBezTo>
                    <a:pt x="123" y="117"/>
                    <a:pt x="112" y="100"/>
                    <a:pt x="107" y="94"/>
                  </a:cubicBezTo>
                  <a:cubicBezTo>
                    <a:pt x="102" y="88"/>
                    <a:pt x="97" y="67"/>
                    <a:pt x="104" y="64"/>
                  </a:cubicBezTo>
                  <a:cubicBezTo>
                    <a:pt x="111" y="61"/>
                    <a:pt x="113" y="78"/>
                    <a:pt x="121" y="78"/>
                  </a:cubicBezTo>
                  <a:cubicBezTo>
                    <a:pt x="123" y="78"/>
                    <a:pt x="126" y="78"/>
                    <a:pt x="129" y="78"/>
                  </a:cubicBezTo>
                  <a:cubicBezTo>
                    <a:pt x="133" y="86"/>
                    <a:pt x="137" y="95"/>
                    <a:pt x="139" y="96"/>
                  </a:cubicBezTo>
                  <a:cubicBezTo>
                    <a:pt x="142" y="98"/>
                    <a:pt x="148" y="94"/>
                    <a:pt x="148" y="94"/>
                  </a:cubicBezTo>
                  <a:cubicBezTo>
                    <a:pt x="140" y="79"/>
                    <a:pt x="140" y="79"/>
                    <a:pt x="140" y="79"/>
                  </a:cubicBezTo>
                  <a:cubicBezTo>
                    <a:pt x="141" y="79"/>
                    <a:pt x="142" y="79"/>
                    <a:pt x="143" y="79"/>
                  </a:cubicBezTo>
                  <a:cubicBezTo>
                    <a:pt x="161" y="90"/>
                    <a:pt x="161" y="90"/>
                    <a:pt x="161" y="90"/>
                  </a:cubicBezTo>
                  <a:cubicBezTo>
                    <a:pt x="152" y="77"/>
                    <a:pt x="152" y="77"/>
                    <a:pt x="152" y="77"/>
                  </a:cubicBezTo>
                  <a:cubicBezTo>
                    <a:pt x="152" y="77"/>
                    <a:pt x="153" y="77"/>
                    <a:pt x="153" y="77"/>
                  </a:cubicBezTo>
                  <a:cubicBezTo>
                    <a:pt x="156" y="74"/>
                    <a:pt x="157" y="66"/>
                    <a:pt x="156" y="58"/>
                  </a:cubicBezTo>
                  <a:cubicBezTo>
                    <a:pt x="155" y="50"/>
                    <a:pt x="173" y="46"/>
                    <a:pt x="182" y="49"/>
                  </a:cubicBezTo>
                  <a:cubicBezTo>
                    <a:pt x="191" y="52"/>
                    <a:pt x="184" y="65"/>
                    <a:pt x="193" y="62"/>
                  </a:cubicBezTo>
                  <a:cubicBezTo>
                    <a:pt x="202" y="59"/>
                    <a:pt x="205" y="44"/>
                    <a:pt x="210" y="43"/>
                  </a:cubicBezTo>
                  <a:cubicBezTo>
                    <a:pt x="215" y="42"/>
                    <a:pt x="258" y="52"/>
                    <a:pt x="258" y="52"/>
                  </a:cubicBezTo>
                  <a:cubicBezTo>
                    <a:pt x="258" y="52"/>
                    <a:pt x="261" y="47"/>
                    <a:pt x="263" y="40"/>
                  </a:cubicBezTo>
                  <a:cubicBezTo>
                    <a:pt x="265" y="33"/>
                    <a:pt x="260" y="30"/>
                    <a:pt x="261" y="24"/>
                  </a:cubicBezTo>
                  <a:cubicBezTo>
                    <a:pt x="262" y="18"/>
                    <a:pt x="275" y="22"/>
                    <a:pt x="275" y="22"/>
                  </a:cubicBezTo>
                  <a:cubicBezTo>
                    <a:pt x="275" y="22"/>
                    <a:pt x="276" y="14"/>
                    <a:pt x="273" y="9"/>
                  </a:cubicBezTo>
                  <a:cubicBezTo>
                    <a:pt x="270" y="4"/>
                    <a:pt x="263" y="5"/>
                    <a:pt x="263" y="5"/>
                  </a:cubicBezTo>
                  <a:cubicBezTo>
                    <a:pt x="261" y="0"/>
                    <a:pt x="261" y="0"/>
                    <a:pt x="261" y="0"/>
                  </a:cubicBezTo>
                  <a:cubicBezTo>
                    <a:pt x="249" y="6"/>
                    <a:pt x="249" y="6"/>
                    <a:pt x="249" y="6"/>
                  </a:cubicBezTo>
                  <a:cubicBezTo>
                    <a:pt x="249" y="6"/>
                    <a:pt x="255" y="14"/>
                    <a:pt x="253" y="19"/>
                  </a:cubicBezTo>
                  <a:cubicBezTo>
                    <a:pt x="251" y="24"/>
                    <a:pt x="237" y="25"/>
                    <a:pt x="237" y="25"/>
                  </a:cubicBezTo>
                  <a:cubicBezTo>
                    <a:pt x="227" y="17"/>
                    <a:pt x="227" y="17"/>
                    <a:pt x="227" y="17"/>
                  </a:cubicBezTo>
                  <a:cubicBezTo>
                    <a:pt x="227" y="17"/>
                    <a:pt x="222" y="24"/>
                    <a:pt x="214" y="25"/>
                  </a:cubicBezTo>
                  <a:cubicBezTo>
                    <a:pt x="206" y="26"/>
                    <a:pt x="205" y="17"/>
                    <a:pt x="205" y="17"/>
                  </a:cubicBezTo>
                  <a:cubicBezTo>
                    <a:pt x="205" y="17"/>
                    <a:pt x="199" y="20"/>
                    <a:pt x="191" y="20"/>
                  </a:cubicBezTo>
                  <a:cubicBezTo>
                    <a:pt x="183" y="20"/>
                    <a:pt x="179" y="6"/>
                    <a:pt x="179" y="6"/>
                  </a:cubicBezTo>
                  <a:cubicBezTo>
                    <a:pt x="161" y="9"/>
                    <a:pt x="161" y="9"/>
                    <a:pt x="161" y="9"/>
                  </a:cubicBezTo>
                  <a:cubicBezTo>
                    <a:pt x="155" y="21"/>
                    <a:pt x="155" y="21"/>
                    <a:pt x="155" y="21"/>
                  </a:cubicBezTo>
                  <a:cubicBezTo>
                    <a:pt x="141" y="15"/>
                    <a:pt x="141" y="15"/>
                    <a:pt x="141" y="15"/>
                  </a:cubicBezTo>
                  <a:cubicBezTo>
                    <a:pt x="141" y="15"/>
                    <a:pt x="131" y="25"/>
                    <a:pt x="123" y="25"/>
                  </a:cubicBezTo>
                  <a:cubicBezTo>
                    <a:pt x="118" y="25"/>
                    <a:pt x="114" y="21"/>
                    <a:pt x="111" y="18"/>
                  </a:cubicBezTo>
                  <a:cubicBezTo>
                    <a:pt x="107" y="23"/>
                    <a:pt x="102" y="26"/>
                    <a:pt x="97" y="32"/>
                  </a:cubicBezTo>
                  <a:cubicBezTo>
                    <a:pt x="89" y="40"/>
                    <a:pt x="70" y="36"/>
                    <a:pt x="70" y="36"/>
                  </a:cubicBezTo>
                  <a:cubicBezTo>
                    <a:pt x="70" y="36"/>
                    <a:pt x="71" y="41"/>
                    <a:pt x="67" y="47"/>
                  </a:cubicBezTo>
                  <a:cubicBezTo>
                    <a:pt x="63" y="53"/>
                    <a:pt x="43" y="45"/>
                    <a:pt x="43" y="45"/>
                  </a:cubicBezTo>
                  <a:cubicBezTo>
                    <a:pt x="38" y="50"/>
                    <a:pt x="38" y="50"/>
                    <a:pt x="38" y="50"/>
                  </a:cubicBezTo>
                  <a:cubicBezTo>
                    <a:pt x="38" y="55"/>
                    <a:pt x="39" y="62"/>
                    <a:pt x="36" y="64"/>
                  </a:cubicBezTo>
                  <a:cubicBezTo>
                    <a:pt x="31" y="68"/>
                    <a:pt x="21" y="70"/>
                    <a:pt x="21" y="70"/>
                  </a:cubicBezTo>
                  <a:cubicBezTo>
                    <a:pt x="21" y="84"/>
                    <a:pt x="21" y="84"/>
                    <a:pt x="21" y="84"/>
                  </a:cubicBezTo>
                  <a:cubicBezTo>
                    <a:pt x="13" y="89"/>
                    <a:pt x="13" y="89"/>
                    <a:pt x="13" y="89"/>
                  </a:cubicBezTo>
                  <a:cubicBezTo>
                    <a:pt x="13" y="89"/>
                    <a:pt x="4" y="86"/>
                    <a:pt x="3" y="93"/>
                  </a:cubicBezTo>
                  <a:cubicBezTo>
                    <a:pt x="2" y="100"/>
                    <a:pt x="3" y="109"/>
                    <a:pt x="3" y="109"/>
                  </a:cubicBezTo>
                  <a:cubicBezTo>
                    <a:pt x="5" y="116"/>
                    <a:pt x="5" y="116"/>
                    <a:pt x="5" y="116"/>
                  </a:cubicBezTo>
                  <a:cubicBezTo>
                    <a:pt x="5" y="116"/>
                    <a:pt x="0" y="133"/>
                    <a:pt x="9" y="136"/>
                  </a:cubicBezTo>
                  <a:cubicBezTo>
                    <a:pt x="18" y="139"/>
                    <a:pt x="29" y="156"/>
                    <a:pt x="29" y="156"/>
                  </a:cubicBezTo>
                  <a:cubicBezTo>
                    <a:pt x="29" y="156"/>
                    <a:pt x="39" y="179"/>
                    <a:pt x="47" y="179"/>
                  </a:cubicBezTo>
                  <a:cubicBezTo>
                    <a:pt x="55" y="179"/>
                    <a:pt x="76" y="178"/>
                    <a:pt x="76" y="178"/>
                  </a:cubicBezTo>
                  <a:close/>
                  <a:moveTo>
                    <a:pt x="266" y="168"/>
                  </a:moveTo>
                  <a:cubicBezTo>
                    <a:pt x="253" y="168"/>
                    <a:pt x="253" y="168"/>
                    <a:pt x="253" y="168"/>
                  </a:cubicBezTo>
                  <a:cubicBezTo>
                    <a:pt x="252" y="180"/>
                    <a:pt x="252" y="180"/>
                    <a:pt x="252" y="180"/>
                  </a:cubicBezTo>
                  <a:cubicBezTo>
                    <a:pt x="261" y="196"/>
                    <a:pt x="261" y="196"/>
                    <a:pt x="261" y="196"/>
                  </a:cubicBezTo>
                  <a:lnTo>
                    <a:pt x="266" y="168"/>
                  </a:lnTo>
                  <a:close/>
                  <a:moveTo>
                    <a:pt x="19" y="207"/>
                  </a:moveTo>
                  <a:cubicBezTo>
                    <a:pt x="10" y="214"/>
                    <a:pt x="30" y="220"/>
                    <a:pt x="30" y="220"/>
                  </a:cubicBezTo>
                  <a:cubicBezTo>
                    <a:pt x="36" y="216"/>
                    <a:pt x="28" y="200"/>
                    <a:pt x="19" y="207"/>
                  </a:cubicBezTo>
                  <a:close/>
                  <a:moveTo>
                    <a:pt x="255" y="261"/>
                  </a:moveTo>
                  <a:cubicBezTo>
                    <a:pt x="255" y="270"/>
                    <a:pt x="255" y="270"/>
                    <a:pt x="255" y="270"/>
                  </a:cubicBezTo>
                  <a:cubicBezTo>
                    <a:pt x="264" y="260"/>
                    <a:pt x="264" y="260"/>
                    <a:pt x="264" y="260"/>
                  </a:cubicBezTo>
                  <a:lnTo>
                    <a:pt x="255" y="261"/>
                  </a:lnTo>
                  <a:close/>
                  <a:moveTo>
                    <a:pt x="275" y="220"/>
                  </a:moveTo>
                  <a:cubicBezTo>
                    <a:pt x="271" y="216"/>
                    <a:pt x="259" y="219"/>
                    <a:pt x="259" y="227"/>
                  </a:cubicBezTo>
                  <a:cubicBezTo>
                    <a:pt x="259" y="232"/>
                    <a:pt x="279" y="224"/>
                    <a:pt x="275" y="220"/>
                  </a:cubicBezTo>
                  <a:close/>
                  <a:moveTo>
                    <a:pt x="269" y="127"/>
                  </a:moveTo>
                  <a:cubicBezTo>
                    <a:pt x="250" y="132"/>
                    <a:pt x="250" y="132"/>
                    <a:pt x="250" y="132"/>
                  </a:cubicBezTo>
                  <a:cubicBezTo>
                    <a:pt x="251" y="148"/>
                    <a:pt x="264" y="141"/>
                    <a:pt x="264" y="141"/>
                  </a:cubicBezTo>
                  <a:cubicBezTo>
                    <a:pt x="264" y="141"/>
                    <a:pt x="269" y="152"/>
                    <a:pt x="278" y="148"/>
                  </a:cubicBezTo>
                  <a:cubicBezTo>
                    <a:pt x="287" y="144"/>
                    <a:pt x="269" y="127"/>
                    <a:pt x="269" y="127"/>
                  </a:cubicBezTo>
                  <a:close/>
                  <a:moveTo>
                    <a:pt x="230" y="247"/>
                  </a:moveTo>
                  <a:cubicBezTo>
                    <a:pt x="232" y="259"/>
                    <a:pt x="242" y="262"/>
                    <a:pt x="247" y="254"/>
                  </a:cubicBezTo>
                  <a:cubicBezTo>
                    <a:pt x="253" y="244"/>
                    <a:pt x="228" y="235"/>
                    <a:pt x="230" y="247"/>
                  </a:cubicBezTo>
                  <a:close/>
                  <a:moveTo>
                    <a:pt x="299" y="210"/>
                  </a:moveTo>
                  <a:cubicBezTo>
                    <a:pt x="289" y="202"/>
                    <a:pt x="291" y="220"/>
                    <a:pt x="291" y="220"/>
                  </a:cubicBezTo>
                  <a:cubicBezTo>
                    <a:pt x="305" y="227"/>
                    <a:pt x="309" y="218"/>
                    <a:pt x="299" y="210"/>
                  </a:cubicBezTo>
                  <a:close/>
                  <a:moveTo>
                    <a:pt x="298" y="249"/>
                  </a:moveTo>
                  <a:cubicBezTo>
                    <a:pt x="307" y="236"/>
                    <a:pt x="307" y="236"/>
                    <a:pt x="307" y="236"/>
                  </a:cubicBezTo>
                  <a:cubicBezTo>
                    <a:pt x="295" y="236"/>
                    <a:pt x="295" y="236"/>
                    <a:pt x="295" y="236"/>
                  </a:cubicBezTo>
                  <a:lnTo>
                    <a:pt x="298" y="249"/>
                  </a:lnTo>
                  <a:close/>
                  <a:moveTo>
                    <a:pt x="186" y="146"/>
                  </a:moveTo>
                  <a:cubicBezTo>
                    <a:pt x="186" y="146"/>
                    <a:pt x="180" y="158"/>
                    <a:pt x="196" y="158"/>
                  </a:cubicBezTo>
                  <a:lnTo>
                    <a:pt x="186" y="146"/>
                  </a:lnTo>
                  <a:close/>
                  <a:moveTo>
                    <a:pt x="361" y="281"/>
                  </a:moveTo>
                  <a:cubicBezTo>
                    <a:pt x="357" y="274"/>
                    <a:pt x="336" y="302"/>
                    <a:pt x="342" y="312"/>
                  </a:cubicBezTo>
                  <a:cubicBezTo>
                    <a:pt x="347" y="321"/>
                    <a:pt x="365" y="288"/>
                    <a:pt x="361" y="281"/>
                  </a:cubicBezTo>
                  <a:close/>
                  <a:moveTo>
                    <a:pt x="310" y="258"/>
                  </a:moveTo>
                  <a:cubicBezTo>
                    <a:pt x="309" y="273"/>
                    <a:pt x="309" y="273"/>
                    <a:pt x="309" y="273"/>
                  </a:cubicBezTo>
                  <a:cubicBezTo>
                    <a:pt x="334" y="254"/>
                    <a:pt x="334" y="254"/>
                    <a:pt x="334" y="254"/>
                  </a:cubicBezTo>
                  <a:cubicBezTo>
                    <a:pt x="326" y="249"/>
                    <a:pt x="326" y="249"/>
                    <a:pt x="326" y="249"/>
                  </a:cubicBezTo>
                  <a:lnTo>
                    <a:pt x="310" y="258"/>
                  </a:lnTo>
                  <a:close/>
                  <a:moveTo>
                    <a:pt x="311" y="342"/>
                  </a:moveTo>
                  <a:cubicBezTo>
                    <a:pt x="324" y="339"/>
                    <a:pt x="324" y="339"/>
                    <a:pt x="324" y="339"/>
                  </a:cubicBezTo>
                  <a:cubicBezTo>
                    <a:pt x="317" y="312"/>
                    <a:pt x="317" y="312"/>
                    <a:pt x="317" y="312"/>
                  </a:cubicBezTo>
                  <a:lnTo>
                    <a:pt x="311" y="342"/>
                  </a:lnTo>
                  <a:close/>
                  <a:moveTo>
                    <a:pt x="186" y="221"/>
                  </a:moveTo>
                  <a:cubicBezTo>
                    <a:pt x="181" y="226"/>
                    <a:pt x="184" y="232"/>
                    <a:pt x="189" y="231"/>
                  </a:cubicBezTo>
                  <a:cubicBezTo>
                    <a:pt x="198" y="229"/>
                    <a:pt x="191" y="216"/>
                    <a:pt x="186" y="221"/>
                  </a:cubicBezTo>
                  <a:close/>
                  <a:moveTo>
                    <a:pt x="127" y="288"/>
                  </a:moveTo>
                  <a:cubicBezTo>
                    <a:pt x="121" y="290"/>
                    <a:pt x="126" y="307"/>
                    <a:pt x="133" y="301"/>
                  </a:cubicBezTo>
                  <a:cubicBezTo>
                    <a:pt x="140" y="295"/>
                    <a:pt x="134" y="286"/>
                    <a:pt x="127" y="288"/>
                  </a:cubicBezTo>
                  <a:close/>
                  <a:moveTo>
                    <a:pt x="259" y="352"/>
                  </a:moveTo>
                  <a:cubicBezTo>
                    <a:pt x="255" y="354"/>
                    <a:pt x="252" y="342"/>
                    <a:pt x="252" y="342"/>
                  </a:cubicBezTo>
                  <a:cubicBezTo>
                    <a:pt x="230" y="341"/>
                    <a:pt x="230" y="341"/>
                    <a:pt x="230" y="341"/>
                  </a:cubicBezTo>
                  <a:cubicBezTo>
                    <a:pt x="209" y="336"/>
                    <a:pt x="209" y="336"/>
                    <a:pt x="209" y="336"/>
                  </a:cubicBezTo>
                  <a:cubicBezTo>
                    <a:pt x="188" y="336"/>
                    <a:pt x="188" y="336"/>
                    <a:pt x="188" y="336"/>
                  </a:cubicBezTo>
                  <a:cubicBezTo>
                    <a:pt x="168" y="325"/>
                    <a:pt x="168" y="325"/>
                    <a:pt x="168" y="325"/>
                  </a:cubicBezTo>
                  <a:cubicBezTo>
                    <a:pt x="168" y="325"/>
                    <a:pt x="152" y="332"/>
                    <a:pt x="161" y="342"/>
                  </a:cubicBezTo>
                  <a:cubicBezTo>
                    <a:pt x="170" y="352"/>
                    <a:pt x="175" y="345"/>
                    <a:pt x="175" y="345"/>
                  </a:cubicBezTo>
                  <a:cubicBezTo>
                    <a:pt x="181" y="351"/>
                    <a:pt x="181" y="351"/>
                    <a:pt x="181" y="351"/>
                  </a:cubicBezTo>
                  <a:cubicBezTo>
                    <a:pt x="205" y="352"/>
                    <a:pt x="205" y="352"/>
                    <a:pt x="205" y="352"/>
                  </a:cubicBezTo>
                  <a:cubicBezTo>
                    <a:pt x="213" y="367"/>
                    <a:pt x="213" y="367"/>
                    <a:pt x="213" y="367"/>
                  </a:cubicBezTo>
                  <a:cubicBezTo>
                    <a:pt x="238" y="366"/>
                    <a:pt x="238" y="366"/>
                    <a:pt x="238" y="366"/>
                  </a:cubicBezTo>
                  <a:cubicBezTo>
                    <a:pt x="241" y="362"/>
                    <a:pt x="241" y="362"/>
                    <a:pt x="241" y="362"/>
                  </a:cubicBezTo>
                  <a:cubicBezTo>
                    <a:pt x="241" y="362"/>
                    <a:pt x="279" y="367"/>
                    <a:pt x="281" y="353"/>
                  </a:cubicBezTo>
                  <a:cubicBezTo>
                    <a:pt x="283" y="339"/>
                    <a:pt x="263" y="350"/>
                    <a:pt x="259" y="352"/>
                  </a:cubicBezTo>
                  <a:close/>
                  <a:moveTo>
                    <a:pt x="285" y="272"/>
                  </a:moveTo>
                  <a:cubicBezTo>
                    <a:pt x="276" y="268"/>
                    <a:pt x="272" y="276"/>
                    <a:pt x="277" y="279"/>
                  </a:cubicBezTo>
                  <a:cubicBezTo>
                    <a:pt x="284" y="284"/>
                    <a:pt x="294" y="276"/>
                    <a:pt x="285" y="272"/>
                  </a:cubicBezTo>
                  <a:close/>
                  <a:moveTo>
                    <a:pt x="79" y="186"/>
                  </a:moveTo>
                  <a:cubicBezTo>
                    <a:pt x="65" y="192"/>
                    <a:pt x="65" y="192"/>
                    <a:pt x="65" y="192"/>
                  </a:cubicBezTo>
                  <a:cubicBezTo>
                    <a:pt x="58" y="192"/>
                    <a:pt x="58" y="192"/>
                    <a:pt x="58" y="192"/>
                  </a:cubicBezTo>
                  <a:cubicBezTo>
                    <a:pt x="47" y="207"/>
                    <a:pt x="47" y="207"/>
                    <a:pt x="47" y="207"/>
                  </a:cubicBezTo>
                  <a:cubicBezTo>
                    <a:pt x="66" y="224"/>
                    <a:pt x="66" y="224"/>
                    <a:pt x="66" y="224"/>
                  </a:cubicBezTo>
                  <a:cubicBezTo>
                    <a:pt x="66" y="224"/>
                    <a:pt x="63" y="241"/>
                    <a:pt x="63" y="251"/>
                  </a:cubicBezTo>
                  <a:cubicBezTo>
                    <a:pt x="63" y="261"/>
                    <a:pt x="78" y="267"/>
                    <a:pt x="81" y="260"/>
                  </a:cubicBezTo>
                  <a:cubicBezTo>
                    <a:pt x="84" y="253"/>
                    <a:pt x="93" y="254"/>
                    <a:pt x="93" y="254"/>
                  </a:cubicBezTo>
                  <a:cubicBezTo>
                    <a:pt x="107" y="280"/>
                    <a:pt x="107" y="280"/>
                    <a:pt x="107" y="280"/>
                  </a:cubicBezTo>
                  <a:cubicBezTo>
                    <a:pt x="113" y="262"/>
                    <a:pt x="113" y="262"/>
                    <a:pt x="113" y="262"/>
                  </a:cubicBezTo>
                  <a:cubicBezTo>
                    <a:pt x="122" y="275"/>
                    <a:pt x="122" y="275"/>
                    <a:pt x="122" y="275"/>
                  </a:cubicBezTo>
                  <a:cubicBezTo>
                    <a:pt x="138" y="281"/>
                    <a:pt x="138" y="281"/>
                    <a:pt x="138" y="281"/>
                  </a:cubicBezTo>
                  <a:cubicBezTo>
                    <a:pt x="129" y="270"/>
                    <a:pt x="129" y="270"/>
                    <a:pt x="129" y="270"/>
                  </a:cubicBezTo>
                  <a:cubicBezTo>
                    <a:pt x="133" y="265"/>
                    <a:pt x="133" y="265"/>
                    <a:pt x="133" y="265"/>
                  </a:cubicBezTo>
                  <a:cubicBezTo>
                    <a:pt x="131" y="250"/>
                    <a:pt x="131" y="250"/>
                    <a:pt x="131" y="250"/>
                  </a:cubicBezTo>
                  <a:cubicBezTo>
                    <a:pt x="131" y="250"/>
                    <a:pt x="114" y="229"/>
                    <a:pt x="117" y="221"/>
                  </a:cubicBezTo>
                  <a:cubicBezTo>
                    <a:pt x="120" y="213"/>
                    <a:pt x="143" y="232"/>
                    <a:pt x="143" y="232"/>
                  </a:cubicBezTo>
                  <a:cubicBezTo>
                    <a:pt x="152" y="228"/>
                    <a:pt x="152" y="228"/>
                    <a:pt x="152" y="228"/>
                  </a:cubicBezTo>
                  <a:cubicBezTo>
                    <a:pt x="152" y="228"/>
                    <a:pt x="141" y="221"/>
                    <a:pt x="132" y="212"/>
                  </a:cubicBezTo>
                  <a:cubicBezTo>
                    <a:pt x="123" y="203"/>
                    <a:pt x="79" y="186"/>
                    <a:pt x="79" y="186"/>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88" name="Freeform 9">
              <a:extLst>
                <a:ext uri="{FF2B5EF4-FFF2-40B4-BE49-F238E27FC236}">
                  <a16:creationId xmlns:a16="http://schemas.microsoft.com/office/drawing/2014/main" id="{D191C643-76CC-4284-AA28-B323C4435CDE}"/>
                </a:ext>
              </a:extLst>
            </p:cNvPr>
            <p:cNvSpPr>
              <a:spLocks/>
            </p:cNvSpPr>
            <p:nvPr/>
          </p:nvSpPr>
          <p:spPr bwMode="auto">
            <a:xfrm>
              <a:off x="5181057" y="4031780"/>
              <a:ext cx="237258" cy="392080"/>
            </a:xfrm>
            <a:custGeom>
              <a:avLst/>
              <a:gdLst>
                <a:gd name="T0" fmla="*/ 62 w 100"/>
                <a:gd name="T1" fmla="*/ 142 h 165"/>
                <a:gd name="T2" fmla="*/ 72 w 100"/>
                <a:gd name="T3" fmla="*/ 138 h 165"/>
                <a:gd name="T4" fmla="*/ 80 w 100"/>
                <a:gd name="T5" fmla="*/ 133 h 165"/>
                <a:gd name="T6" fmla="*/ 80 w 100"/>
                <a:gd name="T7" fmla="*/ 119 h 165"/>
                <a:gd name="T8" fmla="*/ 95 w 100"/>
                <a:gd name="T9" fmla="*/ 113 h 165"/>
                <a:gd name="T10" fmla="*/ 95 w 100"/>
                <a:gd name="T11" fmla="*/ 92 h 165"/>
                <a:gd name="T12" fmla="*/ 77 w 100"/>
                <a:gd name="T13" fmla="*/ 99 h 165"/>
                <a:gd name="T14" fmla="*/ 77 w 100"/>
                <a:gd name="T15" fmla="*/ 85 h 165"/>
                <a:gd name="T16" fmla="*/ 69 w 100"/>
                <a:gd name="T17" fmla="*/ 79 h 165"/>
                <a:gd name="T18" fmla="*/ 71 w 100"/>
                <a:gd name="T19" fmla="*/ 67 h 165"/>
                <a:gd name="T20" fmla="*/ 66 w 100"/>
                <a:gd name="T21" fmla="*/ 56 h 165"/>
                <a:gd name="T22" fmla="*/ 68 w 100"/>
                <a:gd name="T23" fmla="*/ 41 h 165"/>
                <a:gd name="T24" fmla="*/ 68 w 100"/>
                <a:gd name="T25" fmla="*/ 29 h 165"/>
                <a:gd name="T26" fmla="*/ 64 w 100"/>
                <a:gd name="T27" fmla="*/ 19 h 165"/>
                <a:gd name="T28" fmla="*/ 55 w 100"/>
                <a:gd name="T29" fmla="*/ 19 h 165"/>
                <a:gd name="T30" fmla="*/ 47 w 100"/>
                <a:gd name="T31" fmla="*/ 4 h 165"/>
                <a:gd name="T32" fmla="*/ 41 w 100"/>
                <a:gd name="T33" fmla="*/ 10 h 165"/>
                <a:gd name="T34" fmla="*/ 23 w 100"/>
                <a:gd name="T35" fmla="*/ 0 h 165"/>
                <a:gd name="T36" fmla="*/ 21 w 100"/>
                <a:gd name="T37" fmla="*/ 14 h 165"/>
                <a:gd name="T38" fmla="*/ 15 w 100"/>
                <a:gd name="T39" fmla="*/ 19 h 165"/>
                <a:gd name="T40" fmla="*/ 0 w 100"/>
                <a:gd name="T41" fmla="*/ 19 h 165"/>
                <a:gd name="T42" fmla="*/ 9 w 100"/>
                <a:gd name="T43" fmla="*/ 25 h 165"/>
                <a:gd name="T44" fmla="*/ 15 w 100"/>
                <a:gd name="T45" fmla="*/ 22 h 165"/>
                <a:gd name="T46" fmla="*/ 17 w 100"/>
                <a:gd name="T47" fmla="*/ 32 h 165"/>
                <a:gd name="T48" fmla="*/ 10 w 100"/>
                <a:gd name="T49" fmla="*/ 41 h 165"/>
                <a:gd name="T50" fmla="*/ 14 w 100"/>
                <a:gd name="T51" fmla="*/ 45 h 165"/>
                <a:gd name="T52" fmla="*/ 30 w 100"/>
                <a:gd name="T53" fmla="*/ 45 h 165"/>
                <a:gd name="T54" fmla="*/ 24 w 100"/>
                <a:gd name="T55" fmla="*/ 96 h 165"/>
                <a:gd name="T56" fmla="*/ 17 w 100"/>
                <a:gd name="T57" fmla="*/ 129 h 165"/>
                <a:gd name="T58" fmla="*/ 40 w 100"/>
                <a:gd name="T59" fmla="*/ 144 h 165"/>
                <a:gd name="T60" fmla="*/ 41 w 100"/>
                <a:gd name="T61" fmla="*/ 163 h 165"/>
                <a:gd name="T62" fmla="*/ 64 w 100"/>
                <a:gd name="T63" fmla="*/ 165 h 165"/>
                <a:gd name="T64" fmla="*/ 62 w 100"/>
                <a:gd name="T65" fmla="*/ 158 h 165"/>
                <a:gd name="T66" fmla="*/ 62 w 100"/>
                <a:gd name="T67" fmla="*/ 14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 h="165">
                  <a:moveTo>
                    <a:pt x="62" y="142"/>
                  </a:moveTo>
                  <a:cubicBezTo>
                    <a:pt x="63" y="135"/>
                    <a:pt x="72" y="138"/>
                    <a:pt x="72" y="138"/>
                  </a:cubicBezTo>
                  <a:cubicBezTo>
                    <a:pt x="80" y="133"/>
                    <a:pt x="80" y="133"/>
                    <a:pt x="80" y="133"/>
                  </a:cubicBezTo>
                  <a:cubicBezTo>
                    <a:pt x="80" y="119"/>
                    <a:pt x="80" y="119"/>
                    <a:pt x="80" y="119"/>
                  </a:cubicBezTo>
                  <a:cubicBezTo>
                    <a:pt x="80" y="119"/>
                    <a:pt x="90" y="117"/>
                    <a:pt x="95" y="113"/>
                  </a:cubicBezTo>
                  <a:cubicBezTo>
                    <a:pt x="100" y="109"/>
                    <a:pt x="95" y="92"/>
                    <a:pt x="95" y="92"/>
                  </a:cubicBezTo>
                  <a:cubicBezTo>
                    <a:pt x="77" y="99"/>
                    <a:pt x="77" y="99"/>
                    <a:pt x="77" y="99"/>
                  </a:cubicBezTo>
                  <a:cubicBezTo>
                    <a:pt x="77" y="85"/>
                    <a:pt x="77" y="85"/>
                    <a:pt x="77" y="85"/>
                  </a:cubicBezTo>
                  <a:cubicBezTo>
                    <a:pt x="77" y="85"/>
                    <a:pt x="69" y="84"/>
                    <a:pt x="69" y="79"/>
                  </a:cubicBezTo>
                  <a:cubicBezTo>
                    <a:pt x="69" y="74"/>
                    <a:pt x="71" y="67"/>
                    <a:pt x="71" y="67"/>
                  </a:cubicBezTo>
                  <a:cubicBezTo>
                    <a:pt x="66" y="56"/>
                    <a:pt x="66" y="56"/>
                    <a:pt x="66" y="56"/>
                  </a:cubicBezTo>
                  <a:cubicBezTo>
                    <a:pt x="68" y="41"/>
                    <a:pt x="68" y="41"/>
                    <a:pt x="68" y="41"/>
                  </a:cubicBezTo>
                  <a:cubicBezTo>
                    <a:pt x="68" y="29"/>
                    <a:pt x="68" y="29"/>
                    <a:pt x="68" y="29"/>
                  </a:cubicBezTo>
                  <a:cubicBezTo>
                    <a:pt x="64" y="19"/>
                    <a:pt x="64" y="19"/>
                    <a:pt x="64" y="19"/>
                  </a:cubicBezTo>
                  <a:cubicBezTo>
                    <a:pt x="55" y="19"/>
                    <a:pt x="55" y="19"/>
                    <a:pt x="55" y="19"/>
                  </a:cubicBezTo>
                  <a:cubicBezTo>
                    <a:pt x="47" y="4"/>
                    <a:pt x="47" y="4"/>
                    <a:pt x="47" y="4"/>
                  </a:cubicBezTo>
                  <a:cubicBezTo>
                    <a:pt x="41" y="10"/>
                    <a:pt x="41" y="10"/>
                    <a:pt x="41" y="10"/>
                  </a:cubicBezTo>
                  <a:cubicBezTo>
                    <a:pt x="23" y="0"/>
                    <a:pt x="23" y="0"/>
                    <a:pt x="23" y="0"/>
                  </a:cubicBezTo>
                  <a:cubicBezTo>
                    <a:pt x="21" y="14"/>
                    <a:pt x="21" y="14"/>
                    <a:pt x="21" y="14"/>
                  </a:cubicBezTo>
                  <a:cubicBezTo>
                    <a:pt x="15" y="19"/>
                    <a:pt x="15" y="19"/>
                    <a:pt x="15" y="19"/>
                  </a:cubicBezTo>
                  <a:cubicBezTo>
                    <a:pt x="0" y="19"/>
                    <a:pt x="0" y="19"/>
                    <a:pt x="0" y="19"/>
                  </a:cubicBezTo>
                  <a:cubicBezTo>
                    <a:pt x="9" y="25"/>
                    <a:pt x="9" y="25"/>
                    <a:pt x="9" y="25"/>
                  </a:cubicBezTo>
                  <a:cubicBezTo>
                    <a:pt x="15" y="22"/>
                    <a:pt x="15" y="22"/>
                    <a:pt x="15" y="22"/>
                  </a:cubicBezTo>
                  <a:cubicBezTo>
                    <a:pt x="17" y="32"/>
                    <a:pt x="17" y="32"/>
                    <a:pt x="17" y="32"/>
                  </a:cubicBezTo>
                  <a:cubicBezTo>
                    <a:pt x="10" y="41"/>
                    <a:pt x="10" y="41"/>
                    <a:pt x="10" y="41"/>
                  </a:cubicBezTo>
                  <a:cubicBezTo>
                    <a:pt x="14" y="45"/>
                    <a:pt x="14" y="45"/>
                    <a:pt x="14" y="45"/>
                  </a:cubicBezTo>
                  <a:cubicBezTo>
                    <a:pt x="30" y="45"/>
                    <a:pt x="30" y="45"/>
                    <a:pt x="30" y="45"/>
                  </a:cubicBezTo>
                  <a:cubicBezTo>
                    <a:pt x="30" y="45"/>
                    <a:pt x="25" y="84"/>
                    <a:pt x="24" y="96"/>
                  </a:cubicBezTo>
                  <a:cubicBezTo>
                    <a:pt x="23" y="108"/>
                    <a:pt x="12" y="124"/>
                    <a:pt x="17" y="129"/>
                  </a:cubicBezTo>
                  <a:cubicBezTo>
                    <a:pt x="22" y="134"/>
                    <a:pt x="40" y="144"/>
                    <a:pt x="40" y="144"/>
                  </a:cubicBezTo>
                  <a:cubicBezTo>
                    <a:pt x="40" y="144"/>
                    <a:pt x="37" y="164"/>
                    <a:pt x="41" y="163"/>
                  </a:cubicBezTo>
                  <a:cubicBezTo>
                    <a:pt x="45" y="162"/>
                    <a:pt x="64" y="165"/>
                    <a:pt x="64" y="165"/>
                  </a:cubicBezTo>
                  <a:cubicBezTo>
                    <a:pt x="62" y="158"/>
                    <a:pt x="62" y="158"/>
                    <a:pt x="62" y="158"/>
                  </a:cubicBezTo>
                  <a:cubicBezTo>
                    <a:pt x="62" y="158"/>
                    <a:pt x="61" y="149"/>
                    <a:pt x="62" y="142"/>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89" name="Freeform 10">
              <a:extLst>
                <a:ext uri="{FF2B5EF4-FFF2-40B4-BE49-F238E27FC236}">
                  <a16:creationId xmlns:a16="http://schemas.microsoft.com/office/drawing/2014/main" id="{A1952055-CCD7-4237-90A2-8111DDB71C7A}"/>
                </a:ext>
              </a:extLst>
            </p:cNvPr>
            <p:cNvSpPr>
              <a:spLocks/>
            </p:cNvSpPr>
            <p:nvPr/>
          </p:nvSpPr>
          <p:spPr bwMode="auto">
            <a:xfrm>
              <a:off x="5515832" y="3841773"/>
              <a:ext cx="634365" cy="367951"/>
            </a:xfrm>
            <a:custGeom>
              <a:avLst/>
              <a:gdLst>
                <a:gd name="T0" fmla="*/ 225 w 267"/>
                <a:gd name="T1" fmla="*/ 87 h 155"/>
                <a:gd name="T2" fmla="*/ 241 w 267"/>
                <a:gd name="T3" fmla="*/ 47 h 155"/>
                <a:gd name="T4" fmla="*/ 264 w 267"/>
                <a:gd name="T5" fmla="*/ 23 h 155"/>
                <a:gd name="T6" fmla="*/ 237 w 267"/>
                <a:gd name="T7" fmla="*/ 12 h 155"/>
                <a:gd name="T8" fmla="*/ 194 w 267"/>
                <a:gd name="T9" fmla="*/ 2 h 155"/>
                <a:gd name="T10" fmla="*/ 169 w 267"/>
                <a:gd name="T11" fmla="*/ 6 h 155"/>
                <a:gd name="T12" fmla="*/ 157 w 267"/>
                <a:gd name="T13" fmla="*/ 12 h 155"/>
                <a:gd name="T14" fmla="*/ 118 w 267"/>
                <a:gd name="T15" fmla="*/ 23 h 155"/>
                <a:gd name="T16" fmla="*/ 92 w 267"/>
                <a:gd name="T17" fmla="*/ 17 h 155"/>
                <a:gd name="T18" fmla="*/ 62 w 267"/>
                <a:gd name="T19" fmla="*/ 21 h 155"/>
                <a:gd name="T20" fmla="*/ 39 w 267"/>
                <a:gd name="T21" fmla="*/ 21 h 155"/>
                <a:gd name="T22" fmla="*/ 29 w 267"/>
                <a:gd name="T23" fmla="*/ 5 h 155"/>
                <a:gd name="T24" fmla="*/ 10 w 267"/>
                <a:gd name="T25" fmla="*/ 0 h 155"/>
                <a:gd name="T26" fmla="*/ 0 w 267"/>
                <a:gd name="T27" fmla="*/ 16 h 155"/>
                <a:gd name="T28" fmla="*/ 12 w 267"/>
                <a:gd name="T29" fmla="*/ 33 h 155"/>
                <a:gd name="T30" fmla="*/ 23 w 267"/>
                <a:gd name="T31" fmla="*/ 47 h 155"/>
                <a:gd name="T32" fmla="*/ 20 w 267"/>
                <a:gd name="T33" fmla="*/ 68 h 155"/>
                <a:gd name="T34" fmla="*/ 8 w 267"/>
                <a:gd name="T35" fmla="*/ 80 h 155"/>
                <a:gd name="T36" fmla="*/ 2 w 267"/>
                <a:gd name="T37" fmla="*/ 95 h 155"/>
                <a:gd name="T38" fmla="*/ 8 w 267"/>
                <a:gd name="T39" fmla="*/ 104 h 155"/>
                <a:gd name="T40" fmla="*/ 13 w 267"/>
                <a:gd name="T41" fmla="*/ 112 h 155"/>
                <a:gd name="T42" fmla="*/ 33 w 267"/>
                <a:gd name="T43" fmla="*/ 139 h 155"/>
                <a:gd name="T44" fmla="*/ 41 w 267"/>
                <a:gd name="T45" fmla="*/ 154 h 155"/>
                <a:gd name="T46" fmla="*/ 73 w 267"/>
                <a:gd name="T47" fmla="*/ 150 h 155"/>
                <a:gd name="T48" fmla="*/ 97 w 267"/>
                <a:gd name="T49" fmla="*/ 135 h 155"/>
                <a:gd name="T50" fmla="*/ 123 w 267"/>
                <a:gd name="T51" fmla="*/ 146 h 155"/>
                <a:gd name="T52" fmla="*/ 145 w 267"/>
                <a:gd name="T53" fmla="*/ 146 h 155"/>
                <a:gd name="T54" fmla="*/ 171 w 267"/>
                <a:gd name="T55" fmla="*/ 148 h 155"/>
                <a:gd name="T56" fmla="*/ 179 w 267"/>
                <a:gd name="T57" fmla="*/ 129 h 155"/>
                <a:gd name="T58" fmla="*/ 208 w 267"/>
                <a:gd name="T59" fmla="*/ 116 h 155"/>
                <a:gd name="T60" fmla="*/ 226 w 267"/>
                <a:gd name="T61" fmla="*/ 119 h 155"/>
                <a:gd name="T62" fmla="*/ 248 w 267"/>
                <a:gd name="T63" fmla="*/ 1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155">
                  <a:moveTo>
                    <a:pt x="248" y="115"/>
                  </a:moveTo>
                  <a:cubicBezTo>
                    <a:pt x="225" y="87"/>
                    <a:pt x="225" y="87"/>
                    <a:pt x="225" y="87"/>
                  </a:cubicBezTo>
                  <a:cubicBezTo>
                    <a:pt x="225" y="87"/>
                    <a:pt x="235" y="82"/>
                    <a:pt x="239" y="75"/>
                  </a:cubicBezTo>
                  <a:cubicBezTo>
                    <a:pt x="243" y="68"/>
                    <a:pt x="232" y="54"/>
                    <a:pt x="241" y="47"/>
                  </a:cubicBezTo>
                  <a:cubicBezTo>
                    <a:pt x="250" y="40"/>
                    <a:pt x="267" y="44"/>
                    <a:pt x="267" y="44"/>
                  </a:cubicBezTo>
                  <a:cubicBezTo>
                    <a:pt x="267" y="44"/>
                    <a:pt x="265" y="35"/>
                    <a:pt x="264" y="23"/>
                  </a:cubicBezTo>
                  <a:cubicBezTo>
                    <a:pt x="257" y="24"/>
                    <a:pt x="248" y="24"/>
                    <a:pt x="245" y="22"/>
                  </a:cubicBezTo>
                  <a:cubicBezTo>
                    <a:pt x="240" y="19"/>
                    <a:pt x="237" y="12"/>
                    <a:pt x="237" y="12"/>
                  </a:cubicBezTo>
                  <a:cubicBezTo>
                    <a:pt x="237" y="12"/>
                    <a:pt x="228" y="10"/>
                    <a:pt x="219" y="10"/>
                  </a:cubicBezTo>
                  <a:cubicBezTo>
                    <a:pt x="210" y="10"/>
                    <a:pt x="203" y="2"/>
                    <a:pt x="194" y="2"/>
                  </a:cubicBezTo>
                  <a:cubicBezTo>
                    <a:pt x="185" y="2"/>
                    <a:pt x="188" y="8"/>
                    <a:pt x="188" y="8"/>
                  </a:cubicBezTo>
                  <a:cubicBezTo>
                    <a:pt x="169" y="6"/>
                    <a:pt x="169" y="6"/>
                    <a:pt x="169" y="6"/>
                  </a:cubicBezTo>
                  <a:cubicBezTo>
                    <a:pt x="170" y="11"/>
                    <a:pt x="170" y="11"/>
                    <a:pt x="170" y="11"/>
                  </a:cubicBezTo>
                  <a:cubicBezTo>
                    <a:pt x="170" y="11"/>
                    <a:pt x="164" y="10"/>
                    <a:pt x="157" y="12"/>
                  </a:cubicBezTo>
                  <a:cubicBezTo>
                    <a:pt x="150" y="14"/>
                    <a:pt x="151" y="30"/>
                    <a:pt x="140" y="29"/>
                  </a:cubicBezTo>
                  <a:cubicBezTo>
                    <a:pt x="129" y="28"/>
                    <a:pt x="118" y="23"/>
                    <a:pt x="118" y="23"/>
                  </a:cubicBezTo>
                  <a:cubicBezTo>
                    <a:pt x="105" y="22"/>
                    <a:pt x="105" y="22"/>
                    <a:pt x="105" y="22"/>
                  </a:cubicBezTo>
                  <a:cubicBezTo>
                    <a:pt x="92" y="17"/>
                    <a:pt x="92" y="17"/>
                    <a:pt x="92" y="17"/>
                  </a:cubicBezTo>
                  <a:cubicBezTo>
                    <a:pt x="92" y="17"/>
                    <a:pt x="97" y="26"/>
                    <a:pt x="84" y="26"/>
                  </a:cubicBezTo>
                  <a:cubicBezTo>
                    <a:pt x="71" y="26"/>
                    <a:pt x="62" y="21"/>
                    <a:pt x="62" y="21"/>
                  </a:cubicBezTo>
                  <a:cubicBezTo>
                    <a:pt x="46" y="14"/>
                    <a:pt x="46" y="14"/>
                    <a:pt x="46" y="14"/>
                  </a:cubicBezTo>
                  <a:cubicBezTo>
                    <a:pt x="39" y="21"/>
                    <a:pt x="39" y="21"/>
                    <a:pt x="39" y="21"/>
                  </a:cubicBezTo>
                  <a:cubicBezTo>
                    <a:pt x="39" y="21"/>
                    <a:pt x="22" y="22"/>
                    <a:pt x="22" y="18"/>
                  </a:cubicBezTo>
                  <a:cubicBezTo>
                    <a:pt x="22" y="14"/>
                    <a:pt x="31" y="9"/>
                    <a:pt x="29" y="5"/>
                  </a:cubicBezTo>
                  <a:cubicBezTo>
                    <a:pt x="27" y="1"/>
                    <a:pt x="17" y="1"/>
                    <a:pt x="17" y="1"/>
                  </a:cubicBezTo>
                  <a:cubicBezTo>
                    <a:pt x="10" y="0"/>
                    <a:pt x="10" y="0"/>
                    <a:pt x="10" y="0"/>
                  </a:cubicBezTo>
                  <a:cubicBezTo>
                    <a:pt x="9" y="8"/>
                    <a:pt x="9" y="8"/>
                    <a:pt x="9" y="8"/>
                  </a:cubicBezTo>
                  <a:cubicBezTo>
                    <a:pt x="0" y="16"/>
                    <a:pt x="0" y="16"/>
                    <a:pt x="0" y="16"/>
                  </a:cubicBezTo>
                  <a:cubicBezTo>
                    <a:pt x="3" y="28"/>
                    <a:pt x="3" y="28"/>
                    <a:pt x="3" y="28"/>
                  </a:cubicBezTo>
                  <a:cubicBezTo>
                    <a:pt x="12" y="33"/>
                    <a:pt x="12" y="33"/>
                    <a:pt x="12" y="33"/>
                  </a:cubicBezTo>
                  <a:cubicBezTo>
                    <a:pt x="10" y="40"/>
                    <a:pt x="10" y="40"/>
                    <a:pt x="10" y="40"/>
                  </a:cubicBezTo>
                  <a:cubicBezTo>
                    <a:pt x="23" y="47"/>
                    <a:pt x="23" y="47"/>
                    <a:pt x="23" y="47"/>
                  </a:cubicBezTo>
                  <a:cubicBezTo>
                    <a:pt x="23" y="47"/>
                    <a:pt x="28" y="53"/>
                    <a:pt x="26" y="57"/>
                  </a:cubicBezTo>
                  <a:cubicBezTo>
                    <a:pt x="24" y="61"/>
                    <a:pt x="20" y="68"/>
                    <a:pt x="20" y="68"/>
                  </a:cubicBezTo>
                  <a:cubicBezTo>
                    <a:pt x="20" y="68"/>
                    <a:pt x="9" y="65"/>
                    <a:pt x="7" y="69"/>
                  </a:cubicBezTo>
                  <a:cubicBezTo>
                    <a:pt x="5" y="73"/>
                    <a:pt x="8" y="80"/>
                    <a:pt x="8" y="80"/>
                  </a:cubicBezTo>
                  <a:cubicBezTo>
                    <a:pt x="8" y="80"/>
                    <a:pt x="11" y="88"/>
                    <a:pt x="10" y="91"/>
                  </a:cubicBezTo>
                  <a:cubicBezTo>
                    <a:pt x="9" y="93"/>
                    <a:pt x="5" y="94"/>
                    <a:pt x="2" y="95"/>
                  </a:cubicBezTo>
                  <a:cubicBezTo>
                    <a:pt x="2" y="95"/>
                    <a:pt x="2" y="95"/>
                    <a:pt x="2" y="95"/>
                  </a:cubicBezTo>
                  <a:cubicBezTo>
                    <a:pt x="8" y="104"/>
                    <a:pt x="8" y="104"/>
                    <a:pt x="8" y="104"/>
                  </a:cubicBezTo>
                  <a:cubicBezTo>
                    <a:pt x="13" y="104"/>
                    <a:pt x="13" y="104"/>
                    <a:pt x="13" y="104"/>
                  </a:cubicBezTo>
                  <a:cubicBezTo>
                    <a:pt x="13" y="112"/>
                    <a:pt x="13" y="112"/>
                    <a:pt x="13" y="112"/>
                  </a:cubicBezTo>
                  <a:cubicBezTo>
                    <a:pt x="25" y="121"/>
                    <a:pt x="25" y="121"/>
                    <a:pt x="25" y="121"/>
                  </a:cubicBezTo>
                  <a:cubicBezTo>
                    <a:pt x="25" y="121"/>
                    <a:pt x="36" y="128"/>
                    <a:pt x="33" y="139"/>
                  </a:cubicBezTo>
                  <a:cubicBezTo>
                    <a:pt x="32" y="142"/>
                    <a:pt x="31" y="145"/>
                    <a:pt x="29" y="147"/>
                  </a:cubicBezTo>
                  <a:cubicBezTo>
                    <a:pt x="32" y="150"/>
                    <a:pt x="36" y="154"/>
                    <a:pt x="41" y="154"/>
                  </a:cubicBezTo>
                  <a:cubicBezTo>
                    <a:pt x="49" y="154"/>
                    <a:pt x="59" y="144"/>
                    <a:pt x="59" y="144"/>
                  </a:cubicBezTo>
                  <a:cubicBezTo>
                    <a:pt x="73" y="150"/>
                    <a:pt x="73" y="150"/>
                    <a:pt x="73" y="150"/>
                  </a:cubicBezTo>
                  <a:cubicBezTo>
                    <a:pt x="79" y="138"/>
                    <a:pt x="79" y="138"/>
                    <a:pt x="79" y="138"/>
                  </a:cubicBezTo>
                  <a:cubicBezTo>
                    <a:pt x="97" y="135"/>
                    <a:pt x="97" y="135"/>
                    <a:pt x="97" y="135"/>
                  </a:cubicBezTo>
                  <a:cubicBezTo>
                    <a:pt x="97" y="135"/>
                    <a:pt x="101" y="149"/>
                    <a:pt x="109" y="149"/>
                  </a:cubicBezTo>
                  <a:cubicBezTo>
                    <a:pt x="117" y="149"/>
                    <a:pt x="123" y="146"/>
                    <a:pt x="123" y="146"/>
                  </a:cubicBezTo>
                  <a:cubicBezTo>
                    <a:pt x="123" y="146"/>
                    <a:pt x="124" y="155"/>
                    <a:pt x="132" y="154"/>
                  </a:cubicBezTo>
                  <a:cubicBezTo>
                    <a:pt x="140" y="153"/>
                    <a:pt x="145" y="146"/>
                    <a:pt x="145" y="146"/>
                  </a:cubicBezTo>
                  <a:cubicBezTo>
                    <a:pt x="155" y="154"/>
                    <a:pt x="155" y="154"/>
                    <a:pt x="155" y="154"/>
                  </a:cubicBezTo>
                  <a:cubicBezTo>
                    <a:pt x="155" y="154"/>
                    <a:pt x="169" y="153"/>
                    <a:pt x="171" y="148"/>
                  </a:cubicBezTo>
                  <a:cubicBezTo>
                    <a:pt x="173" y="143"/>
                    <a:pt x="167" y="135"/>
                    <a:pt x="167" y="135"/>
                  </a:cubicBezTo>
                  <a:cubicBezTo>
                    <a:pt x="179" y="129"/>
                    <a:pt x="179" y="129"/>
                    <a:pt x="179" y="129"/>
                  </a:cubicBezTo>
                  <a:cubicBezTo>
                    <a:pt x="188" y="114"/>
                    <a:pt x="188" y="114"/>
                    <a:pt x="188" y="114"/>
                  </a:cubicBezTo>
                  <a:cubicBezTo>
                    <a:pt x="208" y="116"/>
                    <a:pt x="208" y="116"/>
                    <a:pt x="208" y="116"/>
                  </a:cubicBezTo>
                  <a:cubicBezTo>
                    <a:pt x="216" y="106"/>
                    <a:pt x="216" y="106"/>
                    <a:pt x="216" y="106"/>
                  </a:cubicBezTo>
                  <a:cubicBezTo>
                    <a:pt x="226" y="119"/>
                    <a:pt x="226" y="119"/>
                    <a:pt x="226" y="119"/>
                  </a:cubicBezTo>
                  <a:cubicBezTo>
                    <a:pt x="226" y="119"/>
                    <a:pt x="240" y="121"/>
                    <a:pt x="249" y="120"/>
                  </a:cubicBezTo>
                  <a:cubicBezTo>
                    <a:pt x="248" y="117"/>
                    <a:pt x="248" y="115"/>
                    <a:pt x="248" y="115"/>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0" name="Freeform 11">
              <a:extLst>
                <a:ext uri="{FF2B5EF4-FFF2-40B4-BE49-F238E27FC236}">
                  <a16:creationId xmlns:a16="http://schemas.microsoft.com/office/drawing/2014/main" id="{9F0ED69D-65C6-4CF9-8027-00CF5E7F7F7D}"/>
                </a:ext>
              </a:extLst>
            </p:cNvPr>
            <p:cNvSpPr>
              <a:spLocks/>
            </p:cNvSpPr>
            <p:nvPr/>
          </p:nvSpPr>
          <p:spPr bwMode="auto">
            <a:xfrm>
              <a:off x="5337889" y="4066967"/>
              <a:ext cx="263397" cy="207098"/>
            </a:xfrm>
            <a:custGeom>
              <a:avLst/>
              <a:gdLst>
                <a:gd name="T0" fmla="*/ 100 w 111"/>
                <a:gd name="T1" fmla="*/ 26 h 87"/>
                <a:gd name="T2" fmla="*/ 88 w 111"/>
                <a:gd name="T3" fmla="*/ 17 h 87"/>
                <a:gd name="T4" fmla="*/ 88 w 111"/>
                <a:gd name="T5" fmla="*/ 9 h 87"/>
                <a:gd name="T6" fmla="*/ 83 w 111"/>
                <a:gd name="T7" fmla="*/ 9 h 87"/>
                <a:gd name="T8" fmla="*/ 77 w 111"/>
                <a:gd name="T9" fmla="*/ 0 h 87"/>
                <a:gd name="T10" fmla="*/ 76 w 111"/>
                <a:gd name="T11" fmla="*/ 0 h 87"/>
                <a:gd name="T12" fmla="*/ 50 w 111"/>
                <a:gd name="T13" fmla="*/ 2 h 87"/>
                <a:gd name="T14" fmla="*/ 46 w 111"/>
                <a:gd name="T15" fmla="*/ 6 h 87"/>
                <a:gd name="T16" fmla="*/ 33 w 111"/>
                <a:gd name="T17" fmla="*/ 6 h 87"/>
                <a:gd name="T18" fmla="*/ 30 w 111"/>
                <a:gd name="T19" fmla="*/ 14 h 87"/>
                <a:gd name="T20" fmla="*/ 18 w 111"/>
                <a:gd name="T21" fmla="*/ 14 h 87"/>
                <a:gd name="T22" fmla="*/ 13 w 111"/>
                <a:gd name="T23" fmla="*/ 22 h 87"/>
                <a:gd name="T24" fmla="*/ 2 w 111"/>
                <a:gd name="T25" fmla="*/ 26 h 87"/>
                <a:gd name="T26" fmla="*/ 0 w 111"/>
                <a:gd name="T27" fmla="*/ 41 h 87"/>
                <a:gd name="T28" fmla="*/ 5 w 111"/>
                <a:gd name="T29" fmla="*/ 52 h 87"/>
                <a:gd name="T30" fmla="*/ 3 w 111"/>
                <a:gd name="T31" fmla="*/ 64 h 87"/>
                <a:gd name="T32" fmla="*/ 11 w 111"/>
                <a:gd name="T33" fmla="*/ 70 h 87"/>
                <a:gd name="T34" fmla="*/ 11 w 111"/>
                <a:gd name="T35" fmla="*/ 84 h 87"/>
                <a:gd name="T36" fmla="*/ 29 w 111"/>
                <a:gd name="T37" fmla="*/ 77 h 87"/>
                <a:gd name="T38" fmla="*/ 31 w 111"/>
                <a:gd name="T39" fmla="*/ 84 h 87"/>
                <a:gd name="T40" fmla="*/ 36 w 111"/>
                <a:gd name="T41" fmla="*/ 79 h 87"/>
                <a:gd name="T42" fmla="*/ 60 w 111"/>
                <a:gd name="T43" fmla="*/ 81 h 87"/>
                <a:gd name="T44" fmla="*/ 63 w 111"/>
                <a:gd name="T45" fmla="*/ 70 h 87"/>
                <a:gd name="T46" fmla="*/ 90 w 111"/>
                <a:gd name="T47" fmla="*/ 66 h 87"/>
                <a:gd name="T48" fmla="*/ 108 w 111"/>
                <a:gd name="T49" fmla="*/ 44 h 87"/>
                <a:gd name="T50" fmla="*/ 100 w 111"/>
                <a:gd name="T51" fmla="*/ 2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87">
                  <a:moveTo>
                    <a:pt x="100" y="26"/>
                  </a:moveTo>
                  <a:cubicBezTo>
                    <a:pt x="88" y="17"/>
                    <a:pt x="88" y="17"/>
                    <a:pt x="88" y="17"/>
                  </a:cubicBezTo>
                  <a:cubicBezTo>
                    <a:pt x="88" y="9"/>
                    <a:pt x="88" y="9"/>
                    <a:pt x="88" y="9"/>
                  </a:cubicBezTo>
                  <a:cubicBezTo>
                    <a:pt x="83" y="9"/>
                    <a:pt x="83" y="9"/>
                    <a:pt x="83" y="9"/>
                  </a:cubicBezTo>
                  <a:cubicBezTo>
                    <a:pt x="77" y="0"/>
                    <a:pt x="77" y="0"/>
                    <a:pt x="77" y="0"/>
                  </a:cubicBezTo>
                  <a:cubicBezTo>
                    <a:pt x="77" y="0"/>
                    <a:pt x="76" y="0"/>
                    <a:pt x="76" y="0"/>
                  </a:cubicBezTo>
                  <a:cubicBezTo>
                    <a:pt x="50" y="2"/>
                    <a:pt x="50" y="2"/>
                    <a:pt x="50" y="2"/>
                  </a:cubicBezTo>
                  <a:cubicBezTo>
                    <a:pt x="46" y="6"/>
                    <a:pt x="46" y="6"/>
                    <a:pt x="46" y="6"/>
                  </a:cubicBezTo>
                  <a:cubicBezTo>
                    <a:pt x="33" y="6"/>
                    <a:pt x="33" y="6"/>
                    <a:pt x="33" y="6"/>
                  </a:cubicBezTo>
                  <a:cubicBezTo>
                    <a:pt x="33" y="6"/>
                    <a:pt x="37" y="14"/>
                    <a:pt x="30" y="14"/>
                  </a:cubicBezTo>
                  <a:cubicBezTo>
                    <a:pt x="23" y="14"/>
                    <a:pt x="18" y="14"/>
                    <a:pt x="18" y="14"/>
                  </a:cubicBezTo>
                  <a:cubicBezTo>
                    <a:pt x="13" y="22"/>
                    <a:pt x="13" y="22"/>
                    <a:pt x="13" y="22"/>
                  </a:cubicBezTo>
                  <a:cubicBezTo>
                    <a:pt x="2" y="26"/>
                    <a:pt x="2" y="26"/>
                    <a:pt x="2" y="26"/>
                  </a:cubicBezTo>
                  <a:cubicBezTo>
                    <a:pt x="0" y="41"/>
                    <a:pt x="0" y="41"/>
                    <a:pt x="0" y="41"/>
                  </a:cubicBezTo>
                  <a:cubicBezTo>
                    <a:pt x="5" y="52"/>
                    <a:pt x="5" y="52"/>
                    <a:pt x="5" y="52"/>
                  </a:cubicBezTo>
                  <a:cubicBezTo>
                    <a:pt x="5" y="52"/>
                    <a:pt x="3" y="59"/>
                    <a:pt x="3" y="64"/>
                  </a:cubicBezTo>
                  <a:cubicBezTo>
                    <a:pt x="3" y="69"/>
                    <a:pt x="11" y="70"/>
                    <a:pt x="11" y="70"/>
                  </a:cubicBezTo>
                  <a:cubicBezTo>
                    <a:pt x="11" y="84"/>
                    <a:pt x="11" y="84"/>
                    <a:pt x="11" y="84"/>
                  </a:cubicBezTo>
                  <a:cubicBezTo>
                    <a:pt x="29" y="77"/>
                    <a:pt x="29" y="77"/>
                    <a:pt x="29" y="77"/>
                  </a:cubicBezTo>
                  <a:cubicBezTo>
                    <a:pt x="29" y="77"/>
                    <a:pt x="30" y="80"/>
                    <a:pt x="31" y="84"/>
                  </a:cubicBezTo>
                  <a:cubicBezTo>
                    <a:pt x="36" y="79"/>
                    <a:pt x="36" y="79"/>
                    <a:pt x="36" y="79"/>
                  </a:cubicBezTo>
                  <a:cubicBezTo>
                    <a:pt x="36" y="79"/>
                    <a:pt x="56" y="87"/>
                    <a:pt x="60" y="81"/>
                  </a:cubicBezTo>
                  <a:cubicBezTo>
                    <a:pt x="64" y="75"/>
                    <a:pt x="63" y="70"/>
                    <a:pt x="63" y="70"/>
                  </a:cubicBezTo>
                  <a:cubicBezTo>
                    <a:pt x="63" y="70"/>
                    <a:pt x="82" y="74"/>
                    <a:pt x="90" y="66"/>
                  </a:cubicBezTo>
                  <a:cubicBezTo>
                    <a:pt x="98" y="58"/>
                    <a:pt x="105" y="55"/>
                    <a:pt x="108" y="44"/>
                  </a:cubicBezTo>
                  <a:cubicBezTo>
                    <a:pt x="111" y="33"/>
                    <a:pt x="100" y="26"/>
                    <a:pt x="100" y="26"/>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1" name="Freeform 12">
              <a:extLst>
                <a:ext uri="{FF2B5EF4-FFF2-40B4-BE49-F238E27FC236}">
                  <a16:creationId xmlns:a16="http://schemas.microsoft.com/office/drawing/2014/main" id="{C37A18ED-8159-4FFF-BEDE-773A849C183F}"/>
                </a:ext>
              </a:extLst>
            </p:cNvPr>
            <p:cNvSpPr>
              <a:spLocks/>
            </p:cNvSpPr>
            <p:nvPr/>
          </p:nvSpPr>
          <p:spPr bwMode="auto">
            <a:xfrm>
              <a:off x="5912938" y="3304925"/>
              <a:ext cx="338798" cy="374989"/>
            </a:xfrm>
            <a:custGeom>
              <a:avLst/>
              <a:gdLst>
                <a:gd name="T0" fmla="*/ 0 w 143"/>
                <a:gd name="T1" fmla="*/ 11 h 158"/>
                <a:gd name="T2" fmla="*/ 24 w 143"/>
                <a:gd name="T3" fmla="*/ 30 h 158"/>
                <a:gd name="T4" fmla="*/ 23 w 143"/>
                <a:gd name="T5" fmla="*/ 40 h 158"/>
                <a:gd name="T6" fmla="*/ 38 w 143"/>
                <a:gd name="T7" fmla="*/ 49 h 158"/>
                <a:gd name="T8" fmla="*/ 44 w 143"/>
                <a:gd name="T9" fmla="*/ 63 h 158"/>
                <a:gd name="T10" fmla="*/ 52 w 143"/>
                <a:gd name="T11" fmla="*/ 64 h 158"/>
                <a:gd name="T12" fmla="*/ 54 w 143"/>
                <a:gd name="T13" fmla="*/ 74 h 158"/>
                <a:gd name="T14" fmla="*/ 71 w 143"/>
                <a:gd name="T15" fmla="*/ 84 h 158"/>
                <a:gd name="T16" fmla="*/ 69 w 143"/>
                <a:gd name="T17" fmla="*/ 106 h 158"/>
                <a:gd name="T18" fmla="*/ 74 w 143"/>
                <a:gd name="T19" fmla="*/ 109 h 158"/>
                <a:gd name="T20" fmla="*/ 67 w 143"/>
                <a:gd name="T21" fmla="*/ 129 h 158"/>
                <a:gd name="T22" fmla="*/ 73 w 143"/>
                <a:gd name="T23" fmla="*/ 143 h 158"/>
                <a:gd name="T24" fmla="*/ 75 w 143"/>
                <a:gd name="T25" fmla="*/ 158 h 158"/>
                <a:gd name="T26" fmla="*/ 92 w 143"/>
                <a:gd name="T27" fmla="*/ 155 h 158"/>
                <a:gd name="T28" fmla="*/ 88 w 143"/>
                <a:gd name="T29" fmla="*/ 141 h 158"/>
                <a:gd name="T30" fmla="*/ 104 w 143"/>
                <a:gd name="T31" fmla="*/ 129 h 158"/>
                <a:gd name="T32" fmla="*/ 113 w 143"/>
                <a:gd name="T33" fmla="*/ 120 h 158"/>
                <a:gd name="T34" fmla="*/ 97 w 143"/>
                <a:gd name="T35" fmla="*/ 106 h 158"/>
                <a:gd name="T36" fmla="*/ 113 w 143"/>
                <a:gd name="T37" fmla="*/ 102 h 158"/>
                <a:gd name="T38" fmla="*/ 126 w 143"/>
                <a:gd name="T39" fmla="*/ 109 h 158"/>
                <a:gd name="T40" fmla="*/ 143 w 143"/>
                <a:gd name="T41" fmla="*/ 104 h 158"/>
                <a:gd name="T42" fmla="*/ 141 w 143"/>
                <a:gd name="T43" fmla="*/ 83 h 158"/>
                <a:gd name="T44" fmla="*/ 120 w 143"/>
                <a:gd name="T45" fmla="*/ 77 h 158"/>
                <a:gd name="T46" fmla="*/ 122 w 143"/>
                <a:gd name="T47" fmla="*/ 61 h 158"/>
                <a:gd name="T48" fmla="*/ 117 w 143"/>
                <a:gd name="T49" fmla="*/ 56 h 158"/>
                <a:gd name="T50" fmla="*/ 105 w 143"/>
                <a:gd name="T51" fmla="*/ 58 h 158"/>
                <a:gd name="T52" fmla="*/ 105 w 143"/>
                <a:gd name="T53" fmla="*/ 43 h 158"/>
                <a:gd name="T54" fmla="*/ 103 w 143"/>
                <a:gd name="T55" fmla="*/ 26 h 158"/>
                <a:gd name="T56" fmla="*/ 83 w 143"/>
                <a:gd name="T57" fmla="*/ 24 h 158"/>
                <a:gd name="T58" fmla="*/ 78 w 143"/>
                <a:gd name="T59" fmla="*/ 13 h 158"/>
                <a:gd name="T60" fmla="*/ 57 w 143"/>
                <a:gd name="T61" fmla="*/ 12 h 158"/>
                <a:gd name="T62" fmla="*/ 52 w 143"/>
                <a:gd name="T63" fmla="*/ 7 h 158"/>
                <a:gd name="T64" fmla="*/ 48 w 143"/>
                <a:gd name="T65" fmla="*/ 9 h 158"/>
                <a:gd name="T66" fmla="*/ 33 w 143"/>
                <a:gd name="T67" fmla="*/ 1 h 158"/>
                <a:gd name="T68" fmla="*/ 18 w 143"/>
                <a:gd name="T69" fmla="*/ 8 h 158"/>
                <a:gd name="T70" fmla="*/ 2 w 143"/>
                <a:gd name="T71" fmla="*/ 3 h 158"/>
                <a:gd name="T72" fmla="*/ 0 w 143"/>
                <a:gd name="T73" fmla="*/ 11 h 158"/>
                <a:gd name="T74" fmla="*/ 0 w 143"/>
                <a:gd name="T75" fmla="*/ 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158">
                  <a:moveTo>
                    <a:pt x="0" y="11"/>
                  </a:moveTo>
                  <a:cubicBezTo>
                    <a:pt x="17" y="14"/>
                    <a:pt x="24" y="30"/>
                    <a:pt x="24" y="30"/>
                  </a:cubicBezTo>
                  <a:cubicBezTo>
                    <a:pt x="23" y="40"/>
                    <a:pt x="23" y="40"/>
                    <a:pt x="23" y="40"/>
                  </a:cubicBezTo>
                  <a:cubicBezTo>
                    <a:pt x="38" y="49"/>
                    <a:pt x="38" y="49"/>
                    <a:pt x="38" y="49"/>
                  </a:cubicBezTo>
                  <a:cubicBezTo>
                    <a:pt x="44" y="63"/>
                    <a:pt x="44" y="63"/>
                    <a:pt x="44" y="63"/>
                  </a:cubicBezTo>
                  <a:cubicBezTo>
                    <a:pt x="52" y="64"/>
                    <a:pt x="52" y="64"/>
                    <a:pt x="52" y="64"/>
                  </a:cubicBezTo>
                  <a:cubicBezTo>
                    <a:pt x="54" y="74"/>
                    <a:pt x="54" y="74"/>
                    <a:pt x="54" y="74"/>
                  </a:cubicBezTo>
                  <a:cubicBezTo>
                    <a:pt x="54" y="74"/>
                    <a:pt x="70" y="75"/>
                    <a:pt x="71" y="84"/>
                  </a:cubicBezTo>
                  <a:cubicBezTo>
                    <a:pt x="72" y="93"/>
                    <a:pt x="69" y="106"/>
                    <a:pt x="69" y="106"/>
                  </a:cubicBezTo>
                  <a:cubicBezTo>
                    <a:pt x="74" y="109"/>
                    <a:pt x="74" y="109"/>
                    <a:pt x="74" y="109"/>
                  </a:cubicBezTo>
                  <a:cubicBezTo>
                    <a:pt x="74" y="109"/>
                    <a:pt x="67" y="122"/>
                    <a:pt x="67" y="129"/>
                  </a:cubicBezTo>
                  <a:cubicBezTo>
                    <a:pt x="67" y="136"/>
                    <a:pt x="73" y="143"/>
                    <a:pt x="73" y="143"/>
                  </a:cubicBezTo>
                  <a:cubicBezTo>
                    <a:pt x="73" y="143"/>
                    <a:pt x="72" y="151"/>
                    <a:pt x="75" y="158"/>
                  </a:cubicBezTo>
                  <a:cubicBezTo>
                    <a:pt x="92" y="155"/>
                    <a:pt x="92" y="155"/>
                    <a:pt x="92" y="155"/>
                  </a:cubicBezTo>
                  <a:cubicBezTo>
                    <a:pt x="92" y="155"/>
                    <a:pt x="88" y="145"/>
                    <a:pt x="88" y="141"/>
                  </a:cubicBezTo>
                  <a:cubicBezTo>
                    <a:pt x="88" y="137"/>
                    <a:pt x="104" y="129"/>
                    <a:pt x="104" y="129"/>
                  </a:cubicBezTo>
                  <a:cubicBezTo>
                    <a:pt x="113" y="120"/>
                    <a:pt x="113" y="120"/>
                    <a:pt x="113" y="120"/>
                  </a:cubicBezTo>
                  <a:cubicBezTo>
                    <a:pt x="113" y="120"/>
                    <a:pt x="98" y="110"/>
                    <a:pt x="97" y="106"/>
                  </a:cubicBezTo>
                  <a:cubicBezTo>
                    <a:pt x="96" y="102"/>
                    <a:pt x="113" y="102"/>
                    <a:pt x="113" y="102"/>
                  </a:cubicBezTo>
                  <a:cubicBezTo>
                    <a:pt x="113" y="102"/>
                    <a:pt x="119" y="110"/>
                    <a:pt x="126" y="109"/>
                  </a:cubicBezTo>
                  <a:cubicBezTo>
                    <a:pt x="133" y="108"/>
                    <a:pt x="143" y="104"/>
                    <a:pt x="143" y="104"/>
                  </a:cubicBezTo>
                  <a:cubicBezTo>
                    <a:pt x="143" y="104"/>
                    <a:pt x="142" y="90"/>
                    <a:pt x="141" y="83"/>
                  </a:cubicBezTo>
                  <a:cubicBezTo>
                    <a:pt x="140" y="76"/>
                    <a:pt x="127" y="79"/>
                    <a:pt x="120" y="77"/>
                  </a:cubicBezTo>
                  <a:cubicBezTo>
                    <a:pt x="113" y="75"/>
                    <a:pt x="122" y="61"/>
                    <a:pt x="122" y="61"/>
                  </a:cubicBezTo>
                  <a:cubicBezTo>
                    <a:pt x="117" y="56"/>
                    <a:pt x="117" y="56"/>
                    <a:pt x="117" y="56"/>
                  </a:cubicBezTo>
                  <a:cubicBezTo>
                    <a:pt x="117" y="56"/>
                    <a:pt x="108" y="58"/>
                    <a:pt x="105" y="58"/>
                  </a:cubicBezTo>
                  <a:cubicBezTo>
                    <a:pt x="102" y="58"/>
                    <a:pt x="105" y="43"/>
                    <a:pt x="105" y="43"/>
                  </a:cubicBezTo>
                  <a:cubicBezTo>
                    <a:pt x="105" y="43"/>
                    <a:pt x="114" y="34"/>
                    <a:pt x="103" y="26"/>
                  </a:cubicBezTo>
                  <a:cubicBezTo>
                    <a:pt x="92" y="18"/>
                    <a:pt x="83" y="24"/>
                    <a:pt x="83" y="24"/>
                  </a:cubicBezTo>
                  <a:cubicBezTo>
                    <a:pt x="83" y="24"/>
                    <a:pt x="83" y="17"/>
                    <a:pt x="78" y="13"/>
                  </a:cubicBezTo>
                  <a:cubicBezTo>
                    <a:pt x="73" y="9"/>
                    <a:pt x="66" y="12"/>
                    <a:pt x="57" y="12"/>
                  </a:cubicBezTo>
                  <a:cubicBezTo>
                    <a:pt x="48" y="12"/>
                    <a:pt x="52" y="7"/>
                    <a:pt x="52" y="7"/>
                  </a:cubicBezTo>
                  <a:cubicBezTo>
                    <a:pt x="48" y="9"/>
                    <a:pt x="48" y="9"/>
                    <a:pt x="48" y="9"/>
                  </a:cubicBezTo>
                  <a:cubicBezTo>
                    <a:pt x="48" y="9"/>
                    <a:pt x="42" y="0"/>
                    <a:pt x="33" y="1"/>
                  </a:cubicBezTo>
                  <a:cubicBezTo>
                    <a:pt x="24" y="2"/>
                    <a:pt x="24" y="7"/>
                    <a:pt x="18" y="8"/>
                  </a:cubicBezTo>
                  <a:cubicBezTo>
                    <a:pt x="12" y="9"/>
                    <a:pt x="2" y="3"/>
                    <a:pt x="2" y="3"/>
                  </a:cubicBezTo>
                  <a:cubicBezTo>
                    <a:pt x="0" y="11"/>
                    <a:pt x="0" y="11"/>
                    <a:pt x="0" y="11"/>
                  </a:cubicBezTo>
                  <a:cubicBezTo>
                    <a:pt x="0" y="11"/>
                    <a:pt x="0" y="11"/>
                    <a:pt x="0" y="1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2" name="Freeform 13">
              <a:extLst>
                <a:ext uri="{FF2B5EF4-FFF2-40B4-BE49-F238E27FC236}">
                  <a16:creationId xmlns:a16="http://schemas.microsoft.com/office/drawing/2014/main" id="{90EBF209-4166-40EF-8351-1E77333F7534}"/>
                </a:ext>
              </a:extLst>
            </p:cNvPr>
            <p:cNvSpPr>
              <a:spLocks/>
            </p:cNvSpPr>
            <p:nvPr/>
          </p:nvSpPr>
          <p:spPr bwMode="auto">
            <a:xfrm>
              <a:off x="4185778" y="3447683"/>
              <a:ext cx="36192" cy="38203"/>
            </a:xfrm>
            <a:custGeom>
              <a:avLst/>
              <a:gdLst>
                <a:gd name="T0" fmla="*/ 11 w 15"/>
                <a:gd name="T1" fmla="*/ 1 h 16"/>
                <a:gd name="T2" fmla="*/ 4 w 15"/>
                <a:gd name="T3" fmla="*/ 14 h 16"/>
                <a:gd name="T4" fmla="*/ 12 w 15"/>
                <a:gd name="T5" fmla="*/ 16 h 16"/>
                <a:gd name="T6" fmla="*/ 15 w 15"/>
                <a:gd name="T7" fmla="*/ 16 h 16"/>
                <a:gd name="T8" fmla="*/ 15 w 15"/>
                <a:gd name="T9" fmla="*/ 6 h 16"/>
                <a:gd name="T10" fmla="*/ 13 w 15"/>
                <a:gd name="T11" fmla="*/ 0 h 16"/>
                <a:gd name="T12" fmla="*/ 11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1" y="1"/>
                  </a:moveTo>
                  <a:cubicBezTo>
                    <a:pt x="6" y="3"/>
                    <a:pt x="0" y="11"/>
                    <a:pt x="4" y="14"/>
                  </a:cubicBezTo>
                  <a:cubicBezTo>
                    <a:pt x="8" y="16"/>
                    <a:pt x="12" y="16"/>
                    <a:pt x="12" y="16"/>
                  </a:cubicBezTo>
                  <a:cubicBezTo>
                    <a:pt x="15" y="16"/>
                    <a:pt x="15" y="16"/>
                    <a:pt x="15" y="16"/>
                  </a:cubicBezTo>
                  <a:cubicBezTo>
                    <a:pt x="15" y="14"/>
                    <a:pt x="15" y="9"/>
                    <a:pt x="15" y="6"/>
                  </a:cubicBezTo>
                  <a:cubicBezTo>
                    <a:pt x="15" y="4"/>
                    <a:pt x="14" y="2"/>
                    <a:pt x="13" y="0"/>
                  </a:cubicBezTo>
                  <a:cubicBezTo>
                    <a:pt x="12" y="0"/>
                    <a:pt x="12" y="1"/>
                    <a:pt x="11" y="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3" name="Freeform 14">
              <a:extLst>
                <a:ext uri="{FF2B5EF4-FFF2-40B4-BE49-F238E27FC236}">
                  <a16:creationId xmlns:a16="http://schemas.microsoft.com/office/drawing/2014/main" id="{26A3BF3F-D582-4EF2-9AC4-7DF34DB633B7}"/>
                </a:ext>
              </a:extLst>
            </p:cNvPr>
            <p:cNvSpPr>
              <a:spLocks/>
            </p:cNvSpPr>
            <p:nvPr/>
          </p:nvSpPr>
          <p:spPr bwMode="auto">
            <a:xfrm>
              <a:off x="5287622" y="3324026"/>
              <a:ext cx="976178" cy="589125"/>
            </a:xfrm>
            <a:custGeom>
              <a:avLst/>
              <a:gdLst>
                <a:gd name="T0" fmla="*/ 360 w 411"/>
                <a:gd name="T1" fmla="*/ 241 h 248"/>
                <a:gd name="T2" fmla="*/ 379 w 411"/>
                <a:gd name="T3" fmla="*/ 187 h 248"/>
                <a:gd name="T4" fmla="*/ 397 w 411"/>
                <a:gd name="T5" fmla="*/ 146 h 248"/>
                <a:gd name="T6" fmla="*/ 353 w 411"/>
                <a:gd name="T7" fmla="*/ 161 h 248"/>
                <a:gd name="T8" fmla="*/ 330 w 411"/>
                <a:gd name="T9" fmla="*/ 121 h 248"/>
                <a:gd name="T10" fmla="*/ 332 w 411"/>
                <a:gd name="T11" fmla="*/ 98 h 248"/>
                <a:gd name="T12" fmla="*/ 317 w 411"/>
                <a:gd name="T13" fmla="*/ 66 h 248"/>
                <a:gd name="T14" fmla="*/ 307 w 411"/>
                <a:gd name="T15" fmla="*/ 55 h 248"/>
                <a:gd name="T16" fmla="*/ 286 w 411"/>
                <a:gd name="T17" fmla="*/ 32 h 248"/>
                <a:gd name="T18" fmla="*/ 263 w 411"/>
                <a:gd name="T19" fmla="*/ 3 h 248"/>
                <a:gd name="T20" fmla="*/ 225 w 411"/>
                <a:gd name="T21" fmla="*/ 17 h 248"/>
                <a:gd name="T22" fmla="*/ 204 w 411"/>
                <a:gd name="T23" fmla="*/ 21 h 248"/>
                <a:gd name="T24" fmla="*/ 172 w 411"/>
                <a:gd name="T25" fmla="*/ 16 h 248"/>
                <a:gd name="T26" fmla="*/ 145 w 411"/>
                <a:gd name="T27" fmla="*/ 18 h 248"/>
                <a:gd name="T28" fmla="*/ 123 w 411"/>
                <a:gd name="T29" fmla="*/ 14 h 248"/>
                <a:gd name="T30" fmla="*/ 90 w 411"/>
                <a:gd name="T31" fmla="*/ 28 h 248"/>
                <a:gd name="T32" fmla="*/ 69 w 411"/>
                <a:gd name="T33" fmla="*/ 53 h 248"/>
                <a:gd name="T34" fmla="*/ 46 w 411"/>
                <a:gd name="T35" fmla="*/ 83 h 248"/>
                <a:gd name="T36" fmla="*/ 29 w 411"/>
                <a:gd name="T37" fmla="*/ 107 h 248"/>
                <a:gd name="T38" fmla="*/ 16 w 411"/>
                <a:gd name="T39" fmla="*/ 114 h 248"/>
                <a:gd name="T40" fmla="*/ 1 w 411"/>
                <a:gd name="T41" fmla="*/ 119 h 248"/>
                <a:gd name="T42" fmla="*/ 22 w 411"/>
                <a:gd name="T43" fmla="*/ 131 h 248"/>
                <a:gd name="T44" fmla="*/ 38 w 411"/>
                <a:gd name="T45" fmla="*/ 160 h 248"/>
                <a:gd name="T46" fmla="*/ 51 w 411"/>
                <a:gd name="T47" fmla="*/ 177 h 248"/>
                <a:gd name="T48" fmla="*/ 72 w 411"/>
                <a:gd name="T49" fmla="*/ 190 h 248"/>
                <a:gd name="T50" fmla="*/ 94 w 411"/>
                <a:gd name="T51" fmla="*/ 190 h 248"/>
                <a:gd name="T52" fmla="*/ 107 w 411"/>
                <a:gd name="T53" fmla="*/ 200 h 248"/>
                <a:gd name="T54" fmla="*/ 107 w 411"/>
                <a:gd name="T55" fmla="*/ 212 h 248"/>
                <a:gd name="T56" fmla="*/ 113 w 411"/>
                <a:gd name="T57" fmla="*/ 219 h 248"/>
                <a:gd name="T58" fmla="*/ 118 w 411"/>
                <a:gd name="T59" fmla="*/ 236 h 248"/>
                <a:gd name="T60" fmla="*/ 142 w 411"/>
                <a:gd name="T61" fmla="*/ 232 h 248"/>
                <a:gd name="T62" fmla="*/ 180 w 411"/>
                <a:gd name="T63" fmla="*/ 244 h 248"/>
                <a:gd name="T64" fmla="*/ 201 w 411"/>
                <a:gd name="T65" fmla="*/ 240 h 248"/>
                <a:gd name="T66" fmla="*/ 236 w 411"/>
                <a:gd name="T67" fmla="*/ 247 h 248"/>
                <a:gd name="T68" fmla="*/ 266 w 411"/>
                <a:gd name="T69" fmla="*/ 229 h 248"/>
                <a:gd name="T70" fmla="*/ 284 w 411"/>
                <a:gd name="T71" fmla="*/ 226 h 248"/>
                <a:gd name="T72" fmla="*/ 315 w 411"/>
                <a:gd name="T73" fmla="*/ 228 h 248"/>
                <a:gd name="T74" fmla="*/ 341 w 411"/>
                <a:gd name="T75" fmla="*/ 24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1" h="248">
                  <a:moveTo>
                    <a:pt x="341" y="240"/>
                  </a:moveTo>
                  <a:cubicBezTo>
                    <a:pt x="344" y="242"/>
                    <a:pt x="353" y="242"/>
                    <a:pt x="360" y="241"/>
                  </a:cubicBezTo>
                  <a:cubicBezTo>
                    <a:pt x="358" y="230"/>
                    <a:pt x="359" y="216"/>
                    <a:pt x="364" y="209"/>
                  </a:cubicBezTo>
                  <a:cubicBezTo>
                    <a:pt x="373" y="197"/>
                    <a:pt x="379" y="187"/>
                    <a:pt x="379" y="187"/>
                  </a:cubicBezTo>
                  <a:cubicBezTo>
                    <a:pt x="379" y="187"/>
                    <a:pt x="411" y="197"/>
                    <a:pt x="407" y="174"/>
                  </a:cubicBezTo>
                  <a:cubicBezTo>
                    <a:pt x="404" y="158"/>
                    <a:pt x="399" y="149"/>
                    <a:pt x="397" y="146"/>
                  </a:cubicBezTo>
                  <a:cubicBezTo>
                    <a:pt x="395" y="148"/>
                    <a:pt x="391" y="152"/>
                    <a:pt x="382" y="151"/>
                  </a:cubicBezTo>
                  <a:cubicBezTo>
                    <a:pt x="370" y="150"/>
                    <a:pt x="374" y="164"/>
                    <a:pt x="353" y="161"/>
                  </a:cubicBezTo>
                  <a:cubicBezTo>
                    <a:pt x="332" y="158"/>
                    <a:pt x="336" y="135"/>
                    <a:pt x="336" y="135"/>
                  </a:cubicBezTo>
                  <a:cubicBezTo>
                    <a:pt x="336" y="135"/>
                    <a:pt x="330" y="128"/>
                    <a:pt x="330" y="121"/>
                  </a:cubicBezTo>
                  <a:cubicBezTo>
                    <a:pt x="330" y="114"/>
                    <a:pt x="337" y="101"/>
                    <a:pt x="337" y="101"/>
                  </a:cubicBezTo>
                  <a:cubicBezTo>
                    <a:pt x="332" y="98"/>
                    <a:pt x="332" y="98"/>
                    <a:pt x="332" y="98"/>
                  </a:cubicBezTo>
                  <a:cubicBezTo>
                    <a:pt x="332" y="98"/>
                    <a:pt x="335" y="85"/>
                    <a:pt x="334" y="76"/>
                  </a:cubicBezTo>
                  <a:cubicBezTo>
                    <a:pt x="333" y="67"/>
                    <a:pt x="317" y="66"/>
                    <a:pt x="317" y="66"/>
                  </a:cubicBezTo>
                  <a:cubicBezTo>
                    <a:pt x="315" y="56"/>
                    <a:pt x="315" y="56"/>
                    <a:pt x="315" y="56"/>
                  </a:cubicBezTo>
                  <a:cubicBezTo>
                    <a:pt x="307" y="55"/>
                    <a:pt x="307" y="55"/>
                    <a:pt x="307" y="55"/>
                  </a:cubicBezTo>
                  <a:cubicBezTo>
                    <a:pt x="301" y="41"/>
                    <a:pt x="301" y="41"/>
                    <a:pt x="301" y="41"/>
                  </a:cubicBezTo>
                  <a:cubicBezTo>
                    <a:pt x="286" y="32"/>
                    <a:pt x="286" y="32"/>
                    <a:pt x="286" y="32"/>
                  </a:cubicBezTo>
                  <a:cubicBezTo>
                    <a:pt x="287" y="22"/>
                    <a:pt x="287" y="22"/>
                    <a:pt x="287" y="22"/>
                  </a:cubicBezTo>
                  <a:cubicBezTo>
                    <a:pt x="287" y="22"/>
                    <a:pt x="280" y="6"/>
                    <a:pt x="263" y="3"/>
                  </a:cubicBezTo>
                  <a:cubicBezTo>
                    <a:pt x="246" y="0"/>
                    <a:pt x="248" y="18"/>
                    <a:pt x="238" y="18"/>
                  </a:cubicBezTo>
                  <a:cubicBezTo>
                    <a:pt x="228" y="18"/>
                    <a:pt x="225" y="17"/>
                    <a:pt x="225" y="17"/>
                  </a:cubicBezTo>
                  <a:cubicBezTo>
                    <a:pt x="221" y="24"/>
                    <a:pt x="221" y="24"/>
                    <a:pt x="221" y="24"/>
                  </a:cubicBezTo>
                  <a:cubicBezTo>
                    <a:pt x="204" y="21"/>
                    <a:pt x="204" y="21"/>
                    <a:pt x="204" y="21"/>
                  </a:cubicBezTo>
                  <a:cubicBezTo>
                    <a:pt x="204" y="21"/>
                    <a:pt x="204" y="30"/>
                    <a:pt x="194" y="33"/>
                  </a:cubicBezTo>
                  <a:cubicBezTo>
                    <a:pt x="184" y="36"/>
                    <a:pt x="178" y="17"/>
                    <a:pt x="172" y="16"/>
                  </a:cubicBezTo>
                  <a:cubicBezTo>
                    <a:pt x="166" y="15"/>
                    <a:pt x="151" y="23"/>
                    <a:pt x="151" y="23"/>
                  </a:cubicBezTo>
                  <a:cubicBezTo>
                    <a:pt x="145" y="18"/>
                    <a:pt x="145" y="18"/>
                    <a:pt x="145" y="18"/>
                  </a:cubicBezTo>
                  <a:cubicBezTo>
                    <a:pt x="129" y="21"/>
                    <a:pt x="129" y="21"/>
                    <a:pt x="129" y="21"/>
                  </a:cubicBezTo>
                  <a:cubicBezTo>
                    <a:pt x="129" y="21"/>
                    <a:pt x="127" y="14"/>
                    <a:pt x="123" y="14"/>
                  </a:cubicBezTo>
                  <a:cubicBezTo>
                    <a:pt x="119" y="14"/>
                    <a:pt x="110" y="14"/>
                    <a:pt x="110" y="14"/>
                  </a:cubicBezTo>
                  <a:cubicBezTo>
                    <a:pt x="110" y="14"/>
                    <a:pt x="100" y="27"/>
                    <a:pt x="90" y="28"/>
                  </a:cubicBezTo>
                  <a:cubicBezTo>
                    <a:pt x="80" y="29"/>
                    <a:pt x="71" y="29"/>
                    <a:pt x="70" y="35"/>
                  </a:cubicBezTo>
                  <a:cubicBezTo>
                    <a:pt x="69" y="41"/>
                    <a:pt x="69" y="53"/>
                    <a:pt x="69" y="53"/>
                  </a:cubicBezTo>
                  <a:cubicBezTo>
                    <a:pt x="69" y="53"/>
                    <a:pt x="72" y="65"/>
                    <a:pt x="62" y="70"/>
                  </a:cubicBezTo>
                  <a:cubicBezTo>
                    <a:pt x="52" y="75"/>
                    <a:pt x="46" y="83"/>
                    <a:pt x="46" y="83"/>
                  </a:cubicBezTo>
                  <a:cubicBezTo>
                    <a:pt x="46" y="83"/>
                    <a:pt x="51" y="91"/>
                    <a:pt x="45" y="97"/>
                  </a:cubicBezTo>
                  <a:cubicBezTo>
                    <a:pt x="39" y="103"/>
                    <a:pt x="29" y="107"/>
                    <a:pt x="29" y="107"/>
                  </a:cubicBezTo>
                  <a:cubicBezTo>
                    <a:pt x="18" y="105"/>
                    <a:pt x="18" y="105"/>
                    <a:pt x="18" y="105"/>
                  </a:cubicBezTo>
                  <a:cubicBezTo>
                    <a:pt x="16" y="114"/>
                    <a:pt x="16" y="114"/>
                    <a:pt x="16" y="114"/>
                  </a:cubicBezTo>
                  <a:cubicBezTo>
                    <a:pt x="0" y="118"/>
                    <a:pt x="0" y="118"/>
                    <a:pt x="0" y="118"/>
                  </a:cubicBezTo>
                  <a:cubicBezTo>
                    <a:pt x="1" y="119"/>
                    <a:pt x="1" y="119"/>
                    <a:pt x="1" y="119"/>
                  </a:cubicBezTo>
                  <a:cubicBezTo>
                    <a:pt x="16" y="133"/>
                    <a:pt x="16" y="133"/>
                    <a:pt x="16" y="133"/>
                  </a:cubicBezTo>
                  <a:cubicBezTo>
                    <a:pt x="22" y="131"/>
                    <a:pt x="22" y="131"/>
                    <a:pt x="22" y="131"/>
                  </a:cubicBezTo>
                  <a:cubicBezTo>
                    <a:pt x="30" y="154"/>
                    <a:pt x="30" y="154"/>
                    <a:pt x="30" y="154"/>
                  </a:cubicBezTo>
                  <a:cubicBezTo>
                    <a:pt x="30" y="154"/>
                    <a:pt x="36" y="165"/>
                    <a:pt x="38" y="160"/>
                  </a:cubicBezTo>
                  <a:cubicBezTo>
                    <a:pt x="40" y="155"/>
                    <a:pt x="52" y="156"/>
                    <a:pt x="54" y="162"/>
                  </a:cubicBezTo>
                  <a:cubicBezTo>
                    <a:pt x="56" y="168"/>
                    <a:pt x="51" y="177"/>
                    <a:pt x="51" y="177"/>
                  </a:cubicBezTo>
                  <a:cubicBezTo>
                    <a:pt x="56" y="188"/>
                    <a:pt x="56" y="188"/>
                    <a:pt x="56" y="188"/>
                  </a:cubicBezTo>
                  <a:cubicBezTo>
                    <a:pt x="72" y="190"/>
                    <a:pt x="72" y="190"/>
                    <a:pt x="72" y="190"/>
                  </a:cubicBezTo>
                  <a:cubicBezTo>
                    <a:pt x="78" y="197"/>
                    <a:pt x="78" y="197"/>
                    <a:pt x="78" y="197"/>
                  </a:cubicBezTo>
                  <a:cubicBezTo>
                    <a:pt x="94" y="190"/>
                    <a:pt x="94" y="190"/>
                    <a:pt x="94" y="190"/>
                  </a:cubicBezTo>
                  <a:cubicBezTo>
                    <a:pt x="110" y="194"/>
                    <a:pt x="110" y="194"/>
                    <a:pt x="110" y="194"/>
                  </a:cubicBezTo>
                  <a:cubicBezTo>
                    <a:pt x="107" y="200"/>
                    <a:pt x="107" y="200"/>
                    <a:pt x="107" y="200"/>
                  </a:cubicBezTo>
                  <a:cubicBezTo>
                    <a:pt x="100" y="208"/>
                    <a:pt x="100" y="208"/>
                    <a:pt x="100" y="208"/>
                  </a:cubicBezTo>
                  <a:cubicBezTo>
                    <a:pt x="107" y="212"/>
                    <a:pt x="107" y="212"/>
                    <a:pt x="107" y="212"/>
                  </a:cubicBezTo>
                  <a:cubicBezTo>
                    <a:pt x="106" y="218"/>
                    <a:pt x="106" y="218"/>
                    <a:pt x="106" y="218"/>
                  </a:cubicBezTo>
                  <a:cubicBezTo>
                    <a:pt x="113" y="219"/>
                    <a:pt x="113" y="219"/>
                    <a:pt x="113" y="219"/>
                  </a:cubicBezTo>
                  <a:cubicBezTo>
                    <a:pt x="113" y="219"/>
                    <a:pt x="123" y="219"/>
                    <a:pt x="125" y="223"/>
                  </a:cubicBezTo>
                  <a:cubicBezTo>
                    <a:pt x="127" y="227"/>
                    <a:pt x="118" y="232"/>
                    <a:pt x="118" y="236"/>
                  </a:cubicBezTo>
                  <a:cubicBezTo>
                    <a:pt x="118" y="240"/>
                    <a:pt x="135" y="239"/>
                    <a:pt x="135" y="239"/>
                  </a:cubicBezTo>
                  <a:cubicBezTo>
                    <a:pt x="142" y="232"/>
                    <a:pt x="142" y="232"/>
                    <a:pt x="142" y="232"/>
                  </a:cubicBezTo>
                  <a:cubicBezTo>
                    <a:pt x="158" y="239"/>
                    <a:pt x="158" y="239"/>
                    <a:pt x="158" y="239"/>
                  </a:cubicBezTo>
                  <a:cubicBezTo>
                    <a:pt x="158" y="239"/>
                    <a:pt x="167" y="244"/>
                    <a:pt x="180" y="244"/>
                  </a:cubicBezTo>
                  <a:cubicBezTo>
                    <a:pt x="193" y="244"/>
                    <a:pt x="188" y="235"/>
                    <a:pt x="188" y="235"/>
                  </a:cubicBezTo>
                  <a:cubicBezTo>
                    <a:pt x="201" y="240"/>
                    <a:pt x="201" y="240"/>
                    <a:pt x="201" y="240"/>
                  </a:cubicBezTo>
                  <a:cubicBezTo>
                    <a:pt x="214" y="241"/>
                    <a:pt x="214" y="241"/>
                    <a:pt x="214" y="241"/>
                  </a:cubicBezTo>
                  <a:cubicBezTo>
                    <a:pt x="214" y="241"/>
                    <a:pt x="225" y="246"/>
                    <a:pt x="236" y="247"/>
                  </a:cubicBezTo>
                  <a:cubicBezTo>
                    <a:pt x="247" y="248"/>
                    <a:pt x="246" y="232"/>
                    <a:pt x="253" y="230"/>
                  </a:cubicBezTo>
                  <a:cubicBezTo>
                    <a:pt x="260" y="228"/>
                    <a:pt x="266" y="229"/>
                    <a:pt x="266" y="229"/>
                  </a:cubicBezTo>
                  <a:cubicBezTo>
                    <a:pt x="265" y="224"/>
                    <a:pt x="265" y="224"/>
                    <a:pt x="265" y="224"/>
                  </a:cubicBezTo>
                  <a:cubicBezTo>
                    <a:pt x="284" y="226"/>
                    <a:pt x="284" y="226"/>
                    <a:pt x="284" y="226"/>
                  </a:cubicBezTo>
                  <a:cubicBezTo>
                    <a:pt x="284" y="226"/>
                    <a:pt x="281" y="220"/>
                    <a:pt x="290" y="220"/>
                  </a:cubicBezTo>
                  <a:cubicBezTo>
                    <a:pt x="299" y="220"/>
                    <a:pt x="306" y="228"/>
                    <a:pt x="315" y="228"/>
                  </a:cubicBezTo>
                  <a:cubicBezTo>
                    <a:pt x="324" y="228"/>
                    <a:pt x="333" y="230"/>
                    <a:pt x="333" y="230"/>
                  </a:cubicBezTo>
                  <a:cubicBezTo>
                    <a:pt x="333" y="230"/>
                    <a:pt x="336" y="237"/>
                    <a:pt x="341" y="24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4" name="Freeform 15">
              <a:extLst>
                <a:ext uri="{FF2B5EF4-FFF2-40B4-BE49-F238E27FC236}">
                  <a16:creationId xmlns:a16="http://schemas.microsoft.com/office/drawing/2014/main" id="{3C5E70F0-9E11-4F56-8281-962354C53F60}"/>
                </a:ext>
              </a:extLst>
            </p:cNvPr>
            <p:cNvSpPr>
              <a:spLocks/>
            </p:cNvSpPr>
            <p:nvPr/>
          </p:nvSpPr>
          <p:spPr bwMode="auto">
            <a:xfrm>
              <a:off x="4820142" y="3704042"/>
              <a:ext cx="411181" cy="362925"/>
            </a:xfrm>
            <a:custGeom>
              <a:avLst/>
              <a:gdLst>
                <a:gd name="T0" fmla="*/ 162 w 173"/>
                <a:gd name="T1" fmla="*/ 51 h 153"/>
                <a:gd name="T2" fmla="*/ 151 w 173"/>
                <a:gd name="T3" fmla="*/ 52 h 153"/>
                <a:gd name="T4" fmla="*/ 151 w 173"/>
                <a:gd name="T5" fmla="*/ 41 h 153"/>
                <a:gd name="T6" fmla="*/ 163 w 173"/>
                <a:gd name="T7" fmla="*/ 22 h 153"/>
                <a:gd name="T8" fmla="*/ 144 w 173"/>
                <a:gd name="T9" fmla="*/ 23 h 153"/>
                <a:gd name="T10" fmla="*/ 141 w 173"/>
                <a:gd name="T11" fmla="*/ 18 h 153"/>
                <a:gd name="T12" fmla="*/ 136 w 173"/>
                <a:gd name="T13" fmla="*/ 19 h 153"/>
                <a:gd name="T14" fmla="*/ 126 w 173"/>
                <a:gd name="T15" fmla="*/ 8 h 153"/>
                <a:gd name="T16" fmla="*/ 109 w 173"/>
                <a:gd name="T17" fmla="*/ 7 h 153"/>
                <a:gd name="T18" fmla="*/ 93 w 173"/>
                <a:gd name="T19" fmla="*/ 8 h 153"/>
                <a:gd name="T20" fmla="*/ 80 w 173"/>
                <a:gd name="T21" fmla="*/ 5 h 153"/>
                <a:gd name="T22" fmla="*/ 71 w 173"/>
                <a:gd name="T23" fmla="*/ 9 h 153"/>
                <a:gd name="T24" fmla="*/ 58 w 173"/>
                <a:gd name="T25" fmla="*/ 2 h 153"/>
                <a:gd name="T26" fmla="*/ 43 w 173"/>
                <a:gd name="T27" fmla="*/ 4 h 153"/>
                <a:gd name="T28" fmla="*/ 28 w 173"/>
                <a:gd name="T29" fmla="*/ 8 h 153"/>
                <a:gd name="T30" fmla="*/ 12 w 173"/>
                <a:gd name="T31" fmla="*/ 1 h 153"/>
                <a:gd name="T32" fmla="*/ 9 w 173"/>
                <a:gd name="T33" fmla="*/ 15 h 153"/>
                <a:gd name="T34" fmla="*/ 0 w 173"/>
                <a:gd name="T35" fmla="*/ 20 h 153"/>
                <a:gd name="T36" fmla="*/ 7 w 173"/>
                <a:gd name="T37" fmla="*/ 27 h 153"/>
                <a:gd name="T38" fmla="*/ 19 w 173"/>
                <a:gd name="T39" fmla="*/ 30 h 153"/>
                <a:gd name="T40" fmla="*/ 18 w 173"/>
                <a:gd name="T41" fmla="*/ 39 h 153"/>
                <a:gd name="T42" fmla="*/ 26 w 173"/>
                <a:gd name="T43" fmla="*/ 43 h 153"/>
                <a:gd name="T44" fmla="*/ 26 w 173"/>
                <a:gd name="T45" fmla="*/ 57 h 153"/>
                <a:gd name="T46" fmla="*/ 37 w 173"/>
                <a:gd name="T47" fmla="*/ 60 h 153"/>
                <a:gd name="T48" fmla="*/ 47 w 173"/>
                <a:gd name="T49" fmla="*/ 80 h 153"/>
                <a:gd name="T50" fmla="*/ 75 w 173"/>
                <a:gd name="T51" fmla="*/ 99 h 153"/>
                <a:gd name="T52" fmla="*/ 81 w 173"/>
                <a:gd name="T53" fmla="*/ 120 h 153"/>
                <a:gd name="T54" fmla="*/ 89 w 173"/>
                <a:gd name="T55" fmla="*/ 121 h 153"/>
                <a:gd name="T56" fmla="*/ 125 w 173"/>
                <a:gd name="T57" fmla="*/ 153 h 153"/>
                <a:gd name="T58" fmla="*/ 138 w 173"/>
                <a:gd name="T59" fmla="*/ 137 h 153"/>
                <a:gd name="T60" fmla="*/ 124 w 173"/>
                <a:gd name="T61" fmla="*/ 128 h 153"/>
                <a:gd name="T62" fmla="*/ 125 w 173"/>
                <a:gd name="T63" fmla="*/ 118 h 153"/>
                <a:gd name="T64" fmla="*/ 130 w 173"/>
                <a:gd name="T65" fmla="*/ 118 h 153"/>
                <a:gd name="T66" fmla="*/ 139 w 173"/>
                <a:gd name="T67" fmla="*/ 103 h 153"/>
                <a:gd name="T68" fmla="*/ 150 w 173"/>
                <a:gd name="T69" fmla="*/ 104 h 153"/>
                <a:gd name="T70" fmla="*/ 150 w 173"/>
                <a:gd name="T71" fmla="*/ 89 h 153"/>
                <a:gd name="T72" fmla="*/ 171 w 173"/>
                <a:gd name="T73" fmla="*/ 86 h 153"/>
                <a:gd name="T74" fmla="*/ 159 w 173"/>
                <a:gd name="T75" fmla="*/ 66 h 153"/>
                <a:gd name="T76" fmla="*/ 173 w 173"/>
                <a:gd name="T77" fmla="*/ 64 h 153"/>
                <a:gd name="T78" fmla="*/ 162 w 173"/>
                <a:gd name="T7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53">
                  <a:moveTo>
                    <a:pt x="162" y="51"/>
                  </a:moveTo>
                  <a:cubicBezTo>
                    <a:pt x="155" y="49"/>
                    <a:pt x="151" y="52"/>
                    <a:pt x="151" y="52"/>
                  </a:cubicBezTo>
                  <a:cubicBezTo>
                    <a:pt x="151" y="41"/>
                    <a:pt x="151" y="41"/>
                    <a:pt x="151" y="41"/>
                  </a:cubicBezTo>
                  <a:cubicBezTo>
                    <a:pt x="151" y="41"/>
                    <a:pt x="163" y="27"/>
                    <a:pt x="163" y="22"/>
                  </a:cubicBezTo>
                  <a:cubicBezTo>
                    <a:pt x="163" y="17"/>
                    <a:pt x="144" y="23"/>
                    <a:pt x="144" y="23"/>
                  </a:cubicBezTo>
                  <a:cubicBezTo>
                    <a:pt x="141" y="18"/>
                    <a:pt x="141" y="18"/>
                    <a:pt x="141" y="18"/>
                  </a:cubicBezTo>
                  <a:cubicBezTo>
                    <a:pt x="136" y="19"/>
                    <a:pt x="136" y="19"/>
                    <a:pt x="136" y="19"/>
                  </a:cubicBezTo>
                  <a:cubicBezTo>
                    <a:pt x="126" y="8"/>
                    <a:pt x="126" y="8"/>
                    <a:pt x="126" y="8"/>
                  </a:cubicBezTo>
                  <a:cubicBezTo>
                    <a:pt x="126" y="8"/>
                    <a:pt x="115" y="8"/>
                    <a:pt x="109" y="7"/>
                  </a:cubicBezTo>
                  <a:cubicBezTo>
                    <a:pt x="103" y="6"/>
                    <a:pt x="96" y="8"/>
                    <a:pt x="93" y="8"/>
                  </a:cubicBezTo>
                  <a:cubicBezTo>
                    <a:pt x="90" y="8"/>
                    <a:pt x="80" y="5"/>
                    <a:pt x="80" y="5"/>
                  </a:cubicBezTo>
                  <a:cubicBezTo>
                    <a:pt x="71" y="9"/>
                    <a:pt x="71" y="9"/>
                    <a:pt x="71" y="9"/>
                  </a:cubicBezTo>
                  <a:cubicBezTo>
                    <a:pt x="58" y="2"/>
                    <a:pt x="58" y="2"/>
                    <a:pt x="58" y="2"/>
                  </a:cubicBezTo>
                  <a:cubicBezTo>
                    <a:pt x="43" y="4"/>
                    <a:pt x="43" y="4"/>
                    <a:pt x="43" y="4"/>
                  </a:cubicBezTo>
                  <a:cubicBezTo>
                    <a:pt x="28" y="8"/>
                    <a:pt x="28" y="8"/>
                    <a:pt x="28" y="8"/>
                  </a:cubicBezTo>
                  <a:cubicBezTo>
                    <a:pt x="28" y="8"/>
                    <a:pt x="16" y="0"/>
                    <a:pt x="12" y="1"/>
                  </a:cubicBezTo>
                  <a:cubicBezTo>
                    <a:pt x="8" y="2"/>
                    <a:pt x="9" y="15"/>
                    <a:pt x="9" y="15"/>
                  </a:cubicBezTo>
                  <a:cubicBezTo>
                    <a:pt x="0" y="20"/>
                    <a:pt x="0" y="20"/>
                    <a:pt x="0" y="20"/>
                  </a:cubicBezTo>
                  <a:cubicBezTo>
                    <a:pt x="7" y="27"/>
                    <a:pt x="7" y="27"/>
                    <a:pt x="7" y="27"/>
                  </a:cubicBezTo>
                  <a:cubicBezTo>
                    <a:pt x="19" y="30"/>
                    <a:pt x="19" y="30"/>
                    <a:pt x="19" y="30"/>
                  </a:cubicBezTo>
                  <a:cubicBezTo>
                    <a:pt x="18" y="39"/>
                    <a:pt x="18" y="39"/>
                    <a:pt x="18" y="39"/>
                  </a:cubicBezTo>
                  <a:cubicBezTo>
                    <a:pt x="18" y="39"/>
                    <a:pt x="23" y="39"/>
                    <a:pt x="26" y="43"/>
                  </a:cubicBezTo>
                  <a:cubicBezTo>
                    <a:pt x="29" y="47"/>
                    <a:pt x="26" y="57"/>
                    <a:pt x="26" y="57"/>
                  </a:cubicBezTo>
                  <a:cubicBezTo>
                    <a:pt x="37" y="60"/>
                    <a:pt x="37" y="60"/>
                    <a:pt x="37" y="60"/>
                  </a:cubicBezTo>
                  <a:cubicBezTo>
                    <a:pt x="47" y="80"/>
                    <a:pt x="47" y="80"/>
                    <a:pt x="47" y="80"/>
                  </a:cubicBezTo>
                  <a:cubicBezTo>
                    <a:pt x="47" y="80"/>
                    <a:pt x="51" y="84"/>
                    <a:pt x="75" y="99"/>
                  </a:cubicBezTo>
                  <a:cubicBezTo>
                    <a:pt x="90" y="108"/>
                    <a:pt x="86" y="116"/>
                    <a:pt x="81" y="120"/>
                  </a:cubicBezTo>
                  <a:cubicBezTo>
                    <a:pt x="89" y="121"/>
                    <a:pt x="89" y="121"/>
                    <a:pt x="89" y="121"/>
                  </a:cubicBezTo>
                  <a:cubicBezTo>
                    <a:pt x="89" y="121"/>
                    <a:pt x="116" y="148"/>
                    <a:pt x="125" y="153"/>
                  </a:cubicBezTo>
                  <a:cubicBezTo>
                    <a:pt x="138" y="137"/>
                    <a:pt x="138" y="137"/>
                    <a:pt x="138" y="137"/>
                  </a:cubicBezTo>
                  <a:cubicBezTo>
                    <a:pt x="138" y="137"/>
                    <a:pt x="127" y="131"/>
                    <a:pt x="124" y="128"/>
                  </a:cubicBezTo>
                  <a:cubicBezTo>
                    <a:pt x="121" y="125"/>
                    <a:pt x="125" y="118"/>
                    <a:pt x="125" y="118"/>
                  </a:cubicBezTo>
                  <a:cubicBezTo>
                    <a:pt x="130" y="118"/>
                    <a:pt x="130" y="118"/>
                    <a:pt x="130" y="118"/>
                  </a:cubicBezTo>
                  <a:cubicBezTo>
                    <a:pt x="130" y="118"/>
                    <a:pt x="136" y="107"/>
                    <a:pt x="139" y="103"/>
                  </a:cubicBezTo>
                  <a:cubicBezTo>
                    <a:pt x="142" y="99"/>
                    <a:pt x="150" y="104"/>
                    <a:pt x="150" y="104"/>
                  </a:cubicBezTo>
                  <a:cubicBezTo>
                    <a:pt x="150" y="89"/>
                    <a:pt x="150" y="89"/>
                    <a:pt x="150" y="89"/>
                  </a:cubicBezTo>
                  <a:cubicBezTo>
                    <a:pt x="150" y="89"/>
                    <a:pt x="169" y="93"/>
                    <a:pt x="171" y="86"/>
                  </a:cubicBezTo>
                  <a:cubicBezTo>
                    <a:pt x="173" y="79"/>
                    <a:pt x="159" y="66"/>
                    <a:pt x="159" y="66"/>
                  </a:cubicBezTo>
                  <a:cubicBezTo>
                    <a:pt x="173" y="64"/>
                    <a:pt x="173" y="64"/>
                    <a:pt x="173" y="64"/>
                  </a:cubicBezTo>
                  <a:cubicBezTo>
                    <a:pt x="173" y="64"/>
                    <a:pt x="169" y="53"/>
                    <a:pt x="162" y="5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5" name="Freeform 16">
              <a:extLst>
                <a:ext uri="{FF2B5EF4-FFF2-40B4-BE49-F238E27FC236}">
                  <a16:creationId xmlns:a16="http://schemas.microsoft.com/office/drawing/2014/main" id="{0018F177-83A1-4932-A920-FF0886D1D0A5}"/>
                </a:ext>
              </a:extLst>
            </p:cNvPr>
            <p:cNvSpPr>
              <a:spLocks/>
            </p:cNvSpPr>
            <p:nvPr/>
          </p:nvSpPr>
          <p:spPr bwMode="auto">
            <a:xfrm>
              <a:off x="4620082" y="3547210"/>
              <a:ext cx="585103" cy="441341"/>
            </a:xfrm>
            <a:custGeom>
              <a:avLst/>
              <a:gdLst>
                <a:gd name="T0" fmla="*/ 232 w 246"/>
                <a:gd name="T1" fmla="*/ 77 h 186"/>
                <a:gd name="T2" fmla="*/ 228 w 246"/>
                <a:gd name="T3" fmla="*/ 65 h 186"/>
                <a:gd name="T4" fmla="*/ 226 w 246"/>
                <a:gd name="T5" fmla="*/ 52 h 186"/>
                <a:gd name="T6" fmla="*/ 217 w 246"/>
                <a:gd name="T7" fmla="*/ 32 h 186"/>
                <a:gd name="T8" fmla="*/ 183 w 246"/>
                <a:gd name="T9" fmla="*/ 41 h 186"/>
                <a:gd name="T10" fmla="*/ 168 w 246"/>
                <a:gd name="T11" fmla="*/ 34 h 186"/>
                <a:gd name="T12" fmla="*/ 139 w 246"/>
                <a:gd name="T13" fmla="*/ 13 h 186"/>
                <a:gd name="T14" fmla="*/ 112 w 246"/>
                <a:gd name="T15" fmla="*/ 2 h 186"/>
                <a:gd name="T16" fmla="*/ 93 w 246"/>
                <a:gd name="T17" fmla="*/ 14 h 186"/>
                <a:gd name="T18" fmla="*/ 87 w 246"/>
                <a:gd name="T19" fmla="*/ 31 h 186"/>
                <a:gd name="T20" fmla="*/ 70 w 246"/>
                <a:gd name="T21" fmla="*/ 40 h 186"/>
                <a:gd name="T22" fmla="*/ 59 w 246"/>
                <a:gd name="T23" fmla="*/ 53 h 186"/>
                <a:gd name="T24" fmla="*/ 40 w 246"/>
                <a:gd name="T25" fmla="*/ 45 h 186"/>
                <a:gd name="T26" fmla="*/ 22 w 246"/>
                <a:gd name="T27" fmla="*/ 54 h 186"/>
                <a:gd name="T28" fmla="*/ 14 w 246"/>
                <a:gd name="T29" fmla="*/ 57 h 186"/>
                <a:gd name="T30" fmla="*/ 1 w 246"/>
                <a:gd name="T31" fmla="*/ 67 h 186"/>
                <a:gd name="T32" fmla="*/ 31 w 246"/>
                <a:gd name="T33" fmla="*/ 70 h 186"/>
                <a:gd name="T34" fmla="*/ 54 w 246"/>
                <a:gd name="T35" fmla="*/ 87 h 186"/>
                <a:gd name="T36" fmla="*/ 68 w 246"/>
                <a:gd name="T37" fmla="*/ 123 h 186"/>
                <a:gd name="T38" fmla="*/ 98 w 246"/>
                <a:gd name="T39" fmla="*/ 161 h 186"/>
                <a:gd name="T40" fmla="*/ 146 w 246"/>
                <a:gd name="T41" fmla="*/ 171 h 186"/>
                <a:gd name="T42" fmla="*/ 165 w 246"/>
                <a:gd name="T43" fmla="*/ 186 h 186"/>
                <a:gd name="T44" fmla="*/ 131 w 246"/>
                <a:gd name="T45" fmla="*/ 146 h 186"/>
                <a:gd name="T46" fmla="*/ 110 w 246"/>
                <a:gd name="T47" fmla="*/ 123 h 186"/>
                <a:gd name="T48" fmla="*/ 102 w 246"/>
                <a:gd name="T49" fmla="*/ 105 h 186"/>
                <a:gd name="T50" fmla="*/ 91 w 246"/>
                <a:gd name="T51" fmla="*/ 93 h 186"/>
                <a:gd name="T52" fmla="*/ 93 w 246"/>
                <a:gd name="T53" fmla="*/ 81 h 186"/>
                <a:gd name="T54" fmla="*/ 112 w 246"/>
                <a:gd name="T55" fmla="*/ 74 h 186"/>
                <a:gd name="T56" fmla="*/ 142 w 246"/>
                <a:gd name="T57" fmla="*/ 68 h 186"/>
                <a:gd name="T58" fmla="*/ 164 w 246"/>
                <a:gd name="T59" fmla="*/ 71 h 186"/>
                <a:gd name="T60" fmla="*/ 193 w 246"/>
                <a:gd name="T61" fmla="*/ 73 h 186"/>
                <a:gd name="T62" fmla="*/ 220 w 246"/>
                <a:gd name="T63" fmla="*/ 8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186">
                  <a:moveTo>
                    <a:pt x="230" y="84"/>
                  </a:moveTo>
                  <a:cubicBezTo>
                    <a:pt x="232" y="77"/>
                    <a:pt x="232" y="77"/>
                    <a:pt x="232" y="77"/>
                  </a:cubicBezTo>
                  <a:cubicBezTo>
                    <a:pt x="232" y="77"/>
                    <a:pt x="246" y="74"/>
                    <a:pt x="245" y="71"/>
                  </a:cubicBezTo>
                  <a:cubicBezTo>
                    <a:pt x="244" y="68"/>
                    <a:pt x="228" y="65"/>
                    <a:pt x="228" y="65"/>
                  </a:cubicBezTo>
                  <a:cubicBezTo>
                    <a:pt x="231" y="53"/>
                    <a:pt x="231" y="53"/>
                    <a:pt x="231" y="53"/>
                  </a:cubicBezTo>
                  <a:cubicBezTo>
                    <a:pt x="226" y="52"/>
                    <a:pt x="226" y="52"/>
                    <a:pt x="226" y="52"/>
                  </a:cubicBezTo>
                  <a:cubicBezTo>
                    <a:pt x="222" y="34"/>
                    <a:pt x="222" y="34"/>
                    <a:pt x="222" y="34"/>
                  </a:cubicBezTo>
                  <a:cubicBezTo>
                    <a:pt x="217" y="32"/>
                    <a:pt x="217" y="32"/>
                    <a:pt x="217" y="32"/>
                  </a:cubicBezTo>
                  <a:cubicBezTo>
                    <a:pt x="211" y="38"/>
                    <a:pt x="211" y="38"/>
                    <a:pt x="211" y="38"/>
                  </a:cubicBezTo>
                  <a:cubicBezTo>
                    <a:pt x="183" y="41"/>
                    <a:pt x="183" y="41"/>
                    <a:pt x="183" y="41"/>
                  </a:cubicBezTo>
                  <a:cubicBezTo>
                    <a:pt x="180" y="34"/>
                    <a:pt x="180" y="34"/>
                    <a:pt x="180" y="34"/>
                  </a:cubicBezTo>
                  <a:cubicBezTo>
                    <a:pt x="168" y="34"/>
                    <a:pt x="168" y="34"/>
                    <a:pt x="168" y="34"/>
                  </a:cubicBezTo>
                  <a:cubicBezTo>
                    <a:pt x="159" y="30"/>
                    <a:pt x="159" y="30"/>
                    <a:pt x="159" y="30"/>
                  </a:cubicBezTo>
                  <a:cubicBezTo>
                    <a:pt x="159" y="30"/>
                    <a:pt x="141" y="16"/>
                    <a:pt x="139" y="13"/>
                  </a:cubicBezTo>
                  <a:cubicBezTo>
                    <a:pt x="137" y="10"/>
                    <a:pt x="125" y="0"/>
                    <a:pt x="125" y="0"/>
                  </a:cubicBezTo>
                  <a:cubicBezTo>
                    <a:pt x="112" y="2"/>
                    <a:pt x="112" y="2"/>
                    <a:pt x="112" y="2"/>
                  </a:cubicBezTo>
                  <a:cubicBezTo>
                    <a:pt x="112" y="2"/>
                    <a:pt x="115" y="6"/>
                    <a:pt x="109" y="10"/>
                  </a:cubicBezTo>
                  <a:cubicBezTo>
                    <a:pt x="103" y="14"/>
                    <a:pt x="93" y="14"/>
                    <a:pt x="93" y="14"/>
                  </a:cubicBezTo>
                  <a:cubicBezTo>
                    <a:pt x="93" y="14"/>
                    <a:pt x="84" y="14"/>
                    <a:pt x="84" y="18"/>
                  </a:cubicBezTo>
                  <a:cubicBezTo>
                    <a:pt x="84" y="22"/>
                    <a:pt x="87" y="31"/>
                    <a:pt x="87" y="31"/>
                  </a:cubicBezTo>
                  <a:cubicBezTo>
                    <a:pt x="80" y="39"/>
                    <a:pt x="80" y="39"/>
                    <a:pt x="80" y="39"/>
                  </a:cubicBezTo>
                  <a:cubicBezTo>
                    <a:pt x="70" y="40"/>
                    <a:pt x="70" y="40"/>
                    <a:pt x="70" y="40"/>
                  </a:cubicBezTo>
                  <a:cubicBezTo>
                    <a:pt x="70" y="40"/>
                    <a:pt x="74" y="51"/>
                    <a:pt x="69" y="53"/>
                  </a:cubicBezTo>
                  <a:cubicBezTo>
                    <a:pt x="64" y="55"/>
                    <a:pt x="59" y="53"/>
                    <a:pt x="59" y="53"/>
                  </a:cubicBezTo>
                  <a:cubicBezTo>
                    <a:pt x="59" y="53"/>
                    <a:pt x="52" y="54"/>
                    <a:pt x="46" y="53"/>
                  </a:cubicBezTo>
                  <a:cubicBezTo>
                    <a:pt x="40" y="52"/>
                    <a:pt x="40" y="45"/>
                    <a:pt x="40" y="45"/>
                  </a:cubicBezTo>
                  <a:cubicBezTo>
                    <a:pt x="34" y="53"/>
                    <a:pt x="34" y="53"/>
                    <a:pt x="34" y="53"/>
                  </a:cubicBezTo>
                  <a:cubicBezTo>
                    <a:pt x="22" y="54"/>
                    <a:pt x="22" y="54"/>
                    <a:pt x="22" y="54"/>
                  </a:cubicBezTo>
                  <a:cubicBezTo>
                    <a:pt x="16" y="48"/>
                    <a:pt x="16" y="48"/>
                    <a:pt x="16" y="48"/>
                  </a:cubicBezTo>
                  <a:cubicBezTo>
                    <a:pt x="14" y="57"/>
                    <a:pt x="14" y="57"/>
                    <a:pt x="14" y="57"/>
                  </a:cubicBezTo>
                  <a:cubicBezTo>
                    <a:pt x="5" y="58"/>
                    <a:pt x="5" y="58"/>
                    <a:pt x="5" y="58"/>
                  </a:cubicBezTo>
                  <a:cubicBezTo>
                    <a:pt x="3" y="62"/>
                    <a:pt x="1" y="67"/>
                    <a:pt x="1" y="67"/>
                  </a:cubicBezTo>
                  <a:cubicBezTo>
                    <a:pt x="1" y="67"/>
                    <a:pt x="0" y="97"/>
                    <a:pt x="8" y="88"/>
                  </a:cubicBezTo>
                  <a:cubicBezTo>
                    <a:pt x="16" y="79"/>
                    <a:pt x="27" y="64"/>
                    <a:pt x="31" y="70"/>
                  </a:cubicBezTo>
                  <a:cubicBezTo>
                    <a:pt x="35" y="76"/>
                    <a:pt x="35" y="91"/>
                    <a:pt x="35" y="91"/>
                  </a:cubicBezTo>
                  <a:cubicBezTo>
                    <a:pt x="54" y="87"/>
                    <a:pt x="54" y="87"/>
                    <a:pt x="54" y="87"/>
                  </a:cubicBezTo>
                  <a:cubicBezTo>
                    <a:pt x="54" y="87"/>
                    <a:pt x="48" y="107"/>
                    <a:pt x="60" y="111"/>
                  </a:cubicBezTo>
                  <a:cubicBezTo>
                    <a:pt x="72" y="115"/>
                    <a:pt x="68" y="123"/>
                    <a:pt x="68" y="123"/>
                  </a:cubicBezTo>
                  <a:cubicBezTo>
                    <a:pt x="97" y="144"/>
                    <a:pt x="97" y="144"/>
                    <a:pt x="97" y="144"/>
                  </a:cubicBezTo>
                  <a:cubicBezTo>
                    <a:pt x="98" y="161"/>
                    <a:pt x="98" y="161"/>
                    <a:pt x="98" y="161"/>
                  </a:cubicBezTo>
                  <a:cubicBezTo>
                    <a:pt x="125" y="162"/>
                    <a:pt x="125" y="162"/>
                    <a:pt x="125" y="162"/>
                  </a:cubicBezTo>
                  <a:cubicBezTo>
                    <a:pt x="125" y="162"/>
                    <a:pt x="142" y="163"/>
                    <a:pt x="146" y="171"/>
                  </a:cubicBezTo>
                  <a:cubicBezTo>
                    <a:pt x="146" y="171"/>
                    <a:pt x="142" y="180"/>
                    <a:pt x="148" y="184"/>
                  </a:cubicBezTo>
                  <a:cubicBezTo>
                    <a:pt x="165" y="186"/>
                    <a:pt x="165" y="186"/>
                    <a:pt x="165" y="186"/>
                  </a:cubicBezTo>
                  <a:cubicBezTo>
                    <a:pt x="170" y="182"/>
                    <a:pt x="174" y="174"/>
                    <a:pt x="159" y="165"/>
                  </a:cubicBezTo>
                  <a:cubicBezTo>
                    <a:pt x="135" y="150"/>
                    <a:pt x="131" y="146"/>
                    <a:pt x="131" y="146"/>
                  </a:cubicBezTo>
                  <a:cubicBezTo>
                    <a:pt x="121" y="126"/>
                    <a:pt x="121" y="126"/>
                    <a:pt x="121" y="126"/>
                  </a:cubicBezTo>
                  <a:cubicBezTo>
                    <a:pt x="110" y="123"/>
                    <a:pt x="110" y="123"/>
                    <a:pt x="110" y="123"/>
                  </a:cubicBezTo>
                  <a:cubicBezTo>
                    <a:pt x="110" y="123"/>
                    <a:pt x="113" y="113"/>
                    <a:pt x="110" y="109"/>
                  </a:cubicBezTo>
                  <a:cubicBezTo>
                    <a:pt x="107" y="105"/>
                    <a:pt x="102" y="105"/>
                    <a:pt x="102" y="105"/>
                  </a:cubicBezTo>
                  <a:cubicBezTo>
                    <a:pt x="103" y="96"/>
                    <a:pt x="103" y="96"/>
                    <a:pt x="103" y="96"/>
                  </a:cubicBezTo>
                  <a:cubicBezTo>
                    <a:pt x="91" y="93"/>
                    <a:pt x="91" y="93"/>
                    <a:pt x="91" y="93"/>
                  </a:cubicBezTo>
                  <a:cubicBezTo>
                    <a:pt x="84" y="86"/>
                    <a:pt x="84" y="86"/>
                    <a:pt x="84" y="86"/>
                  </a:cubicBezTo>
                  <a:cubicBezTo>
                    <a:pt x="93" y="81"/>
                    <a:pt x="93" y="81"/>
                    <a:pt x="93" y="81"/>
                  </a:cubicBezTo>
                  <a:cubicBezTo>
                    <a:pt x="93" y="81"/>
                    <a:pt x="92" y="68"/>
                    <a:pt x="96" y="67"/>
                  </a:cubicBezTo>
                  <a:cubicBezTo>
                    <a:pt x="100" y="66"/>
                    <a:pt x="112" y="74"/>
                    <a:pt x="112" y="74"/>
                  </a:cubicBezTo>
                  <a:cubicBezTo>
                    <a:pt x="127" y="70"/>
                    <a:pt x="127" y="70"/>
                    <a:pt x="127" y="70"/>
                  </a:cubicBezTo>
                  <a:cubicBezTo>
                    <a:pt x="142" y="68"/>
                    <a:pt x="142" y="68"/>
                    <a:pt x="142" y="68"/>
                  </a:cubicBezTo>
                  <a:cubicBezTo>
                    <a:pt x="155" y="75"/>
                    <a:pt x="155" y="75"/>
                    <a:pt x="155" y="75"/>
                  </a:cubicBezTo>
                  <a:cubicBezTo>
                    <a:pt x="164" y="71"/>
                    <a:pt x="164" y="71"/>
                    <a:pt x="164" y="71"/>
                  </a:cubicBezTo>
                  <a:cubicBezTo>
                    <a:pt x="164" y="71"/>
                    <a:pt x="174" y="74"/>
                    <a:pt x="177" y="74"/>
                  </a:cubicBezTo>
                  <a:cubicBezTo>
                    <a:pt x="180" y="74"/>
                    <a:pt x="187" y="72"/>
                    <a:pt x="193" y="73"/>
                  </a:cubicBezTo>
                  <a:cubicBezTo>
                    <a:pt x="199" y="74"/>
                    <a:pt x="210" y="74"/>
                    <a:pt x="210" y="74"/>
                  </a:cubicBezTo>
                  <a:cubicBezTo>
                    <a:pt x="220" y="85"/>
                    <a:pt x="220" y="85"/>
                    <a:pt x="220" y="85"/>
                  </a:cubicBezTo>
                  <a:lnTo>
                    <a:pt x="230" y="84"/>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6" name="Freeform 17">
              <a:extLst>
                <a:ext uri="{FF2B5EF4-FFF2-40B4-BE49-F238E27FC236}">
                  <a16:creationId xmlns:a16="http://schemas.microsoft.com/office/drawing/2014/main" id="{DC10C0E1-E541-49CB-93B3-FC2B5E1C4B39}"/>
                </a:ext>
              </a:extLst>
            </p:cNvPr>
            <p:cNvSpPr>
              <a:spLocks/>
            </p:cNvSpPr>
            <p:nvPr/>
          </p:nvSpPr>
          <p:spPr bwMode="auto">
            <a:xfrm>
              <a:off x="4589921" y="3494933"/>
              <a:ext cx="327739" cy="190008"/>
            </a:xfrm>
            <a:custGeom>
              <a:avLst/>
              <a:gdLst>
                <a:gd name="T0" fmla="*/ 18 w 138"/>
                <a:gd name="T1" fmla="*/ 80 h 80"/>
                <a:gd name="T2" fmla="*/ 27 w 138"/>
                <a:gd name="T3" fmla="*/ 79 h 80"/>
                <a:gd name="T4" fmla="*/ 29 w 138"/>
                <a:gd name="T5" fmla="*/ 70 h 80"/>
                <a:gd name="T6" fmla="*/ 35 w 138"/>
                <a:gd name="T7" fmla="*/ 76 h 80"/>
                <a:gd name="T8" fmla="*/ 47 w 138"/>
                <a:gd name="T9" fmla="*/ 75 h 80"/>
                <a:gd name="T10" fmla="*/ 53 w 138"/>
                <a:gd name="T11" fmla="*/ 67 h 80"/>
                <a:gd name="T12" fmla="*/ 59 w 138"/>
                <a:gd name="T13" fmla="*/ 75 h 80"/>
                <a:gd name="T14" fmla="*/ 72 w 138"/>
                <a:gd name="T15" fmla="*/ 75 h 80"/>
                <a:gd name="T16" fmla="*/ 82 w 138"/>
                <a:gd name="T17" fmla="*/ 75 h 80"/>
                <a:gd name="T18" fmla="*/ 83 w 138"/>
                <a:gd name="T19" fmla="*/ 62 h 80"/>
                <a:gd name="T20" fmla="*/ 93 w 138"/>
                <a:gd name="T21" fmla="*/ 61 h 80"/>
                <a:gd name="T22" fmla="*/ 100 w 138"/>
                <a:gd name="T23" fmla="*/ 53 h 80"/>
                <a:gd name="T24" fmla="*/ 97 w 138"/>
                <a:gd name="T25" fmla="*/ 40 h 80"/>
                <a:gd name="T26" fmla="*/ 106 w 138"/>
                <a:gd name="T27" fmla="*/ 36 h 80"/>
                <a:gd name="T28" fmla="*/ 122 w 138"/>
                <a:gd name="T29" fmla="*/ 32 h 80"/>
                <a:gd name="T30" fmla="*/ 125 w 138"/>
                <a:gd name="T31" fmla="*/ 24 h 80"/>
                <a:gd name="T32" fmla="*/ 138 w 138"/>
                <a:gd name="T33" fmla="*/ 22 h 80"/>
                <a:gd name="T34" fmla="*/ 128 w 138"/>
                <a:gd name="T35" fmla="*/ 15 h 80"/>
                <a:gd name="T36" fmla="*/ 125 w 138"/>
                <a:gd name="T37" fmla="*/ 5 h 80"/>
                <a:gd name="T38" fmla="*/ 118 w 138"/>
                <a:gd name="T39" fmla="*/ 0 h 80"/>
                <a:gd name="T40" fmla="*/ 115 w 138"/>
                <a:gd name="T41" fmla="*/ 8 h 80"/>
                <a:gd name="T42" fmla="*/ 113 w 138"/>
                <a:gd name="T43" fmla="*/ 20 h 80"/>
                <a:gd name="T44" fmla="*/ 97 w 138"/>
                <a:gd name="T45" fmla="*/ 15 h 80"/>
                <a:gd name="T46" fmla="*/ 90 w 138"/>
                <a:gd name="T47" fmla="*/ 19 h 80"/>
                <a:gd name="T48" fmla="*/ 57 w 138"/>
                <a:gd name="T49" fmla="*/ 18 h 80"/>
                <a:gd name="T50" fmla="*/ 50 w 138"/>
                <a:gd name="T51" fmla="*/ 27 h 80"/>
                <a:gd name="T52" fmla="*/ 35 w 138"/>
                <a:gd name="T53" fmla="*/ 25 h 80"/>
                <a:gd name="T54" fmla="*/ 26 w 138"/>
                <a:gd name="T55" fmla="*/ 21 h 80"/>
                <a:gd name="T56" fmla="*/ 14 w 138"/>
                <a:gd name="T57" fmla="*/ 25 h 80"/>
                <a:gd name="T58" fmla="*/ 5 w 138"/>
                <a:gd name="T59" fmla="*/ 25 h 80"/>
                <a:gd name="T60" fmla="*/ 0 w 138"/>
                <a:gd name="T61" fmla="*/ 34 h 80"/>
                <a:gd name="T62" fmla="*/ 8 w 138"/>
                <a:gd name="T63" fmla="*/ 37 h 80"/>
                <a:gd name="T64" fmla="*/ 3 w 138"/>
                <a:gd name="T65" fmla="*/ 62 h 80"/>
                <a:gd name="T66" fmla="*/ 23 w 138"/>
                <a:gd name="T67" fmla="*/ 70 h 80"/>
                <a:gd name="T68" fmla="*/ 18 w 138"/>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8" h="80">
                  <a:moveTo>
                    <a:pt x="18" y="80"/>
                  </a:moveTo>
                  <a:cubicBezTo>
                    <a:pt x="27" y="79"/>
                    <a:pt x="27" y="79"/>
                    <a:pt x="27" y="79"/>
                  </a:cubicBezTo>
                  <a:cubicBezTo>
                    <a:pt x="29" y="70"/>
                    <a:pt x="29" y="70"/>
                    <a:pt x="29" y="70"/>
                  </a:cubicBezTo>
                  <a:cubicBezTo>
                    <a:pt x="35" y="76"/>
                    <a:pt x="35" y="76"/>
                    <a:pt x="35" y="76"/>
                  </a:cubicBezTo>
                  <a:cubicBezTo>
                    <a:pt x="47" y="75"/>
                    <a:pt x="47" y="75"/>
                    <a:pt x="47" y="75"/>
                  </a:cubicBezTo>
                  <a:cubicBezTo>
                    <a:pt x="53" y="67"/>
                    <a:pt x="53" y="67"/>
                    <a:pt x="53" y="67"/>
                  </a:cubicBezTo>
                  <a:cubicBezTo>
                    <a:pt x="53" y="67"/>
                    <a:pt x="53" y="74"/>
                    <a:pt x="59" y="75"/>
                  </a:cubicBezTo>
                  <a:cubicBezTo>
                    <a:pt x="65" y="76"/>
                    <a:pt x="72" y="75"/>
                    <a:pt x="72" y="75"/>
                  </a:cubicBezTo>
                  <a:cubicBezTo>
                    <a:pt x="72" y="75"/>
                    <a:pt x="77" y="77"/>
                    <a:pt x="82" y="75"/>
                  </a:cubicBezTo>
                  <a:cubicBezTo>
                    <a:pt x="87" y="73"/>
                    <a:pt x="83" y="62"/>
                    <a:pt x="83" y="62"/>
                  </a:cubicBezTo>
                  <a:cubicBezTo>
                    <a:pt x="93" y="61"/>
                    <a:pt x="93" y="61"/>
                    <a:pt x="93" y="61"/>
                  </a:cubicBezTo>
                  <a:cubicBezTo>
                    <a:pt x="100" y="53"/>
                    <a:pt x="100" y="53"/>
                    <a:pt x="100" y="53"/>
                  </a:cubicBezTo>
                  <a:cubicBezTo>
                    <a:pt x="100" y="53"/>
                    <a:pt x="97" y="44"/>
                    <a:pt x="97" y="40"/>
                  </a:cubicBezTo>
                  <a:cubicBezTo>
                    <a:pt x="97" y="36"/>
                    <a:pt x="106" y="36"/>
                    <a:pt x="106" y="36"/>
                  </a:cubicBezTo>
                  <a:cubicBezTo>
                    <a:pt x="106" y="36"/>
                    <a:pt x="116" y="36"/>
                    <a:pt x="122" y="32"/>
                  </a:cubicBezTo>
                  <a:cubicBezTo>
                    <a:pt x="128" y="28"/>
                    <a:pt x="125" y="24"/>
                    <a:pt x="125" y="24"/>
                  </a:cubicBezTo>
                  <a:cubicBezTo>
                    <a:pt x="138" y="22"/>
                    <a:pt x="138" y="22"/>
                    <a:pt x="138" y="22"/>
                  </a:cubicBezTo>
                  <a:cubicBezTo>
                    <a:pt x="128" y="15"/>
                    <a:pt x="128" y="15"/>
                    <a:pt x="128" y="15"/>
                  </a:cubicBezTo>
                  <a:cubicBezTo>
                    <a:pt x="125" y="5"/>
                    <a:pt x="125" y="5"/>
                    <a:pt x="125" y="5"/>
                  </a:cubicBezTo>
                  <a:cubicBezTo>
                    <a:pt x="118" y="0"/>
                    <a:pt x="118" y="0"/>
                    <a:pt x="118" y="0"/>
                  </a:cubicBezTo>
                  <a:cubicBezTo>
                    <a:pt x="115" y="8"/>
                    <a:pt x="115" y="8"/>
                    <a:pt x="115" y="8"/>
                  </a:cubicBezTo>
                  <a:cubicBezTo>
                    <a:pt x="113" y="20"/>
                    <a:pt x="113" y="20"/>
                    <a:pt x="113" y="20"/>
                  </a:cubicBezTo>
                  <a:cubicBezTo>
                    <a:pt x="97" y="15"/>
                    <a:pt x="97" y="15"/>
                    <a:pt x="97" y="15"/>
                  </a:cubicBezTo>
                  <a:cubicBezTo>
                    <a:pt x="90" y="19"/>
                    <a:pt x="90" y="19"/>
                    <a:pt x="90" y="19"/>
                  </a:cubicBezTo>
                  <a:cubicBezTo>
                    <a:pt x="57" y="18"/>
                    <a:pt x="57" y="18"/>
                    <a:pt x="57" y="18"/>
                  </a:cubicBezTo>
                  <a:cubicBezTo>
                    <a:pt x="57" y="18"/>
                    <a:pt x="57" y="27"/>
                    <a:pt x="50" y="27"/>
                  </a:cubicBezTo>
                  <a:cubicBezTo>
                    <a:pt x="43" y="27"/>
                    <a:pt x="35" y="25"/>
                    <a:pt x="35" y="25"/>
                  </a:cubicBezTo>
                  <a:cubicBezTo>
                    <a:pt x="35" y="25"/>
                    <a:pt x="29" y="21"/>
                    <a:pt x="26" y="21"/>
                  </a:cubicBezTo>
                  <a:cubicBezTo>
                    <a:pt x="23" y="21"/>
                    <a:pt x="14" y="25"/>
                    <a:pt x="14" y="25"/>
                  </a:cubicBezTo>
                  <a:cubicBezTo>
                    <a:pt x="5" y="25"/>
                    <a:pt x="5" y="25"/>
                    <a:pt x="5" y="25"/>
                  </a:cubicBezTo>
                  <a:cubicBezTo>
                    <a:pt x="5" y="30"/>
                    <a:pt x="0" y="34"/>
                    <a:pt x="0" y="34"/>
                  </a:cubicBezTo>
                  <a:cubicBezTo>
                    <a:pt x="8" y="37"/>
                    <a:pt x="8" y="37"/>
                    <a:pt x="8" y="37"/>
                  </a:cubicBezTo>
                  <a:cubicBezTo>
                    <a:pt x="3" y="62"/>
                    <a:pt x="3" y="62"/>
                    <a:pt x="3" y="62"/>
                  </a:cubicBezTo>
                  <a:cubicBezTo>
                    <a:pt x="3" y="62"/>
                    <a:pt x="26" y="66"/>
                    <a:pt x="23" y="70"/>
                  </a:cubicBezTo>
                  <a:cubicBezTo>
                    <a:pt x="22" y="72"/>
                    <a:pt x="20" y="76"/>
                    <a:pt x="18" y="8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79" name="Freeform 18">
              <a:extLst>
                <a:ext uri="{FF2B5EF4-FFF2-40B4-BE49-F238E27FC236}">
                  <a16:creationId xmlns:a16="http://schemas.microsoft.com/office/drawing/2014/main" id="{AF8DF1A6-D6F5-4F15-82DB-3ECA090BEE59}"/>
                </a:ext>
              </a:extLst>
            </p:cNvPr>
            <p:cNvSpPr>
              <a:spLocks/>
            </p:cNvSpPr>
            <p:nvPr/>
          </p:nvSpPr>
          <p:spPr bwMode="auto">
            <a:xfrm>
              <a:off x="4929724" y="3167195"/>
              <a:ext cx="567007" cy="233237"/>
            </a:xfrm>
            <a:custGeom>
              <a:avLst/>
              <a:gdLst>
                <a:gd name="T0" fmla="*/ 233 w 239"/>
                <a:gd name="T1" fmla="*/ 23 h 98"/>
                <a:gd name="T2" fmla="*/ 214 w 239"/>
                <a:gd name="T3" fmla="*/ 19 h 98"/>
                <a:gd name="T4" fmla="*/ 194 w 239"/>
                <a:gd name="T5" fmla="*/ 6 h 98"/>
                <a:gd name="T6" fmla="*/ 170 w 239"/>
                <a:gd name="T7" fmla="*/ 14 h 98"/>
                <a:gd name="T8" fmla="*/ 159 w 239"/>
                <a:gd name="T9" fmla="*/ 10 h 98"/>
                <a:gd name="T10" fmla="*/ 140 w 239"/>
                <a:gd name="T11" fmla="*/ 9 h 98"/>
                <a:gd name="T12" fmla="*/ 132 w 239"/>
                <a:gd name="T13" fmla="*/ 18 h 98"/>
                <a:gd name="T14" fmla="*/ 126 w 239"/>
                <a:gd name="T15" fmla="*/ 11 h 98"/>
                <a:gd name="T16" fmla="*/ 119 w 239"/>
                <a:gd name="T17" fmla="*/ 11 h 98"/>
                <a:gd name="T18" fmla="*/ 111 w 239"/>
                <a:gd name="T19" fmla="*/ 2 h 98"/>
                <a:gd name="T20" fmla="*/ 91 w 239"/>
                <a:gd name="T21" fmla="*/ 8 h 98"/>
                <a:gd name="T22" fmla="*/ 83 w 239"/>
                <a:gd name="T23" fmla="*/ 2 h 98"/>
                <a:gd name="T24" fmla="*/ 72 w 239"/>
                <a:gd name="T25" fmla="*/ 9 h 98"/>
                <a:gd name="T26" fmla="*/ 58 w 239"/>
                <a:gd name="T27" fmla="*/ 15 h 98"/>
                <a:gd name="T28" fmla="*/ 58 w 239"/>
                <a:gd name="T29" fmla="*/ 28 h 98"/>
                <a:gd name="T30" fmla="*/ 36 w 239"/>
                <a:gd name="T31" fmla="*/ 40 h 98"/>
                <a:gd name="T32" fmla="*/ 24 w 239"/>
                <a:gd name="T33" fmla="*/ 39 h 98"/>
                <a:gd name="T34" fmla="*/ 12 w 239"/>
                <a:gd name="T35" fmla="*/ 41 h 98"/>
                <a:gd name="T36" fmla="*/ 3 w 239"/>
                <a:gd name="T37" fmla="*/ 46 h 98"/>
                <a:gd name="T38" fmla="*/ 1 w 239"/>
                <a:gd name="T39" fmla="*/ 60 h 98"/>
                <a:gd name="T40" fmla="*/ 0 w 239"/>
                <a:gd name="T41" fmla="*/ 70 h 98"/>
                <a:gd name="T42" fmla="*/ 7 w 239"/>
                <a:gd name="T43" fmla="*/ 75 h 98"/>
                <a:gd name="T44" fmla="*/ 7 w 239"/>
                <a:gd name="T45" fmla="*/ 87 h 98"/>
                <a:gd name="T46" fmla="*/ 7 w 239"/>
                <a:gd name="T47" fmla="*/ 87 h 98"/>
                <a:gd name="T48" fmla="*/ 13 w 239"/>
                <a:gd name="T49" fmla="*/ 92 h 98"/>
                <a:gd name="T50" fmla="*/ 20 w 239"/>
                <a:gd name="T51" fmla="*/ 81 h 98"/>
                <a:gd name="T52" fmla="*/ 40 w 239"/>
                <a:gd name="T53" fmla="*/ 97 h 98"/>
                <a:gd name="T54" fmla="*/ 81 w 239"/>
                <a:gd name="T55" fmla="*/ 94 h 98"/>
                <a:gd name="T56" fmla="*/ 87 w 239"/>
                <a:gd name="T57" fmla="*/ 78 h 98"/>
                <a:gd name="T58" fmla="*/ 111 w 239"/>
                <a:gd name="T59" fmla="*/ 81 h 98"/>
                <a:gd name="T60" fmla="*/ 118 w 239"/>
                <a:gd name="T61" fmla="*/ 73 h 98"/>
                <a:gd name="T62" fmla="*/ 144 w 239"/>
                <a:gd name="T63" fmla="*/ 69 h 98"/>
                <a:gd name="T64" fmla="*/ 155 w 239"/>
                <a:gd name="T65" fmla="*/ 53 h 98"/>
                <a:gd name="T66" fmla="*/ 171 w 239"/>
                <a:gd name="T67" fmla="*/ 53 h 98"/>
                <a:gd name="T68" fmla="*/ 174 w 239"/>
                <a:gd name="T69" fmla="*/ 63 h 98"/>
                <a:gd name="T70" fmla="*/ 183 w 239"/>
                <a:gd name="T71" fmla="*/ 64 h 98"/>
                <a:gd name="T72" fmla="*/ 188 w 239"/>
                <a:gd name="T73" fmla="*/ 53 h 98"/>
                <a:gd name="T74" fmla="*/ 194 w 239"/>
                <a:gd name="T75" fmla="*/ 63 h 98"/>
                <a:gd name="T76" fmla="*/ 223 w 239"/>
                <a:gd name="T77" fmla="*/ 59 h 98"/>
                <a:gd name="T78" fmla="*/ 223 w 239"/>
                <a:gd name="T79" fmla="*/ 59 h 98"/>
                <a:gd name="T80" fmla="*/ 224 w 239"/>
                <a:gd name="T81" fmla="*/ 51 h 98"/>
                <a:gd name="T82" fmla="*/ 234 w 239"/>
                <a:gd name="T83" fmla="*/ 43 h 98"/>
                <a:gd name="T84" fmla="*/ 237 w 239"/>
                <a:gd name="T85" fmla="*/ 30 h 98"/>
                <a:gd name="T86" fmla="*/ 233 w 239"/>
                <a:gd name="T87" fmla="*/ 2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9" h="98">
                  <a:moveTo>
                    <a:pt x="233" y="23"/>
                  </a:moveTo>
                  <a:cubicBezTo>
                    <a:pt x="227" y="23"/>
                    <a:pt x="221" y="25"/>
                    <a:pt x="214" y="19"/>
                  </a:cubicBezTo>
                  <a:cubicBezTo>
                    <a:pt x="207" y="13"/>
                    <a:pt x="208" y="6"/>
                    <a:pt x="194" y="6"/>
                  </a:cubicBezTo>
                  <a:cubicBezTo>
                    <a:pt x="180" y="6"/>
                    <a:pt x="175" y="14"/>
                    <a:pt x="170" y="14"/>
                  </a:cubicBezTo>
                  <a:cubicBezTo>
                    <a:pt x="165" y="14"/>
                    <a:pt x="159" y="10"/>
                    <a:pt x="159" y="10"/>
                  </a:cubicBezTo>
                  <a:cubicBezTo>
                    <a:pt x="140" y="9"/>
                    <a:pt x="140" y="9"/>
                    <a:pt x="140" y="9"/>
                  </a:cubicBezTo>
                  <a:cubicBezTo>
                    <a:pt x="140" y="9"/>
                    <a:pt x="141" y="18"/>
                    <a:pt x="132" y="18"/>
                  </a:cubicBezTo>
                  <a:cubicBezTo>
                    <a:pt x="123" y="18"/>
                    <a:pt x="126" y="11"/>
                    <a:pt x="126" y="11"/>
                  </a:cubicBezTo>
                  <a:cubicBezTo>
                    <a:pt x="119" y="11"/>
                    <a:pt x="119" y="11"/>
                    <a:pt x="119" y="11"/>
                  </a:cubicBezTo>
                  <a:cubicBezTo>
                    <a:pt x="119" y="11"/>
                    <a:pt x="118" y="4"/>
                    <a:pt x="111" y="2"/>
                  </a:cubicBezTo>
                  <a:cubicBezTo>
                    <a:pt x="104" y="0"/>
                    <a:pt x="94" y="8"/>
                    <a:pt x="91" y="8"/>
                  </a:cubicBezTo>
                  <a:cubicBezTo>
                    <a:pt x="89" y="8"/>
                    <a:pt x="86" y="5"/>
                    <a:pt x="83" y="2"/>
                  </a:cubicBezTo>
                  <a:cubicBezTo>
                    <a:pt x="72" y="9"/>
                    <a:pt x="72" y="9"/>
                    <a:pt x="72" y="9"/>
                  </a:cubicBezTo>
                  <a:cubicBezTo>
                    <a:pt x="58" y="15"/>
                    <a:pt x="58" y="15"/>
                    <a:pt x="58" y="15"/>
                  </a:cubicBezTo>
                  <a:cubicBezTo>
                    <a:pt x="58" y="28"/>
                    <a:pt x="58" y="28"/>
                    <a:pt x="58" y="28"/>
                  </a:cubicBezTo>
                  <a:cubicBezTo>
                    <a:pt x="58" y="28"/>
                    <a:pt x="43" y="35"/>
                    <a:pt x="36" y="40"/>
                  </a:cubicBezTo>
                  <a:cubicBezTo>
                    <a:pt x="31" y="43"/>
                    <a:pt x="25" y="41"/>
                    <a:pt x="24" y="39"/>
                  </a:cubicBezTo>
                  <a:cubicBezTo>
                    <a:pt x="21" y="40"/>
                    <a:pt x="15" y="40"/>
                    <a:pt x="12" y="41"/>
                  </a:cubicBezTo>
                  <a:cubicBezTo>
                    <a:pt x="8" y="42"/>
                    <a:pt x="3" y="46"/>
                    <a:pt x="3" y="46"/>
                  </a:cubicBezTo>
                  <a:cubicBezTo>
                    <a:pt x="1" y="60"/>
                    <a:pt x="1" y="60"/>
                    <a:pt x="1" y="60"/>
                  </a:cubicBezTo>
                  <a:cubicBezTo>
                    <a:pt x="0" y="70"/>
                    <a:pt x="0" y="70"/>
                    <a:pt x="0" y="70"/>
                  </a:cubicBezTo>
                  <a:cubicBezTo>
                    <a:pt x="0" y="70"/>
                    <a:pt x="6" y="69"/>
                    <a:pt x="7" y="75"/>
                  </a:cubicBezTo>
                  <a:cubicBezTo>
                    <a:pt x="7" y="78"/>
                    <a:pt x="7" y="83"/>
                    <a:pt x="7" y="87"/>
                  </a:cubicBezTo>
                  <a:cubicBezTo>
                    <a:pt x="7" y="87"/>
                    <a:pt x="7" y="87"/>
                    <a:pt x="7" y="87"/>
                  </a:cubicBezTo>
                  <a:cubicBezTo>
                    <a:pt x="13" y="92"/>
                    <a:pt x="13" y="92"/>
                    <a:pt x="13" y="92"/>
                  </a:cubicBezTo>
                  <a:cubicBezTo>
                    <a:pt x="20" y="81"/>
                    <a:pt x="20" y="81"/>
                    <a:pt x="20" y="81"/>
                  </a:cubicBezTo>
                  <a:cubicBezTo>
                    <a:pt x="20" y="81"/>
                    <a:pt x="23" y="98"/>
                    <a:pt x="40" y="97"/>
                  </a:cubicBezTo>
                  <a:cubicBezTo>
                    <a:pt x="57" y="96"/>
                    <a:pt x="81" y="94"/>
                    <a:pt x="81" y="94"/>
                  </a:cubicBezTo>
                  <a:cubicBezTo>
                    <a:pt x="87" y="78"/>
                    <a:pt x="87" y="78"/>
                    <a:pt x="87" y="78"/>
                  </a:cubicBezTo>
                  <a:cubicBezTo>
                    <a:pt x="111" y="81"/>
                    <a:pt x="111" y="81"/>
                    <a:pt x="111" y="81"/>
                  </a:cubicBezTo>
                  <a:cubicBezTo>
                    <a:pt x="118" y="73"/>
                    <a:pt x="118" y="73"/>
                    <a:pt x="118" y="73"/>
                  </a:cubicBezTo>
                  <a:cubicBezTo>
                    <a:pt x="118" y="73"/>
                    <a:pt x="141" y="72"/>
                    <a:pt x="144" y="69"/>
                  </a:cubicBezTo>
                  <a:cubicBezTo>
                    <a:pt x="147" y="66"/>
                    <a:pt x="155" y="53"/>
                    <a:pt x="155" y="53"/>
                  </a:cubicBezTo>
                  <a:cubicBezTo>
                    <a:pt x="171" y="53"/>
                    <a:pt x="171" y="53"/>
                    <a:pt x="171" y="53"/>
                  </a:cubicBezTo>
                  <a:cubicBezTo>
                    <a:pt x="174" y="63"/>
                    <a:pt x="174" y="63"/>
                    <a:pt x="174" y="63"/>
                  </a:cubicBezTo>
                  <a:cubicBezTo>
                    <a:pt x="183" y="64"/>
                    <a:pt x="183" y="64"/>
                    <a:pt x="183" y="64"/>
                  </a:cubicBezTo>
                  <a:cubicBezTo>
                    <a:pt x="183" y="64"/>
                    <a:pt x="183" y="53"/>
                    <a:pt x="188" y="53"/>
                  </a:cubicBezTo>
                  <a:cubicBezTo>
                    <a:pt x="193" y="53"/>
                    <a:pt x="194" y="63"/>
                    <a:pt x="194" y="63"/>
                  </a:cubicBezTo>
                  <a:cubicBezTo>
                    <a:pt x="194" y="63"/>
                    <a:pt x="215" y="57"/>
                    <a:pt x="223" y="59"/>
                  </a:cubicBezTo>
                  <a:cubicBezTo>
                    <a:pt x="223" y="59"/>
                    <a:pt x="223" y="59"/>
                    <a:pt x="223" y="59"/>
                  </a:cubicBezTo>
                  <a:cubicBezTo>
                    <a:pt x="224" y="51"/>
                    <a:pt x="224" y="51"/>
                    <a:pt x="224" y="51"/>
                  </a:cubicBezTo>
                  <a:cubicBezTo>
                    <a:pt x="224" y="51"/>
                    <a:pt x="232" y="49"/>
                    <a:pt x="234" y="43"/>
                  </a:cubicBezTo>
                  <a:cubicBezTo>
                    <a:pt x="236" y="37"/>
                    <a:pt x="237" y="30"/>
                    <a:pt x="237" y="30"/>
                  </a:cubicBezTo>
                  <a:cubicBezTo>
                    <a:pt x="237" y="30"/>
                    <a:pt x="239" y="23"/>
                    <a:pt x="233" y="23"/>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0" name="Freeform 19">
              <a:extLst>
                <a:ext uri="{FF2B5EF4-FFF2-40B4-BE49-F238E27FC236}">
                  <a16:creationId xmlns:a16="http://schemas.microsoft.com/office/drawing/2014/main" id="{4A2AA68E-A4EE-4CE3-A88A-5301D4814F9F}"/>
                </a:ext>
              </a:extLst>
            </p:cNvPr>
            <p:cNvSpPr>
              <a:spLocks/>
            </p:cNvSpPr>
            <p:nvPr/>
          </p:nvSpPr>
          <p:spPr bwMode="auto">
            <a:xfrm>
              <a:off x="4870409" y="3292861"/>
              <a:ext cx="678600" cy="351866"/>
            </a:xfrm>
            <a:custGeom>
              <a:avLst/>
              <a:gdLst>
                <a:gd name="T0" fmla="*/ 31 w 286"/>
                <a:gd name="T1" fmla="*/ 43 h 148"/>
                <a:gd name="T2" fmla="*/ 16 w 286"/>
                <a:gd name="T3" fmla="*/ 43 h 148"/>
                <a:gd name="T4" fmla="*/ 15 w 286"/>
                <a:gd name="T5" fmla="*/ 52 h 148"/>
                <a:gd name="T6" fmla="*/ 24 w 286"/>
                <a:gd name="T7" fmla="*/ 53 h 148"/>
                <a:gd name="T8" fmla="*/ 15 w 286"/>
                <a:gd name="T9" fmla="*/ 65 h 148"/>
                <a:gd name="T10" fmla="*/ 15 w 286"/>
                <a:gd name="T11" fmla="*/ 79 h 148"/>
                <a:gd name="T12" fmla="*/ 2 w 286"/>
                <a:gd name="T13" fmla="*/ 81 h 148"/>
                <a:gd name="T14" fmla="*/ 0 w 286"/>
                <a:gd name="T15" fmla="*/ 85 h 148"/>
                <a:gd name="T16" fmla="*/ 7 w 286"/>
                <a:gd name="T17" fmla="*/ 90 h 148"/>
                <a:gd name="T18" fmla="*/ 10 w 286"/>
                <a:gd name="T19" fmla="*/ 100 h 148"/>
                <a:gd name="T20" fmla="*/ 20 w 286"/>
                <a:gd name="T21" fmla="*/ 107 h 148"/>
                <a:gd name="T22" fmla="*/ 34 w 286"/>
                <a:gd name="T23" fmla="*/ 120 h 148"/>
                <a:gd name="T24" fmla="*/ 54 w 286"/>
                <a:gd name="T25" fmla="*/ 137 h 148"/>
                <a:gd name="T26" fmla="*/ 63 w 286"/>
                <a:gd name="T27" fmla="*/ 141 h 148"/>
                <a:gd name="T28" fmla="*/ 75 w 286"/>
                <a:gd name="T29" fmla="*/ 141 h 148"/>
                <a:gd name="T30" fmla="*/ 78 w 286"/>
                <a:gd name="T31" fmla="*/ 148 h 148"/>
                <a:gd name="T32" fmla="*/ 106 w 286"/>
                <a:gd name="T33" fmla="*/ 145 h 148"/>
                <a:gd name="T34" fmla="*/ 112 w 286"/>
                <a:gd name="T35" fmla="*/ 139 h 148"/>
                <a:gd name="T36" fmla="*/ 115 w 286"/>
                <a:gd name="T37" fmla="*/ 140 h 148"/>
                <a:gd name="T38" fmla="*/ 118 w 286"/>
                <a:gd name="T39" fmla="*/ 136 h 148"/>
                <a:gd name="T40" fmla="*/ 133 w 286"/>
                <a:gd name="T41" fmla="*/ 136 h 148"/>
                <a:gd name="T42" fmla="*/ 145 w 286"/>
                <a:gd name="T43" fmla="*/ 125 h 148"/>
                <a:gd name="T44" fmla="*/ 163 w 286"/>
                <a:gd name="T45" fmla="*/ 125 h 148"/>
                <a:gd name="T46" fmla="*/ 176 w 286"/>
                <a:gd name="T47" fmla="*/ 131 h 148"/>
                <a:gd name="T48" fmla="*/ 192 w 286"/>
                <a:gd name="T49" fmla="*/ 127 h 148"/>
                <a:gd name="T50" fmla="*/ 194 w 286"/>
                <a:gd name="T51" fmla="*/ 118 h 148"/>
                <a:gd name="T52" fmla="*/ 205 w 286"/>
                <a:gd name="T53" fmla="*/ 120 h 148"/>
                <a:gd name="T54" fmla="*/ 221 w 286"/>
                <a:gd name="T55" fmla="*/ 110 h 148"/>
                <a:gd name="T56" fmla="*/ 222 w 286"/>
                <a:gd name="T57" fmla="*/ 96 h 148"/>
                <a:gd name="T58" fmla="*/ 238 w 286"/>
                <a:gd name="T59" fmla="*/ 83 h 148"/>
                <a:gd name="T60" fmla="*/ 245 w 286"/>
                <a:gd name="T61" fmla="*/ 66 h 148"/>
                <a:gd name="T62" fmla="*/ 246 w 286"/>
                <a:gd name="T63" fmla="*/ 48 h 148"/>
                <a:gd name="T64" fmla="*/ 266 w 286"/>
                <a:gd name="T65" fmla="*/ 41 h 148"/>
                <a:gd name="T66" fmla="*/ 286 w 286"/>
                <a:gd name="T67" fmla="*/ 27 h 148"/>
                <a:gd name="T68" fmla="*/ 264 w 286"/>
                <a:gd name="T69" fmla="*/ 19 h 148"/>
                <a:gd name="T70" fmla="*/ 248 w 286"/>
                <a:gd name="T71" fmla="*/ 6 h 148"/>
                <a:gd name="T72" fmla="*/ 219 w 286"/>
                <a:gd name="T73" fmla="*/ 10 h 148"/>
                <a:gd name="T74" fmla="*/ 213 w 286"/>
                <a:gd name="T75" fmla="*/ 0 h 148"/>
                <a:gd name="T76" fmla="*/ 208 w 286"/>
                <a:gd name="T77" fmla="*/ 11 h 148"/>
                <a:gd name="T78" fmla="*/ 199 w 286"/>
                <a:gd name="T79" fmla="*/ 10 h 148"/>
                <a:gd name="T80" fmla="*/ 196 w 286"/>
                <a:gd name="T81" fmla="*/ 0 h 148"/>
                <a:gd name="T82" fmla="*/ 180 w 286"/>
                <a:gd name="T83" fmla="*/ 0 h 148"/>
                <a:gd name="T84" fmla="*/ 169 w 286"/>
                <a:gd name="T85" fmla="*/ 16 h 148"/>
                <a:gd name="T86" fmla="*/ 143 w 286"/>
                <a:gd name="T87" fmla="*/ 20 h 148"/>
                <a:gd name="T88" fmla="*/ 136 w 286"/>
                <a:gd name="T89" fmla="*/ 28 h 148"/>
                <a:gd name="T90" fmla="*/ 112 w 286"/>
                <a:gd name="T91" fmla="*/ 25 h 148"/>
                <a:gd name="T92" fmla="*/ 106 w 286"/>
                <a:gd name="T93" fmla="*/ 41 h 148"/>
                <a:gd name="T94" fmla="*/ 65 w 286"/>
                <a:gd name="T95" fmla="*/ 44 h 148"/>
                <a:gd name="T96" fmla="*/ 45 w 286"/>
                <a:gd name="T97" fmla="*/ 28 h 148"/>
                <a:gd name="T98" fmla="*/ 38 w 286"/>
                <a:gd name="T99" fmla="*/ 39 h 148"/>
                <a:gd name="T100" fmla="*/ 32 w 286"/>
                <a:gd name="T101" fmla="*/ 34 h 148"/>
                <a:gd name="T102" fmla="*/ 31 w 286"/>
                <a:gd name="T103" fmla="*/ 4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6" h="148">
                  <a:moveTo>
                    <a:pt x="31" y="43"/>
                  </a:moveTo>
                  <a:cubicBezTo>
                    <a:pt x="16" y="43"/>
                    <a:pt x="16" y="43"/>
                    <a:pt x="16" y="43"/>
                  </a:cubicBezTo>
                  <a:cubicBezTo>
                    <a:pt x="15" y="52"/>
                    <a:pt x="15" y="52"/>
                    <a:pt x="15" y="52"/>
                  </a:cubicBezTo>
                  <a:cubicBezTo>
                    <a:pt x="24" y="53"/>
                    <a:pt x="24" y="53"/>
                    <a:pt x="24" y="53"/>
                  </a:cubicBezTo>
                  <a:cubicBezTo>
                    <a:pt x="15" y="65"/>
                    <a:pt x="15" y="65"/>
                    <a:pt x="15" y="65"/>
                  </a:cubicBezTo>
                  <a:cubicBezTo>
                    <a:pt x="15" y="79"/>
                    <a:pt x="15" y="79"/>
                    <a:pt x="15" y="79"/>
                  </a:cubicBezTo>
                  <a:cubicBezTo>
                    <a:pt x="2" y="81"/>
                    <a:pt x="2" y="81"/>
                    <a:pt x="2" y="81"/>
                  </a:cubicBezTo>
                  <a:cubicBezTo>
                    <a:pt x="0" y="85"/>
                    <a:pt x="0" y="85"/>
                    <a:pt x="0" y="85"/>
                  </a:cubicBezTo>
                  <a:cubicBezTo>
                    <a:pt x="7" y="90"/>
                    <a:pt x="7" y="90"/>
                    <a:pt x="7" y="90"/>
                  </a:cubicBezTo>
                  <a:cubicBezTo>
                    <a:pt x="10" y="100"/>
                    <a:pt x="10" y="100"/>
                    <a:pt x="10" y="100"/>
                  </a:cubicBezTo>
                  <a:cubicBezTo>
                    <a:pt x="20" y="107"/>
                    <a:pt x="20" y="107"/>
                    <a:pt x="20" y="107"/>
                  </a:cubicBezTo>
                  <a:cubicBezTo>
                    <a:pt x="20" y="107"/>
                    <a:pt x="32" y="117"/>
                    <a:pt x="34" y="120"/>
                  </a:cubicBezTo>
                  <a:cubicBezTo>
                    <a:pt x="36" y="123"/>
                    <a:pt x="54" y="137"/>
                    <a:pt x="54" y="137"/>
                  </a:cubicBezTo>
                  <a:cubicBezTo>
                    <a:pt x="63" y="141"/>
                    <a:pt x="63" y="141"/>
                    <a:pt x="63" y="141"/>
                  </a:cubicBezTo>
                  <a:cubicBezTo>
                    <a:pt x="75" y="141"/>
                    <a:pt x="75" y="141"/>
                    <a:pt x="75" y="141"/>
                  </a:cubicBezTo>
                  <a:cubicBezTo>
                    <a:pt x="78" y="148"/>
                    <a:pt x="78" y="148"/>
                    <a:pt x="78" y="148"/>
                  </a:cubicBezTo>
                  <a:cubicBezTo>
                    <a:pt x="106" y="145"/>
                    <a:pt x="106" y="145"/>
                    <a:pt x="106" y="145"/>
                  </a:cubicBezTo>
                  <a:cubicBezTo>
                    <a:pt x="112" y="139"/>
                    <a:pt x="112" y="139"/>
                    <a:pt x="112" y="139"/>
                  </a:cubicBezTo>
                  <a:cubicBezTo>
                    <a:pt x="115" y="140"/>
                    <a:pt x="115" y="140"/>
                    <a:pt x="115" y="140"/>
                  </a:cubicBezTo>
                  <a:cubicBezTo>
                    <a:pt x="118" y="136"/>
                    <a:pt x="118" y="136"/>
                    <a:pt x="118" y="136"/>
                  </a:cubicBezTo>
                  <a:cubicBezTo>
                    <a:pt x="133" y="136"/>
                    <a:pt x="133" y="136"/>
                    <a:pt x="133" y="136"/>
                  </a:cubicBezTo>
                  <a:cubicBezTo>
                    <a:pt x="133" y="136"/>
                    <a:pt x="142" y="131"/>
                    <a:pt x="145" y="125"/>
                  </a:cubicBezTo>
                  <a:cubicBezTo>
                    <a:pt x="148" y="119"/>
                    <a:pt x="163" y="125"/>
                    <a:pt x="163" y="125"/>
                  </a:cubicBezTo>
                  <a:cubicBezTo>
                    <a:pt x="176" y="131"/>
                    <a:pt x="176" y="131"/>
                    <a:pt x="176" y="131"/>
                  </a:cubicBezTo>
                  <a:cubicBezTo>
                    <a:pt x="192" y="127"/>
                    <a:pt x="192" y="127"/>
                    <a:pt x="192" y="127"/>
                  </a:cubicBezTo>
                  <a:cubicBezTo>
                    <a:pt x="194" y="118"/>
                    <a:pt x="194" y="118"/>
                    <a:pt x="194" y="118"/>
                  </a:cubicBezTo>
                  <a:cubicBezTo>
                    <a:pt x="205" y="120"/>
                    <a:pt x="205" y="120"/>
                    <a:pt x="205" y="120"/>
                  </a:cubicBezTo>
                  <a:cubicBezTo>
                    <a:pt x="205" y="120"/>
                    <a:pt x="215" y="116"/>
                    <a:pt x="221" y="110"/>
                  </a:cubicBezTo>
                  <a:cubicBezTo>
                    <a:pt x="227" y="104"/>
                    <a:pt x="222" y="96"/>
                    <a:pt x="222" y="96"/>
                  </a:cubicBezTo>
                  <a:cubicBezTo>
                    <a:pt x="222" y="96"/>
                    <a:pt x="228" y="88"/>
                    <a:pt x="238" y="83"/>
                  </a:cubicBezTo>
                  <a:cubicBezTo>
                    <a:pt x="248" y="78"/>
                    <a:pt x="245" y="66"/>
                    <a:pt x="245" y="66"/>
                  </a:cubicBezTo>
                  <a:cubicBezTo>
                    <a:pt x="245" y="66"/>
                    <a:pt x="245" y="54"/>
                    <a:pt x="246" y="48"/>
                  </a:cubicBezTo>
                  <a:cubicBezTo>
                    <a:pt x="247" y="42"/>
                    <a:pt x="256" y="42"/>
                    <a:pt x="266" y="41"/>
                  </a:cubicBezTo>
                  <a:cubicBezTo>
                    <a:pt x="276" y="40"/>
                    <a:pt x="286" y="27"/>
                    <a:pt x="286" y="27"/>
                  </a:cubicBezTo>
                  <a:cubicBezTo>
                    <a:pt x="286" y="27"/>
                    <a:pt x="270" y="20"/>
                    <a:pt x="264" y="19"/>
                  </a:cubicBezTo>
                  <a:cubicBezTo>
                    <a:pt x="258" y="18"/>
                    <a:pt x="256" y="8"/>
                    <a:pt x="248" y="6"/>
                  </a:cubicBezTo>
                  <a:cubicBezTo>
                    <a:pt x="240" y="4"/>
                    <a:pt x="219" y="10"/>
                    <a:pt x="219" y="10"/>
                  </a:cubicBezTo>
                  <a:cubicBezTo>
                    <a:pt x="219" y="10"/>
                    <a:pt x="218" y="0"/>
                    <a:pt x="213" y="0"/>
                  </a:cubicBezTo>
                  <a:cubicBezTo>
                    <a:pt x="208" y="0"/>
                    <a:pt x="208" y="11"/>
                    <a:pt x="208" y="11"/>
                  </a:cubicBezTo>
                  <a:cubicBezTo>
                    <a:pt x="199" y="10"/>
                    <a:pt x="199" y="10"/>
                    <a:pt x="199" y="10"/>
                  </a:cubicBezTo>
                  <a:cubicBezTo>
                    <a:pt x="196" y="0"/>
                    <a:pt x="196" y="0"/>
                    <a:pt x="196" y="0"/>
                  </a:cubicBezTo>
                  <a:cubicBezTo>
                    <a:pt x="180" y="0"/>
                    <a:pt x="180" y="0"/>
                    <a:pt x="180" y="0"/>
                  </a:cubicBezTo>
                  <a:cubicBezTo>
                    <a:pt x="180" y="0"/>
                    <a:pt x="172" y="13"/>
                    <a:pt x="169" y="16"/>
                  </a:cubicBezTo>
                  <a:cubicBezTo>
                    <a:pt x="166" y="19"/>
                    <a:pt x="143" y="20"/>
                    <a:pt x="143" y="20"/>
                  </a:cubicBezTo>
                  <a:cubicBezTo>
                    <a:pt x="136" y="28"/>
                    <a:pt x="136" y="28"/>
                    <a:pt x="136" y="28"/>
                  </a:cubicBezTo>
                  <a:cubicBezTo>
                    <a:pt x="112" y="25"/>
                    <a:pt x="112" y="25"/>
                    <a:pt x="112" y="25"/>
                  </a:cubicBezTo>
                  <a:cubicBezTo>
                    <a:pt x="106" y="41"/>
                    <a:pt x="106" y="41"/>
                    <a:pt x="106" y="41"/>
                  </a:cubicBezTo>
                  <a:cubicBezTo>
                    <a:pt x="106" y="41"/>
                    <a:pt x="82" y="43"/>
                    <a:pt x="65" y="44"/>
                  </a:cubicBezTo>
                  <a:cubicBezTo>
                    <a:pt x="48" y="45"/>
                    <a:pt x="45" y="28"/>
                    <a:pt x="45" y="28"/>
                  </a:cubicBezTo>
                  <a:cubicBezTo>
                    <a:pt x="38" y="39"/>
                    <a:pt x="38" y="39"/>
                    <a:pt x="38" y="39"/>
                  </a:cubicBezTo>
                  <a:cubicBezTo>
                    <a:pt x="32" y="34"/>
                    <a:pt x="32" y="34"/>
                    <a:pt x="32" y="34"/>
                  </a:cubicBezTo>
                  <a:cubicBezTo>
                    <a:pt x="31" y="39"/>
                    <a:pt x="31" y="43"/>
                    <a:pt x="31" y="43"/>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1" name="Freeform 20">
              <a:extLst>
                <a:ext uri="{FF2B5EF4-FFF2-40B4-BE49-F238E27FC236}">
                  <a16:creationId xmlns:a16="http://schemas.microsoft.com/office/drawing/2014/main" id="{265EF34B-E58A-4B91-85DE-763DE37BCD37}"/>
                </a:ext>
              </a:extLst>
            </p:cNvPr>
            <p:cNvSpPr>
              <a:spLocks/>
            </p:cNvSpPr>
            <p:nvPr/>
          </p:nvSpPr>
          <p:spPr bwMode="auto">
            <a:xfrm>
              <a:off x="5290638" y="2321710"/>
              <a:ext cx="545896" cy="313664"/>
            </a:xfrm>
            <a:custGeom>
              <a:avLst/>
              <a:gdLst>
                <a:gd name="T0" fmla="*/ 222 w 230"/>
                <a:gd name="T1" fmla="*/ 42 h 132"/>
                <a:gd name="T2" fmla="*/ 210 w 230"/>
                <a:gd name="T3" fmla="*/ 38 h 132"/>
                <a:gd name="T4" fmla="*/ 195 w 230"/>
                <a:gd name="T5" fmla="*/ 30 h 132"/>
                <a:gd name="T6" fmla="*/ 184 w 230"/>
                <a:gd name="T7" fmla="*/ 20 h 132"/>
                <a:gd name="T8" fmla="*/ 157 w 230"/>
                <a:gd name="T9" fmla="*/ 17 h 132"/>
                <a:gd name="T10" fmla="*/ 145 w 230"/>
                <a:gd name="T11" fmla="*/ 4 h 132"/>
                <a:gd name="T12" fmla="*/ 128 w 230"/>
                <a:gd name="T13" fmla="*/ 12 h 132"/>
                <a:gd name="T14" fmla="*/ 113 w 230"/>
                <a:gd name="T15" fmla="*/ 8 h 132"/>
                <a:gd name="T16" fmla="*/ 104 w 230"/>
                <a:gd name="T17" fmla="*/ 13 h 132"/>
                <a:gd name="T18" fmla="*/ 81 w 230"/>
                <a:gd name="T19" fmla="*/ 7 h 132"/>
                <a:gd name="T20" fmla="*/ 73 w 230"/>
                <a:gd name="T21" fmla="*/ 9 h 132"/>
                <a:gd name="T22" fmla="*/ 60 w 230"/>
                <a:gd name="T23" fmla="*/ 2 h 132"/>
                <a:gd name="T24" fmla="*/ 46 w 230"/>
                <a:gd name="T25" fmla="*/ 5 h 132"/>
                <a:gd name="T26" fmla="*/ 13 w 230"/>
                <a:gd name="T27" fmla="*/ 11 h 132"/>
                <a:gd name="T28" fmla="*/ 0 w 230"/>
                <a:gd name="T29" fmla="*/ 16 h 132"/>
                <a:gd name="T30" fmla="*/ 1 w 230"/>
                <a:gd name="T31" fmla="*/ 23 h 132"/>
                <a:gd name="T32" fmla="*/ 11 w 230"/>
                <a:gd name="T33" fmla="*/ 60 h 132"/>
                <a:gd name="T34" fmla="*/ 14 w 230"/>
                <a:gd name="T35" fmla="*/ 64 h 132"/>
                <a:gd name="T36" fmla="*/ 19 w 230"/>
                <a:gd name="T37" fmla="*/ 64 h 132"/>
                <a:gd name="T38" fmla="*/ 22 w 230"/>
                <a:gd name="T39" fmla="*/ 70 h 132"/>
                <a:gd name="T40" fmla="*/ 30 w 230"/>
                <a:gd name="T41" fmla="*/ 69 h 132"/>
                <a:gd name="T42" fmla="*/ 32 w 230"/>
                <a:gd name="T43" fmla="*/ 75 h 132"/>
                <a:gd name="T44" fmla="*/ 64 w 230"/>
                <a:gd name="T45" fmla="*/ 71 h 132"/>
                <a:gd name="T46" fmla="*/ 74 w 230"/>
                <a:gd name="T47" fmla="*/ 86 h 132"/>
                <a:gd name="T48" fmla="*/ 65 w 230"/>
                <a:gd name="T49" fmla="*/ 98 h 132"/>
                <a:gd name="T50" fmla="*/ 70 w 230"/>
                <a:gd name="T51" fmla="*/ 108 h 132"/>
                <a:gd name="T52" fmla="*/ 74 w 230"/>
                <a:gd name="T53" fmla="*/ 108 h 132"/>
                <a:gd name="T54" fmla="*/ 103 w 230"/>
                <a:gd name="T55" fmla="*/ 119 h 132"/>
                <a:gd name="T56" fmla="*/ 103 w 230"/>
                <a:gd name="T57" fmla="*/ 132 h 132"/>
                <a:gd name="T58" fmla="*/ 127 w 230"/>
                <a:gd name="T59" fmla="*/ 127 h 132"/>
                <a:gd name="T60" fmla="*/ 137 w 230"/>
                <a:gd name="T61" fmla="*/ 132 h 132"/>
                <a:gd name="T62" fmla="*/ 155 w 230"/>
                <a:gd name="T63" fmla="*/ 132 h 132"/>
                <a:gd name="T64" fmla="*/ 157 w 230"/>
                <a:gd name="T65" fmla="*/ 122 h 132"/>
                <a:gd name="T66" fmla="*/ 165 w 230"/>
                <a:gd name="T67" fmla="*/ 130 h 132"/>
                <a:gd name="T68" fmla="*/ 169 w 230"/>
                <a:gd name="T69" fmla="*/ 122 h 132"/>
                <a:gd name="T70" fmla="*/ 187 w 230"/>
                <a:gd name="T71" fmla="*/ 115 h 132"/>
                <a:gd name="T72" fmla="*/ 193 w 230"/>
                <a:gd name="T73" fmla="*/ 123 h 132"/>
                <a:gd name="T74" fmla="*/ 188 w 230"/>
                <a:gd name="T75" fmla="*/ 103 h 132"/>
                <a:gd name="T76" fmla="*/ 195 w 230"/>
                <a:gd name="T77" fmla="*/ 96 h 132"/>
                <a:gd name="T78" fmla="*/ 193 w 230"/>
                <a:gd name="T79" fmla="*/ 81 h 132"/>
                <a:gd name="T80" fmla="*/ 208 w 230"/>
                <a:gd name="T81" fmla="*/ 79 h 132"/>
                <a:gd name="T82" fmla="*/ 204 w 230"/>
                <a:gd name="T83" fmla="*/ 66 h 132"/>
                <a:gd name="T84" fmla="*/ 217 w 230"/>
                <a:gd name="T85" fmla="*/ 71 h 132"/>
                <a:gd name="T86" fmla="*/ 230 w 230"/>
                <a:gd name="T87" fmla="*/ 65 h 132"/>
                <a:gd name="T88" fmla="*/ 216 w 230"/>
                <a:gd name="T89" fmla="*/ 50 h 132"/>
                <a:gd name="T90" fmla="*/ 222 w 230"/>
                <a:gd name="T91" fmla="*/ 4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32">
                  <a:moveTo>
                    <a:pt x="222" y="42"/>
                  </a:moveTo>
                  <a:cubicBezTo>
                    <a:pt x="210" y="38"/>
                    <a:pt x="210" y="38"/>
                    <a:pt x="210" y="38"/>
                  </a:cubicBezTo>
                  <a:cubicBezTo>
                    <a:pt x="195" y="30"/>
                    <a:pt x="195" y="30"/>
                    <a:pt x="195" y="30"/>
                  </a:cubicBezTo>
                  <a:cubicBezTo>
                    <a:pt x="195" y="30"/>
                    <a:pt x="190" y="22"/>
                    <a:pt x="184" y="20"/>
                  </a:cubicBezTo>
                  <a:cubicBezTo>
                    <a:pt x="178" y="18"/>
                    <a:pt x="157" y="17"/>
                    <a:pt x="157" y="17"/>
                  </a:cubicBezTo>
                  <a:cubicBezTo>
                    <a:pt x="157" y="17"/>
                    <a:pt x="151" y="4"/>
                    <a:pt x="145" y="4"/>
                  </a:cubicBezTo>
                  <a:cubicBezTo>
                    <a:pt x="139" y="4"/>
                    <a:pt x="136" y="12"/>
                    <a:pt x="128" y="12"/>
                  </a:cubicBezTo>
                  <a:cubicBezTo>
                    <a:pt x="120" y="12"/>
                    <a:pt x="118" y="8"/>
                    <a:pt x="113" y="8"/>
                  </a:cubicBezTo>
                  <a:cubicBezTo>
                    <a:pt x="108" y="8"/>
                    <a:pt x="104" y="13"/>
                    <a:pt x="104" y="13"/>
                  </a:cubicBezTo>
                  <a:cubicBezTo>
                    <a:pt x="104" y="13"/>
                    <a:pt x="84" y="6"/>
                    <a:pt x="81" y="7"/>
                  </a:cubicBezTo>
                  <a:cubicBezTo>
                    <a:pt x="78" y="8"/>
                    <a:pt x="73" y="9"/>
                    <a:pt x="73" y="9"/>
                  </a:cubicBezTo>
                  <a:cubicBezTo>
                    <a:pt x="73" y="9"/>
                    <a:pt x="66" y="4"/>
                    <a:pt x="60" y="2"/>
                  </a:cubicBezTo>
                  <a:cubicBezTo>
                    <a:pt x="54" y="0"/>
                    <a:pt x="52" y="2"/>
                    <a:pt x="46" y="5"/>
                  </a:cubicBezTo>
                  <a:cubicBezTo>
                    <a:pt x="40" y="8"/>
                    <a:pt x="33" y="8"/>
                    <a:pt x="13" y="11"/>
                  </a:cubicBezTo>
                  <a:cubicBezTo>
                    <a:pt x="7" y="12"/>
                    <a:pt x="3" y="14"/>
                    <a:pt x="0" y="16"/>
                  </a:cubicBezTo>
                  <a:cubicBezTo>
                    <a:pt x="0" y="20"/>
                    <a:pt x="1" y="23"/>
                    <a:pt x="1" y="23"/>
                  </a:cubicBezTo>
                  <a:cubicBezTo>
                    <a:pt x="1" y="23"/>
                    <a:pt x="2" y="58"/>
                    <a:pt x="11" y="60"/>
                  </a:cubicBezTo>
                  <a:cubicBezTo>
                    <a:pt x="13" y="60"/>
                    <a:pt x="14" y="62"/>
                    <a:pt x="14" y="64"/>
                  </a:cubicBezTo>
                  <a:cubicBezTo>
                    <a:pt x="19" y="64"/>
                    <a:pt x="19" y="64"/>
                    <a:pt x="19" y="64"/>
                  </a:cubicBezTo>
                  <a:cubicBezTo>
                    <a:pt x="22" y="70"/>
                    <a:pt x="22" y="70"/>
                    <a:pt x="22" y="70"/>
                  </a:cubicBezTo>
                  <a:cubicBezTo>
                    <a:pt x="30" y="69"/>
                    <a:pt x="30" y="69"/>
                    <a:pt x="30" y="69"/>
                  </a:cubicBezTo>
                  <a:cubicBezTo>
                    <a:pt x="32" y="75"/>
                    <a:pt x="32" y="75"/>
                    <a:pt x="32" y="75"/>
                  </a:cubicBezTo>
                  <a:cubicBezTo>
                    <a:pt x="32" y="75"/>
                    <a:pt x="56" y="72"/>
                    <a:pt x="64" y="71"/>
                  </a:cubicBezTo>
                  <a:cubicBezTo>
                    <a:pt x="72" y="70"/>
                    <a:pt x="75" y="81"/>
                    <a:pt x="74" y="86"/>
                  </a:cubicBezTo>
                  <a:cubicBezTo>
                    <a:pt x="73" y="91"/>
                    <a:pt x="65" y="98"/>
                    <a:pt x="65" y="98"/>
                  </a:cubicBezTo>
                  <a:cubicBezTo>
                    <a:pt x="70" y="108"/>
                    <a:pt x="70" y="108"/>
                    <a:pt x="70" y="108"/>
                  </a:cubicBezTo>
                  <a:cubicBezTo>
                    <a:pt x="71" y="108"/>
                    <a:pt x="73" y="108"/>
                    <a:pt x="74" y="108"/>
                  </a:cubicBezTo>
                  <a:cubicBezTo>
                    <a:pt x="87" y="110"/>
                    <a:pt x="103" y="119"/>
                    <a:pt x="103" y="119"/>
                  </a:cubicBezTo>
                  <a:cubicBezTo>
                    <a:pt x="103" y="132"/>
                    <a:pt x="103" y="132"/>
                    <a:pt x="103" y="132"/>
                  </a:cubicBezTo>
                  <a:cubicBezTo>
                    <a:pt x="103" y="132"/>
                    <a:pt x="119" y="128"/>
                    <a:pt x="127" y="127"/>
                  </a:cubicBezTo>
                  <a:cubicBezTo>
                    <a:pt x="135" y="126"/>
                    <a:pt x="137" y="132"/>
                    <a:pt x="137" y="132"/>
                  </a:cubicBezTo>
                  <a:cubicBezTo>
                    <a:pt x="155" y="132"/>
                    <a:pt x="155" y="132"/>
                    <a:pt x="155" y="132"/>
                  </a:cubicBezTo>
                  <a:cubicBezTo>
                    <a:pt x="157" y="122"/>
                    <a:pt x="157" y="122"/>
                    <a:pt x="157" y="122"/>
                  </a:cubicBezTo>
                  <a:cubicBezTo>
                    <a:pt x="165" y="130"/>
                    <a:pt x="165" y="130"/>
                    <a:pt x="165" y="130"/>
                  </a:cubicBezTo>
                  <a:cubicBezTo>
                    <a:pt x="169" y="122"/>
                    <a:pt x="169" y="122"/>
                    <a:pt x="169" y="122"/>
                  </a:cubicBezTo>
                  <a:cubicBezTo>
                    <a:pt x="169" y="122"/>
                    <a:pt x="177" y="115"/>
                    <a:pt x="187" y="115"/>
                  </a:cubicBezTo>
                  <a:cubicBezTo>
                    <a:pt x="197" y="115"/>
                    <a:pt x="186" y="124"/>
                    <a:pt x="193" y="123"/>
                  </a:cubicBezTo>
                  <a:cubicBezTo>
                    <a:pt x="200" y="122"/>
                    <a:pt x="193" y="111"/>
                    <a:pt x="188" y="103"/>
                  </a:cubicBezTo>
                  <a:cubicBezTo>
                    <a:pt x="183" y="95"/>
                    <a:pt x="195" y="96"/>
                    <a:pt x="195" y="96"/>
                  </a:cubicBezTo>
                  <a:cubicBezTo>
                    <a:pt x="195" y="96"/>
                    <a:pt x="191" y="88"/>
                    <a:pt x="193" y="81"/>
                  </a:cubicBezTo>
                  <a:cubicBezTo>
                    <a:pt x="195" y="74"/>
                    <a:pt x="208" y="79"/>
                    <a:pt x="208" y="79"/>
                  </a:cubicBezTo>
                  <a:cubicBezTo>
                    <a:pt x="204" y="66"/>
                    <a:pt x="204" y="66"/>
                    <a:pt x="204" y="66"/>
                  </a:cubicBezTo>
                  <a:cubicBezTo>
                    <a:pt x="204" y="66"/>
                    <a:pt x="211" y="71"/>
                    <a:pt x="217" y="71"/>
                  </a:cubicBezTo>
                  <a:cubicBezTo>
                    <a:pt x="223" y="71"/>
                    <a:pt x="230" y="65"/>
                    <a:pt x="230" y="65"/>
                  </a:cubicBezTo>
                  <a:cubicBezTo>
                    <a:pt x="230" y="65"/>
                    <a:pt x="214" y="55"/>
                    <a:pt x="216" y="50"/>
                  </a:cubicBezTo>
                  <a:cubicBezTo>
                    <a:pt x="217" y="48"/>
                    <a:pt x="219" y="45"/>
                    <a:pt x="222" y="42"/>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2" name="Freeform 21">
              <a:extLst>
                <a:ext uri="{FF2B5EF4-FFF2-40B4-BE49-F238E27FC236}">
                  <a16:creationId xmlns:a16="http://schemas.microsoft.com/office/drawing/2014/main" id="{DE0B638D-0280-4046-B120-5679CEA76077}"/>
                </a:ext>
              </a:extLst>
            </p:cNvPr>
            <p:cNvSpPr>
              <a:spLocks/>
            </p:cNvSpPr>
            <p:nvPr/>
          </p:nvSpPr>
          <p:spPr bwMode="auto">
            <a:xfrm>
              <a:off x="3848991" y="3381331"/>
              <a:ext cx="465469" cy="258371"/>
            </a:xfrm>
            <a:custGeom>
              <a:avLst/>
              <a:gdLst>
                <a:gd name="T0" fmla="*/ 93 w 196"/>
                <a:gd name="T1" fmla="*/ 17 h 109"/>
                <a:gd name="T2" fmla="*/ 81 w 196"/>
                <a:gd name="T3" fmla="*/ 17 h 109"/>
                <a:gd name="T4" fmla="*/ 70 w 196"/>
                <a:gd name="T5" fmla="*/ 15 h 109"/>
                <a:gd name="T6" fmla="*/ 70 w 196"/>
                <a:gd name="T7" fmla="*/ 16 h 109"/>
                <a:gd name="T8" fmla="*/ 65 w 196"/>
                <a:gd name="T9" fmla="*/ 26 h 109"/>
                <a:gd name="T10" fmla="*/ 52 w 196"/>
                <a:gd name="T11" fmla="*/ 19 h 109"/>
                <a:gd name="T12" fmla="*/ 47 w 196"/>
                <a:gd name="T13" fmla="*/ 28 h 109"/>
                <a:gd name="T14" fmla="*/ 36 w 196"/>
                <a:gd name="T15" fmla="*/ 43 h 109"/>
                <a:gd name="T16" fmla="*/ 25 w 196"/>
                <a:gd name="T17" fmla="*/ 43 h 109"/>
                <a:gd name="T18" fmla="*/ 22 w 196"/>
                <a:gd name="T19" fmla="*/ 56 h 109"/>
                <a:gd name="T20" fmla="*/ 4 w 196"/>
                <a:gd name="T21" fmla="*/ 72 h 109"/>
                <a:gd name="T22" fmla="*/ 10 w 196"/>
                <a:gd name="T23" fmla="*/ 80 h 109"/>
                <a:gd name="T24" fmla="*/ 6 w 196"/>
                <a:gd name="T25" fmla="*/ 89 h 109"/>
                <a:gd name="T26" fmla="*/ 24 w 196"/>
                <a:gd name="T27" fmla="*/ 73 h 109"/>
                <a:gd name="T28" fmla="*/ 39 w 196"/>
                <a:gd name="T29" fmla="*/ 75 h 109"/>
                <a:gd name="T30" fmla="*/ 38 w 196"/>
                <a:gd name="T31" fmla="*/ 93 h 109"/>
                <a:gd name="T32" fmla="*/ 45 w 196"/>
                <a:gd name="T33" fmla="*/ 103 h 109"/>
                <a:gd name="T34" fmla="*/ 52 w 196"/>
                <a:gd name="T35" fmla="*/ 103 h 109"/>
                <a:gd name="T36" fmla="*/ 66 w 196"/>
                <a:gd name="T37" fmla="*/ 96 h 109"/>
                <a:gd name="T38" fmla="*/ 86 w 196"/>
                <a:gd name="T39" fmla="*/ 101 h 109"/>
                <a:gd name="T40" fmla="*/ 92 w 196"/>
                <a:gd name="T41" fmla="*/ 81 h 109"/>
                <a:gd name="T42" fmla="*/ 103 w 196"/>
                <a:gd name="T43" fmla="*/ 75 h 109"/>
                <a:gd name="T44" fmla="*/ 111 w 196"/>
                <a:gd name="T45" fmla="*/ 90 h 109"/>
                <a:gd name="T46" fmla="*/ 116 w 196"/>
                <a:gd name="T47" fmla="*/ 91 h 109"/>
                <a:gd name="T48" fmla="*/ 132 w 196"/>
                <a:gd name="T49" fmla="*/ 108 h 109"/>
                <a:gd name="T50" fmla="*/ 133 w 196"/>
                <a:gd name="T51" fmla="*/ 93 h 109"/>
                <a:gd name="T52" fmla="*/ 139 w 196"/>
                <a:gd name="T53" fmla="*/ 87 h 109"/>
                <a:gd name="T54" fmla="*/ 144 w 196"/>
                <a:gd name="T55" fmla="*/ 71 h 109"/>
                <a:gd name="T56" fmla="*/ 151 w 196"/>
                <a:gd name="T57" fmla="*/ 83 h 109"/>
                <a:gd name="T58" fmla="*/ 164 w 196"/>
                <a:gd name="T59" fmla="*/ 80 h 109"/>
                <a:gd name="T60" fmla="*/ 175 w 196"/>
                <a:gd name="T61" fmla="*/ 85 h 109"/>
                <a:gd name="T62" fmla="*/ 180 w 196"/>
                <a:gd name="T63" fmla="*/ 79 h 109"/>
                <a:gd name="T64" fmla="*/ 176 w 196"/>
                <a:gd name="T65" fmla="*/ 66 h 109"/>
                <a:gd name="T66" fmla="*/ 189 w 196"/>
                <a:gd name="T67" fmla="*/ 68 h 109"/>
                <a:gd name="T68" fmla="*/ 191 w 196"/>
                <a:gd name="T69" fmla="*/ 55 h 109"/>
                <a:gd name="T70" fmla="*/ 196 w 196"/>
                <a:gd name="T71" fmla="*/ 54 h 109"/>
                <a:gd name="T72" fmla="*/ 187 w 196"/>
                <a:gd name="T73" fmla="*/ 43 h 109"/>
                <a:gd name="T74" fmla="*/ 171 w 196"/>
                <a:gd name="T75" fmla="*/ 55 h 109"/>
                <a:gd name="T76" fmla="*/ 166 w 196"/>
                <a:gd name="T77" fmla="*/ 43 h 109"/>
                <a:gd name="T78" fmla="*/ 154 w 196"/>
                <a:gd name="T79" fmla="*/ 44 h 109"/>
                <a:gd name="T80" fmla="*/ 146 w 196"/>
                <a:gd name="T81" fmla="*/ 42 h 109"/>
                <a:gd name="T82" fmla="*/ 153 w 196"/>
                <a:gd name="T83" fmla="*/ 29 h 109"/>
                <a:gd name="T84" fmla="*/ 154 w 196"/>
                <a:gd name="T85" fmla="*/ 19 h 109"/>
                <a:gd name="T86" fmla="*/ 150 w 196"/>
                <a:gd name="T87" fmla="*/ 19 h 109"/>
                <a:gd name="T88" fmla="*/ 144 w 196"/>
                <a:gd name="T89" fmla="*/ 11 h 109"/>
                <a:gd name="T90" fmla="*/ 134 w 196"/>
                <a:gd name="T91" fmla="*/ 8 h 109"/>
                <a:gd name="T92" fmla="*/ 125 w 196"/>
                <a:gd name="T93" fmla="*/ 8 h 109"/>
                <a:gd name="T94" fmla="*/ 109 w 196"/>
                <a:gd name="T95" fmla="*/ 1 h 109"/>
                <a:gd name="T96" fmla="*/ 107 w 196"/>
                <a:gd name="T97" fmla="*/ 14 h 109"/>
                <a:gd name="T98" fmla="*/ 103 w 196"/>
                <a:gd name="T99" fmla="*/ 10 h 109"/>
                <a:gd name="T100" fmla="*/ 93 w 196"/>
                <a:gd name="T101" fmla="*/ 1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109">
                  <a:moveTo>
                    <a:pt x="93" y="17"/>
                  </a:moveTo>
                  <a:cubicBezTo>
                    <a:pt x="81" y="17"/>
                    <a:pt x="81" y="17"/>
                    <a:pt x="81" y="17"/>
                  </a:cubicBezTo>
                  <a:cubicBezTo>
                    <a:pt x="70" y="15"/>
                    <a:pt x="70" y="15"/>
                    <a:pt x="70" y="15"/>
                  </a:cubicBezTo>
                  <a:cubicBezTo>
                    <a:pt x="70" y="16"/>
                    <a:pt x="70" y="16"/>
                    <a:pt x="70" y="16"/>
                  </a:cubicBezTo>
                  <a:cubicBezTo>
                    <a:pt x="65" y="26"/>
                    <a:pt x="65" y="26"/>
                    <a:pt x="65" y="26"/>
                  </a:cubicBezTo>
                  <a:cubicBezTo>
                    <a:pt x="52" y="19"/>
                    <a:pt x="52" y="19"/>
                    <a:pt x="52" y="19"/>
                  </a:cubicBezTo>
                  <a:cubicBezTo>
                    <a:pt x="47" y="28"/>
                    <a:pt x="47" y="28"/>
                    <a:pt x="47" y="28"/>
                  </a:cubicBezTo>
                  <a:cubicBezTo>
                    <a:pt x="47" y="28"/>
                    <a:pt x="41" y="37"/>
                    <a:pt x="36" y="43"/>
                  </a:cubicBezTo>
                  <a:cubicBezTo>
                    <a:pt x="31" y="49"/>
                    <a:pt x="25" y="43"/>
                    <a:pt x="25" y="43"/>
                  </a:cubicBezTo>
                  <a:cubicBezTo>
                    <a:pt x="25" y="43"/>
                    <a:pt x="28" y="49"/>
                    <a:pt x="22" y="56"/>
                  </a:cubicBezTo>
                  <a:cubicBezTo>
                    <a:pt x="16" y="63"/>
                    <a:pt x="4" y="72"/>
                    <a:pt x="4" y="72"/>
                  </a:cubicBezTo>
                  <a:cubicBezTo>
                    <a:pt x="10" y="80"/>
                    <a:pt x="10" y="80"/>
                    <a:pt x="10" y="80"/>
                  </a:cubicBezTo>
                  <a:cubicBezTo>
                    <a:pt x="10" y="80"/>
                    <a:pt x="0" y="88"/>
                    <a:pt x="6" y="89"/>
                  </a:cubicBezTo>
                  <a:cubicBezTo>
                    <a:pt x="12" y="90"/>
                    <a:pt x="17" y="77"/>
                    <a:pt x="24" y="73"/>
                  </a:cubicBezTo>
                  <a:cubicBezTo>
                    <a:pt x="31" y="69"/>
                    <a:pt x="39" y="75"/>
                    <a:pt x="39" y="75"/>
                  </a:cubicBezTo>
                  <a:cubicBezTo>
                    <a:pt x="38" y="93"/>
                    <a:pt x="38" y="93"/>
                    <a:pt x="38" y="93"/>
                  </a:cubicBezTo>
                  <a:cubicBezTo>
                    <a:pt x="38" y="93"/>
                    <a:pt x="45" y="99"/>
                    <a:pt x="45" y="103"/>
                  </a:cubicBezTo>
                  <a:cubicBezTo>
                    <a:pt x="52" y="103"/>
                    <a:pt x="52" y="103"/>
                    <a:pt x="52" y="103"/>
                  </a:cubicBezTo>
                  <a:cubicBezTo>
                    <a:pt x="52" y="103"/>
                    <a:pt x="61" y="96"/>
                    <a:pt x="66" y="96"/>
                  </a:cubicBezTo>
                  <a:cubicBezTo>
                    <a:pt x="71" y="96"/>
                    <a:pt x="76" y="109"/>
                    <a:pt x="86" y="101"/>
                  </a:cubicBezTo>
                  <a:cubicBezTo>
                    <a:pt x="96" y="92"/>
                    <a:pt x="92" y="81"/>
                    <a:pt x="92" y="81"/>
                  </a:cubicBezTo>
                  <a:cubicBezTo>
                    <a:pt x="92" y="81"/>
                    <a:pt x="99" y="75"/>
                    <a:pt x="103" y="75"/>
                  </a:cubicBezTo>
                  <a:cubicBezTo>
                    <a:pt x="107" y="75"/>
                    <a:pt x="111" y="90"/>
                    <a:pt x="111" y="90"/>
                  </a:cubicBezTo>
                  <a:cubicBezTo>
                    <a:pt x="116" y="91"/>
                    <a:pt x="116" y="91"/>
                    <a:pt x="116" y="91"/>
                  </a:cubicBezTo>
                  <a:cubicBezTo>
                    <a:pt x="132" y="108"/>
                    <a:pt x="132" y="108"/>
                    <a:pt x="132" y="108"/>
                  </a:cubicBezTo>
                  <a:cubicBezTo>
                    <a:pt x="133" y="93"/>
                    <a:pt x="133" y="93"/>
                    <a:pt x="133" y="93"/>
                  </a:cubicBezTo>
                  <a:cubicBezTo>
                    <a:pt x="139" y="87"/>
                    <a:pt x="139" y="87"/>
                    <a:pt x="139" y="87"/>
                  </a:cubicBezTo>
                  <a:cubicBezTo>
                    <a:pt x="144" y="71"/>
                    <a:pt x="144" y="71"/>
                    <a:pt x="144" y="71"/>
                  </a:cubicBezTo>
                  <a:cubicBezTo>
                    <a:pt x="151" y="83"/>
                    <a:pt x="151" y="83"/>
                    <a:pt x="151" y="83"/>
                  </a:cubicBezTo>
                  <a:cubicBezTo>
                    <a:pt x="164" y="80"/>
                    <a:pt x="164" y="80"/>
                    <a:pt x="164" y="80"/>
                  </a:cubicBezTo>
                  <a:cubicBezTo>
                    <a:pt x="175" y="85"/>
                    <a:pt x="175" y="85"/>
                    <a:pt x="175" y="85"/>
                  </a:cubicBezTo>
                  <a:cubicBezTo>
                    <a:pt x="180" y="79"/>
                    <a:pt x="180" y="79"/>
                    <a:pt x="180" y="79"/>
                  </a:cubicBezTo>
                  <a:cubicBezTo>
                    <a:pt x="180" y="79"/>
                    <a:pt x="165" y="68"/>
                    <a:pt x="176" y="66"/>
                  </a:cubicBezTo>
                  <a:cubicBezTo>
                    <a:pt x="187" y="64"/>
                    <a:pt x="189" y="68"/>
                    <a:pt x="189" y="68"/>
                  </a:cubicBezTo>
                  <a:cubicBezTo>
                    <a:pt x="191" y="55"/>
                    <a:pt x="191" y="55"/>
                    <a:pt x="191" y="55"/>
                  </a:cubicBezTo>
                  <a:cubicBezTo>
                    <a:pt x="196" y="54"/>
                    <a:pt x="196" y="54"/>
                    <a:pt x="196" y="54"/>
                  </a:cubicBezTo>
                  <a:cubicBezTo>
                    <a:pt x="195" y="50"/>
                    <a:pt x="192" y="44"/>
                    <a:pt x="187" y="43"/>
                  </a:cubicBezTo>
                  <a:cubicBezTo>
                    <a:pt x="176" y="43"/>
                    <a:pt x="178" y="52"/>
                    <a:pt x="171" y="55"/>
                  </a:cubicBezTo>
                  <a:cubicBezTo>
                    <a:pt x="163" y="57"/>
                    <a:pt x="166" y="43"/>
                    <a:pt x="166" y="43"/>
                  </a:cubicBezTo>
                  <a:cubicBezTo>
                    <a:pt x="154" y="44"/>
                    <a:pt x="154" y="44"/>
                    <a:pt x="154" y="44"/>
                  </a:cubicBezTo>
                  <a:cubicBezTo>
                    <a:pt x="154" y="44"/>
                    <a:pt x="150" y="44"/>
                    <a:pt x="146" y="42"/>
                  </a:cubicBezTo>
                  <a:cubicBezTo>
                    <a:pt x="142" y="39"/>
                    <a:pt x="148" y="31"/>
                    <a:pt x="153" y="29"/>
                  </a:cubicBezTo>
                  <a:cubicBezTo>
                    <a:pt x="159" y="27"/>
                    <a:pt x="154" y="19"/>
                    <a:pt x="154" y="19"/>
                  </a:cubicBezTo>
                  <a:cubicBezTo>
                    <a:pt x="150" y="19"/>
                    <a:pt x="150" y="19"/>
                    <a:pt x="150" y="19"/>
                  </a:cubicBezTo>
                  <a:cubicBezTo>
                    <a:pt x="144" y="11"/>
                    <a:pt x="144" y="11"/>
                    <a:pt x="144" y="11"/>
                  </a:cubicBezTo>
                  <a:cubicBezTo>
                    <a:pt x="134" y="8"/>
                    <a:pt x="134" y="8"/>
                    <a:pt x="134" y="8"/>
                  </a:cubicBezTo>
                  <a:cubicBezTo>
                    <a:pt x="125" y="8"/>
                    <a:pt x="125" y="8"/>
                    <a:pt x="125" y="8"/>
                  </a:cubicBezTo>
                  <a:cubicBezTo>
                    <a:pt x="125" y="8"/>
                    <a:pt x="116" y="0"/>
                    <a:pt x="109" y="1"/>
                  </a:cubicBezTo>
                  <a:cubicBezTo>
                    <a:pt x="102" y="2"/>
                    <a:pt x="107" y="14"/>
                    <a:pt x="107" y="14"/>
                  </a:cubicBezTo>
                  <a:cubicBezTo>
                    <a:pt x="103" y="10"/>
                    <a:pt x="103" y="10"/>
                    <a:pt x="103" y="10"/>
                  </a:cubicBezTo>
                  <a:lnTo>
                    <a:pt x="93" y="17"/>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3" name="Freeform 22">
              <a:extLst>
                <a:ext uri="{FF2B5EF4-FFF2-40B4-BE49-F238E27FC236}">
                  <a16:creationId xmlns:a16="http://schemas.microsoft.com/office/drawing/2014/main" id="{9B2418B8-7233-4827-89B1-C25B124B9005}"/>
                </a:ext>
              </a:extLst>
            </p:cNvPr>
            <p:cNvSpPr>
              <a:spLocks noEditPoints="1"/>
            </p:cNvSpPr>
            <p:nvPr/>
          </p:nvSpPr>
          <p:spPr bwMode="auto">
            <a:xfrm>
              <a:off x="3910317" y="3473822"/>
              <a:ext cx="1242590" cy="1315980"/>
            </a:xfrm>
            <a:custGeom>
              <a:avLst/>
              <a:gdLst>
                <a:gd name="T0" fmla="*/ 341 w 523"/>
                <a:gd name="T1" fmla="*/ 483 h 554"/>
                <a:gd name="T2" fmla="*/ 278 w 523"/>
                <a:gd name="T3" fmla="*/ 485 h 554"/>
                <a:gd name="T4" fmla="*/ 281 w 523"/>
                <a:gd name="T5" fmla="*/ 507 h 554"/>
                <a:gd name="T6" fmla="*/ 330 w 523"/>
                <a:gd name="T7" fmla="*/ 531 h 554"/>
                <a:gd name="T8" fmla="*/ 372 w 523"/>
                <a:gd name="T9" fmla="*/ 513 h 554"/>
                <a:gd name="T10" fmla="*/ 378 w 523"/>
                <a:gd name="T11" fmla="*/ 479 h 554"/>
                <a:gd name="T12" fmla="*/ 68 w 523"/>
                <a:gd name="T13" fmla="*/ 320 h 554"/>
                <a:gd name="T14" fmla="*/ 75 w 523"/>
                <a:gd name="T15" fmla="*/ 381 h 554"/>
                <a:gd name="T16" fmla="*/ 78 w 523"/>
                <a:gd name="T17" fmla="*/ 424 h 554"/>
                <a:gd name="T18" fmla="*/ 103 w 523"/>
                <a:gd name="T19" fmla="*/ 414 h 554"/>
                <a:gd name="T20" fmla="*/ 133 w 523"/>
                <a:gd name="T21" fmla="*/ 388 h 554"/>
                <a:gd name="T22" fmla="*/ 140 w 523"/>
                <a:gd name="T23" fmla="*/ 352 h 554"/>
                <a:gd name="T24" fmla="*/ 481 w 523"/>
                <a:gd name="T25" fmla="*/ 337 h 554"/>
                <a:gd name="T26" fmla="*/ 414 w 523"/>
                <a:gd name="T27" fmla="*/ 281 h 554"/>
                <a:gd name="T28" fmla="*/ 311 w 523"/>
                <a:gd name="T29" fmla="*/ 216 h 554"/>
                <a:gd name="T30" fmla="*/ 249 w 523"/>
                <a:gd name="T31" fmla="*/ 148 h 554"/>
                <a:gd name="T32" fmla="*/ 244 w 523"/>
                <a:gd name="T33" fmla="*/ 92 h 554"/>
                <a:gd name="T34" fmla="*/ 294 w 523"/>
                <a:gd name="T35" fmla="*/ 46 h 554"/>
                <a:gd name="T36" fmla="*/ 265 w 523"/>
                <a:gd name="T37" fmla="*/ 29 h 554"/>
                <a:gd name="T38" fmla="*/ 243 w 523"/>
                <a:gd name="T39" fmla="*/ 16 h 554"/>
                <a:gd name="T40" fmla="*/ 195 w 523"/>
                <a:gd name="T41" fmla="*/ 7 h 554"/>
                <a:gd name="T42" fmla="*/ 165 w 523"/>
                <a:gd name="T43" fmla="*/ 16 h 554"/>
                <a:gd name="T44" fmla="*/ 154 w 523"/>
                <a:gd name="T45" fmla="*/ 40 h 554"/>
                <a:gd name="T46" fmla="*/ 125 w 523"/>
                <a:gd name="T47" fmla="*/ 44 h 554"/>
                <a:gd name="T48" fmla="*/ 107 w 523"/>
                <a:gd name="T49" fmla="*/ 54 h 554"/>
                <a:gd name="T50" fmla="*/ 85 w 523"/>
                <a:gd name="T51" fmla="*/ 51 h 554"/>
                <a:gd name="T52" fmla="*/ 60 w 523"/>
                <a:gd name="T53" fmla="*/ 62 h 554"/>
                <a:gd name="T54" fmla="*/ 19 w 523"/>
                <a:gd name="T55" fmla="*/ 64 h 554"/>
                <a:gd name="T56" fmla="*/ 28 w 523"/>
                <a:gd name="T57" fmla="*/ 93 h 554"/>
                <a:gd name="T58" fmla="*/ 6 w 523"/>
                <a:gd name="T59" fmla="*/ 118 h 554"/>
                <a:gd name="T60" fmla="*/ 12 w 523"/>
                <a:gd name="T61" fmla="*/ 141 h 554"/>
                <a:gd name="T62" fmla="*/ 45 w 523"/>
                <a:gd name="T63" fmla="*/ 160 h 554"/>
                <a:gd name="T64" fmla="*/ 58 w 523"/>
                <a:gd name="T65" fmla="*/ 173 h 554"/>
                <a:gd name="T66" fmla="*/ 160 w 523"/>
                <a:gd name="T67" fmla="*/ 192 h 554"/>
                <a:gd name="T68" fmla="*/ 193 w 523"/>
                <a:gd name="T69" fmla="*/ 236 h 554"/>
                <a:gd name="T70" fmla="*/ 259 w 523"/>
                <a:gd name="T71" fmla="*/ 294 h 554"/>
                <a:gd name="T72" fmla="*/ 325 w 523"/>
                <a:gd name="T73" fmla="*/ 334 h 554"/>
                <a:gd name="T74" fmla="*/ 397 w 523"/>
                <a:gd name="T75" fmla="*/ 373 h 554"/>
                <a:gd name="T76" fmla="*/ 418 w 523"/>
                <a:gd name="T77" fmla="*/ 446 h 554"/>
                <a:gd name="T78" fmla="*/ 395 w 523"/>
                <a:gd name="T79" fmla="*/ 489 h 554"/>
                <a:gd name="T80" fmla="*/ 435 w 523"/>
                <a:gd name="T81" fmla="*/ 466 h 554"/>
                <a:gd name="T82" fmla="*/ 452 w 523"/>
                <a:gd name="T83" fmla="*/ 408 h 554"/>
                <a:gd name="T84" fmla="*/ 468 w 523"/>
                <a:gd name="T85" fmla="*/ 361 h 554"/>
                <a:gd name="T86" fmla="*/ 515 w 523"/>
                <a:gd name="T87" fmla="*/ 363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54">
                  <a:moveTo>
                    <a:pt x="378" y="479"/>
                  </a:moveTo>
                  <a:cubicBezTo>
                    <a:pt x="378" y="479"/>
                    <a:pt x="365" y="472"/>
                    <a:pt x="358" y="474"/>
                  </a:cubicBezTo>
                  <a:cubicBezTo>
                    <a:pt x="351" y="476"/>
                    <a:pt x="341" y="483"/>
                    <a:pt x="341" y="483"/>
                  </a:cubicBezTo>
                  <a:cubicBezTo>
                    <a:pt x="341" y="483"/>
                    <a:pt x="322" y="486"/>
                    <a:pt x="314" y="486"/>
                  </a:cubicBezTo>
                  <a:cubicBezTo>
                    <a:pt x="306" y="486"/>
                    <a:pt x="292" y="470"/>
                    <a:pt x="289" y="473"/>
                  </a:cubicBezTo>
                  <a:cubicBezTo>
                    <a:pt x="286" y="476"/>
                    <a:pt x="278" y="485"/>
                    <a:pt x="278" y="485"/>
                  </a:cubicBezTo>
                  <a:cubicBezTo>
                    <a:pt x="265" y="477"/>
                    <a:pt x="265" y="477"/>
                    <a:pt x="265" y="477"/>
                  </a:cubicBezTo>
                  <a:cubicBezTo>
                    <a:pt x="265" y="477"/>
                    <a:pt x="245" y="482"/>
                    <a:pt x="253" y="494"/>
                  </a:cubicBezTo>
                  <a:cubicBezTo>
                    <a:pt x="264" y="510"/>
                    <a:pt x="276" y="505"/>
                    <a:pt x="281" y="507"/>
                  </a:cubicBezTo>
                  <a:cubicBezTo>
                    <a:pt x="286" y="509"/>
                    <a:pt x="291" y="517"/>
                    <a:pt x="293" y="521"/>
                  </a:cubicBezTo>
                  <a:cubicBezTo>
                    <a:pt x="295" y="525"/>
                    <a:pt x="317" y="535"/>
                    <a:pt x="317" y="535"/>
                  </a:cubicBezTo>
                  <a:cubicBezTo>
                    <a:pt x="330" y="531"/>
                    <a:pt x="330" y="531"/>
                    <a:pt x="330" y="531"/>
                  </a:cubicBezTo>
                  <a:cubicBezTo>
                    <a:pt x="330" y="531"/>
                    <a:pt x="344" y="552"/>
                    <a:pt x="363" y="553"/>
                  </a:cubicBezTo>
                  <a:cubicBezTo>
                    <a:pt x="382" y="554"/>
                    <a:pt x="377" y="537"/>
                    <a:pt x="377" y="537"/>
                  </a:cubicBezTo>
                  <a:cubicBezTo>
                    <a:pt x="377" y="537"/>
                    <a:pt x="372" y="520"/>
                    <a:pt x="372" y="513"/>
                  </a:cubicBezTo>
                  <a:cubicBezTo>
                    <a:pt x="372" y="506"/>
                    <a:pt x="377" y="496"/>
                    <a:pt x="383" y="491"/>
                  </a:cubicBezTo>
                  <a:cubicBezTo>
                    <a:pt x="389" y="486"/>
                    <a:pt x="383" y="469"/>
                    <a:pt x="383" y="469"/>
                  </a:cubicBezTo>
                  <a:lnTo>
                    <a:pt x="378" y="479"/>
                  </a:lnTo>
                  <a:close/>
                  <a:moveTo>
                    <a:pt x="119" y="312"/>
                  </a:moveTo>
                  <a:cubicBezTo>
                    <a:pt x="107" y="311"/>
                    <a:pt x="95" y="332"/>
                    <a:pt x="87" y="332"/>
                  </a:cubicBezTo>
                  <a:cubicBezTo>
                    <a:pt x="79" y="332"/>
                    <a:pt x="68" y="320"/>
                    <a:pt x="68" y="320"/>
                  </a:cubicBezTo>
                  <a:cubicBezTo>
                    <a:pt x="64" y="331"/>
                    <a:pt x="64" y="331"/>
                    <a:pt x="64" y="331"/>
                  </a:cubicBezTo>
                  <a:cubicBezTo>
                    <a:pt x="64" y="331"/>
                    <a:pt x="79" y="344"/>
                    <a:pt x="79" y="354"/>
                  </a:cubicBezTo>
                  <a:cubicBezTo>
                    <a:pt x="79" y="364"/>
                    <a:pt x="75" y="381"/>
                    <a:pt x="75" y="381"/>
                  </a:cubicBezTo>
                  <a:cubicBezTo>
                    <a:pt x="81" y="388"/>
                    <a:pt x="81" y="388"/>
                    <a:pt x="81" y="388"/>
                  </a:cubicBezTo>
                  <a:cubicBezTo>
                    <a:pt x="73" y="393"/>
                    <a:pt x="73" y="393"/>
                    <a:pt x="73" y="393"/>
                  </a:cubicBezTo>
                  <a:cubicBezTo>
                    <a:pt x="78" y="424"/>
                    <a:pt x="78" y="424"/>
                    <a:pt x="78" y="424"/>
                  </a:cubicBezTo>
                  <a:cubicBezTo>
                    <a:pt x="69" y="424"/>
                    <a:pt x="69" y="424"/>
                    <a:pt x="69" y="424"/>
                  </a:cubicBezTo>
                  <a:cubicBezTo>
                    <a:pt x="82" y="435"/>
                    <a:pt x="82" y="435"/>
                    <a:pt x="82" y="435"/>
                  </a:cubicBezTo>
                  <a:cubicBezTo>
                    <a:pt x="98" y="435"/>
                    <a:pt x="103" y="414"/>
                    <a:pt x="103" y="414"/>
                  </a:cubicBezTo>
                  <a:cubicBezTo>
                    <a:pt x="103" y="414"/>
                    <a:pt x="115" y="430"/>
                    <a:pt x="124" y="423"/>
                  </a:cubicBezTo>
                  <a:cubicBezTo>
                    <a:pt x="133" y="416"/>
                    <a:pt x="129" y="398"/>
                    <a:pt x="129" y="398"/>
                  </a:cubicBezTo>
                  <a:cubicBezTo>
                    <a:pt x="133" y="388"/>
                    <a:pt x="133" y="388"/>
                    <a:pt x="133" y="388"/>
                  </a:cubicBezTo>
                  <a:cubicBezTo>
                    <a:pt x="133" y="371"/>
                    <a:pt x="133" y="371"/>
                    <a:pt x="133" y="371"/>
                  </a:cubicBezTo>
                  <a:cubicBezTo>
                    <a:pt x="133" y="371"/>
                    <a:pt x="127" y="369"/>
                    <a:pt x="128" y="364"/>
                  </a:cubicBezTo>
                  <a:cubicBezTo>
                    <a:pt x="129" y="359"/>
                    <a:pt x="140" y="359"/>
                    <a:pt x="140" y="352"/>
                  </a:cubicBezTo>
                  <a:cubicBezTo>
                    <a:pt x="140" y="345"/>
                    <a:pt x="131" y="313"/>
                    <a:pt x="119" y="312"/>
                  </a:cubicBezTo>
                  <a:close/>
                  <a:moveTo>
                    <a:pt x="515" y="363"/>
                  </a:moveTo>
                  <a:cubicBezTo>
                    <a:pt x="507" y="354"/>
                    <a:pt x="481" y="337"/>
                    <a:pt x="481" y="337"/>
                  </a:cubicBezTo>
                  <a:cubicBezTo>
                    <a:pt x="451" y="321"/>
                    <a:pt x="451" y="321"/>
                    <a:pt x="451" y="321"/>
                  </a:cubicBezTo>
                  <a:cubicBezTo>
                    <a:pt x="451" y="321"/>
                    <a:pt x="398" y="308"/>
                    <a:pt x="402" y="299"/>
                  </a:cubicBezTo>
                  <a:cubicBezTo>
                    <a:pt x="406" y="290"/>
                    <a:pt x="415" y="289"/>
                    <a:pt x="414" y="281"/>
                  </a:cubicBezTo>
                  <a:cubicBezTo>
                    <a:pt x="413" y="273"/>
                    <a:pt x="365" y="271"/>
                    <a:pt x="365" y="271"/>
                  </a:cubicBezTo>
                  <a:cubicBezTo>
                    <a:pt x="365" y="271"/>
                    <a:pt x="351" y="266"/>
                    <a:pt x="334" y="249"/>
                  </a:cubicBezTo>
                  <a:cubicBezTo>
                    <a:pt x="317" y="232"/>
                    <a:pt x="311" y="216"/>
                    <a:pt x="311" y="216"/>
                  </a:cubicBezTo>
                  <a:cubicBezTo>
                    <a:pt x="311" y="216"/>
                    <a:pt x="306" y="192"/>
                    <a:pt x="296" y="186"/>
                  </a:cubicBezTo>
                  <a:cubicBezTo>
                    <a:pt x="286" y="180"/>
                    <a:pt x="275" y="170"/>
                    <a:pt x="275" y="170"/>
                  </a:cubicBezTo>
                  <a:cubicBezTo>
                    <a:pt x="249" y="148"/>
                    <a:pt x="249" y="148"/>
                    <a:pt x="249" y="148"/>
                  </a:cubicBezTo>
                  <a:cubicBezTo>
                    <a:pt x="249" y="148"/>
                    <a:pt x="235" y="126"/>
                    <a:pt x="240" y="124"/>
                  </a:cubicBezTo>
                  <a:cubicBezTo>
                    <a:pt x="245" y="122"/>
                    <a:pt x="253" y="120"/>
                    <a:pt x="253" y="115"/>
                  </a:cubicBezTo>
                  <a:cubicBezTo>
                    <a:pt x="253" y="110"/>
                    <a:pt x="236" y="101"/>
                    <a:pt x="244" y="92"/>
                  </a:cubicBezTo>
                  <a:cubicBezTo>
                    <a:pt x="252" y="83"/>
                    <a:pt x="275" y="77"/>
                    <a:pt x="275" y="77"/>
                  </a:cubicBezTo>
                  <a:cubicBezTo>
                    <a:pt x="289" y="71"/>
                    <a:pt x="289" y="71"/>
                    <a:pt x="289" y="71"/>
                  </a:cubicBezTo>
                  <a:cubicBezTo>
                    <a:pt x="294" y="46"/>
                    <a:pt x="294" y="46"/>
                    <a:pt x="294" y="46"/>
                  </a:cubicBezTo>
                  <a:cubicBezTo>
                    <a:pt x="286" y="43"/>
                    <a:pt x="286" y="43"/>
                    <a:pt x="286" y="43"/>
                  </a:cubicBezTo>
                  <a:cubicBezTo>
                    <a:pt x="286" y="43"/>
                    <a:pt x="294" y="36"/>
                    <a:pt x="291" y="30"/>
                  </a:cubicBezTo>
                  <a:cubicBezTo>
                    <a:pt x="288" y="25"/>
                    <a:pt x="265" y="29"/>
                    <a:pt x="265" y="29"/>
                  </a:cubicBezTo>
                  <a:cubicBezTo>
                    <a:pt x="253" y="29"/>
                    <a:pt x="253" y="29"/>
                    <a:pt x="253" y="29"/>
                  </a:cubicBezTo>
                  <a:cubicBezTo>
                    <a:pt x="248" y="16"/>
                    <a:pt x="248" y="16"/>
                    <a:pt x="248" y="16"/>
                  </a:cubicBezTo>
                  <a:cubicBezTo>
                    <a:pt x="243" y="16"/>
                    <a:pt x="243" y="16"/>
                    <a:pt x="243" y="16"/>
                  </a:cubicBezTo>
                  <a:cubicBezTo>
                    <a:pt x="243" y="16"/>
                    <a:pt x="242" y="2"/>
                    <a:pt x="233" y="1"/>
                  </a:cubicBezTo>
                  <a:cubicBezTo>
                    <a:pt x="223" y="0"/>
                    <a:pt x="222" y="9"/>
                    <a:pt x="222" y="9"/>
                  </a:cubicBezTo>
                  <a:cubicBezTo>
                    <a:pt x="195" y="7"/>
                    <a:pt x="195" y="7"/>
                    <a:pt x="195" y="7"/>
                  </a:cubicBezTo>
                  <a:cubicBezTo>
                    <a:pt x="185" y="19"/>
                    <a:pt x="185" y="19"/>
                    <a:pt x="185" y="19"/>
                  </a:cubicBezTo>
                  <a:cubicBezTo>
                    <a:pt x="179" y="15"/>
                    <a:pt x="179" y="15"/>
                    <a:pt x="179" y="15"/>
                  </a:cubicBezTo>
                  <a:cubicBezTo>
                    <a:pt x="165" y="16"/>
                    <a:pt x="165" y="16"/>
                    <a:pt x="165" y="16"/>
                  </a:cubicBezTo>
                  <a:cubicBezTo>
                    <a:pt x="163" y="29"/>
                    <a:pt x="163" y="29"/>
                    <a:pt x="163" y="29"/>
                  </a:cubicBezTo>
                  <a:cubicBezTo>
                    <a:pt x="163" y="29"/>
                    <a:pt x="161" y="25"/>
                    <a:pt x="150" y="27"/>
                  </a:cubicBezTo>
                  <a:cubicBezTo>
                    <a:pt x="139" y="29"/>
                    <a:pt x="154" y="40"/>
                    <a:pt x="154" y="40"/>
                  </a:cubicBezTo>
                  <a:cubicBezTo>
                    <a:pt x="149" y="46"/>
                    <a:pt x="149" y="46"/>
                    <a:pt x="149" y="46"/>
                  </a:cubicBezTo>
                  <a:cubicBezTo>
                    <a:pt x="138" y="41"/>
                    <a:pt x="138" y="41"/>
                    <a:pt x="138" y="41"/>
                  </a:cubicBezTo>
                  <a:cubicBezTo>
                    <a:pt x="125" y="44"/>
                    <a:pt x="125" y="44"/>
                    <a:pt x="125" y="44"/>
                  </a:cubicBezTo>
                  <a:cubicBezTo>
                    <a:pt x="118" y="32"/>
                    <a:pt x="118" y="32"/>
                    <a:pt x="118" y="32"/>
                  </a:cubicBezTo>
                  <a:cubicBezTo>
                    <a:pt x="113" y="48"/>
                    <a:pt x="113" y="48"/>
                    <a:pt x="113" y="48"/>
                  </a:cubicBezTo>
                  <a:cubicBezTo>
                    <a:pt x="107" y="54"/>
                    <a:pt x="107" y="54"/>
                    <a:pt x="107" y="54"/>
                  </a:cubicBezTo>
                  <a:cubicBezTo>
                    <a:pt x="106" y="69"/>
                    <a:pt x="106" y="69"/>
                    <a:pt x="106" y="69"/>
                  </a:cubicBezTo>
                  <a:cubicBezTo>
                    <a:pt x="90" y="52"/>
                    <a:pt x="90" y="52"/>
                    <a:pt x="90" y="52"/>
                  </a:cubicBezTo>
                  <a:cubicBezTo>
                    <a:pt x="85" y="51"/>
                    <a:pt x="85" y="51"/>
                    <a:pt x="85" y="51"/>
                  </a:cubicBezTo>
                  <a:cubicBezTo>
                    <a:pt x="85" y="51"/>
                    <a:pt x="81" y="36"/>
                    <a:pt x="77" y="36"/>
                  </a:cubicBezTo>
                  <a:cubicBezTo>
                    <a:pt x="73" y="36"/>
                    <a:pt x="66" y="42"/>
                    <a:pt x="66" y="42"/>
                  </a:cubicBezTo>
                  <a:cubicBezTo>
                    <a:pt x="66" y="42"/>
                    <a:pt x="70" y="53"/>
                    <a:pt x="60" y="62"/>
                  </a:cubicBezTo>
                  <a:cubicBezTo>
                    <a:pt x="50" y="70"/>
                    <a:pt x="45" y="57"/>
                    <a:pt x="40" y="57"/>
                  </a:cubicBezTo>
                  <a:cubicBezTo>
                    <a:pt x="35" y="57"/>
                    <a:pt x="26" y="64"/>
                    <a:pt x="26" y="64"/>
                  </a:cubicBezTo>
                  <a:cubicBezTo>
                    <a:pt x="19" y="64"/>
                    <a:pt x="19" y="64"/>
                    <a:pt x="19" y="64"/>
                  </a:cubicBezTo>
                  <a:cubicBezTo>
                    <a:pt x="19" y="68"/>
                    <a:pt x="9" y="72"/>
                    <a:pt x="9" y="72"/>
                  </a:cubicBezTo>
                  <a:cubicBezTo>
                    <a:pt x="17" y="80"/>
                    <a:pt x="17" y="80"/>
                    <a:pt x="17" y="80"/>
                  </a:cubicBezTo>
                  <a:cubicBezTo>
                    <a:pt x="17" y="80"/>
                    <a:pt x="28" y="84"/>
                    <a:pt x="28" y="93"/>
                  </a:cubicBezTo>
                  <a:cubicBezTo>
                    <a:pt x="28" y="102"/>
                    <a:pt x="9" y="103"/>
                    <a:pt x="9" y="103"/>
                  </a:cubicBezTo>
                  <a:cubicBezTo>
                    <a:pt x="0" y="105"/>
                    <a:pt x="0" y="105"/>
                    <a:pt x="0" y="105"/>
                  </a:cubicBezTo>
                  <a:cubicBezTo>
                    <a:pt x="6" y="118"/>
                    <a:pt x="6" y="118"/>
                    <a:pt x="6" y="118"/>
                  </a:cubicBezTo>
                  <a:cubicBezTo>
                    <a:pt x="13" y="118"/>
                    <a:pt x="13" y="118"/>
                    <a:pt x="13" y="118"/>
                  </a:cubicBezTo>
                  <a:cubicBezTo>
                    <a:pt x="13" y="118"/>
                    <a:pt x="17" y="121"/>
                    <a:pt x="18" y="126"/>
                  </a:cubicBezTo>
                  <a:cubicBezTo>
                    <a:pt x="19" y="131"/>
                    <a:pt x="13" y="131"/>
                    <a:pt x="12" y="141"/>
                  </a:cubicBezTo>
                  <a:cubicBezTo>
                    <a:pt x="11" y="151"/>
                    <a:pt x="25" y="152"/>
                    <a:pt x="25" y="152"/>
                  </a:cubicBezTo>
                  <a:cubicBezTo>
                    <a:pt x="28" y="158"/>
                    <a:pt x="28" y="158"/>
                    <a:pt x="28" y="158"/>
                  </a:cubicBezTo>
                  <a:cubicBezTo>
                    <a:pt x="28" y="158"/>
                    <a:pt x="42" y="156"/>
                    <a:pt x="45" y="160"/>
                  </a:cubicBezTo>
                  <a:cubicBezTo>
                    <a:pt x="48" y="164"/>
                    <a:pt x="42" y="174"/>
                    <a:pt x="38" y="174"/>
                  </a:cubicBezTo>
                  <a:cubicBezTo>
                    <a:pt x="36" y="174"/>
                    <a:pt x="35" y="176"/>
                    <a:pt x="35" y="179"/>
                  </a:cubicBezTo>
                  <a:cubicBezTo>
                    <a:pt x="44" y="178"/>
                    <a:pt x="54" y="177"/>
                    <a:pt x="58" y="173"/>
                  </a:cubicBezTo>
                  <a:cubicBezTo>
                    <a:pt x="65" y="166"/>
                    <a:pt x="83" y="145"/>
                    <a:pt x="93" y="145"/>
                  </a:cubicBezTo>
                  <a:cubicBezTo>
                    <a:pt x="103" y="145"/>
                    <a:pt x="132" y="152"/>
                    <a:pt x="144" y="162"/>
                  </a:cubicBezTo>
                  <a:cubicBezTo>
                    <a:pt x="156" y="172"/>
                    <a:pt x="160" y="192"/>
                    <a:pt x="160" y="192"/>
                  </a:cubicBezTo>
                  <a:cubicBezTo>
                    <a:pt x="168" y="200"/>
                    <a:pt x="168" y="200"/>
                    <a:pt x="168" y="200"/>
                  </a:cubicBezTo>
                  <a:cubicBezTo>
                    <a:pt x="168" y="200"/>
                    <a:pt x="160" y="221"/>
                    <a:pt x="169" y="226"/>
                  </a:cubicBezTo>
                  <a:cubicBezTo>
                    <a:pt x="178" y="231"/>
                    <a:pt x="193" y="236"/>
                    <a:pt x="193" y="236"/>
                  </a:cubicBezTo>
                  <a:cubicBezTo>
                    <a:pt x="197" y="249"/>
                    <a:pt x="197" y="249"/>
                    <a:pt x="197" y="249"/>
                  </a:cubicBezTo>
                  <a:cubicBezTo>
                    <a:pt x="217" y="250"/>
                    <a:pt x="217" y="250"/>
                    <a:pt x="217" y="250"/>
                  </a:cubicBezTo>
                  <a:cubicBezTo>
                    <a:pt x="217" y="250"/>
                    <a:pt x="250" y="284"/>
                    <a:pt x="259" y="294"/>
                  </a:cubicBezTo>
                  <a:cubicBezTo>
                    <a:pt x="268" y="304"/>
                    <a:pt x="276" y="313"/>
                    <a:pt x="276" y="313"/>
                  </a:cubicBezTo>
                  <a:cubicBezTo>
                    <a:pt x="303" y="314"/>
                    <a:pt x="303" y="314"/>
                    <a:pt x="303" y="314"/>
                  </a:cubicBezTo>
                  <a:cubicBezTo>
                    <a:pt x="303" y="314"/>
                    <a:pt x="310" y="329"/>
                    <a:pt x="325" y="334"/>
                  </a:cubicBezTo>
                  <a:cubicBezTo>
                    <a:pt x="340" y="339"/>
                    <a:pt x="359" y="335"/>
                    <a:pt x="362" y="342"/>
                  </a:cubicBezTo>
                  <a:cubicBezTo>
                    <a:pt x="365" y="349"/>
                    <a:pt x="366" y="372"/>
                    <a:pt x="379" y="375"/>
                  </a:cubicBezTo>
                  <a:cubicBezTo>
                    <a:pt x="392" y="378"/>
                    <a:pt x="397" y="373"/>
                    <a:pt x="397" y="373"/>
                  </a:cubicBezTo>
                  <a:cubicBezTo>
                    <a:pt x="397" y="373"/>
                    <a:pt x="400" y="392"/>
                    <a:pt x="402" y="406"/>
                  </a:cubicBezTo>
                  <a:cubicBezTo>
                    <a:pt x="404" y="420"/>
                    <a:pt x="417" y="419"/>
                    <a:pt x="417" y="429"/>
                  </a:cubicBezTo>
                  <a:cubicBezTo>
                    <a:pt x="417" y="439"/>
                    <a:pt x="418" y="446"/>
                    <a:pt x="418" y="446"/>
                  </a:cubicBezTo>
                  <a:cubicBezTo>
                    <a:pt x="405" y="445"/>
                    <a:pt x="405" y="445"/>
                    <a:pt x="405" y="445"/>
                  </a:cubicBezTo>
                  <a:cubicBezTo>
                    <a:pt x="404" y="460"/>
                    <a:pt x="404" y="460"/>
                    <a:pt x="404" y="460"/>
                  </a:cubicBezTo>
                  <a:cubicBezTo>
                    <a:pt x="404" y="460"/>
                    <a:pt x="384" y="489"/>
                    <a:pt x="395" y="489"/>
                  </a:cubicBezTo>
                  <a:cubicBezTo>
                    <a:pt x="406" y="489"/>
                    <a:pt x="414" y="483"/>
                    <a:pt x="414" y="483"/>
                  </a:cubicBezTo>
                  <a:cubicBezTo>
                    <a:pt x="422" y="468"/>
                    <a:pt x="422" y="468"/>
                    <a:pt x="422" y="468"/>
                  </a:cubicBezTo>
                  <a:cubicBezTo>
                    <a:pt x="435" y="466"/>
                    <a:pt x="435" y="466"/>
                    <a:pt x="435" y="466"/>
                  </a:cubicBezTo>
                  <a:cubicBezTo>
                    <a:pt x="435" y="466"/>
                    <a:pt x="432" y="444"/>
                    <a:pt x="436" y="441"/>
                  </a:cubicBezTo>
                  <a:cubicBezTo>
                    <a:pt x="440" y="438"/>
                    <a:pt x="461" y="432"/>
                    <a:pt x="461" y="432"/>
                  </a:cubicBezTo>
                  <a:cubicBezTo>
                    <a:pt x="461" y="432"/>
                    <a:pt x="456" y="412"/>
                    <a:pt x="452" y="408"/>
                  </a:cubicBezTo>
                  <a:cubicBezTo>
                    <a:pt x="448" y="404"/>
                    <a:pt x="430" y="399"/>
                    <a:pt x="431" y="392"/>
                  </a:cubicBezTo>
                  <a:cubicBezTo>
                    <a:pt x="432" y="385"/>
                    <a:pt x="445" y="351"/>
                    <a:pt x="453" y="354"/>
                  </a:cubicBezTo>
                  <a:cubicBezTo>
                    <a:pt x="461" y="357"/>
                    <a:pt x="468" y="361"/>
                    <a:pt x="468" y="361"/>
                  </a:cubicBezTo>
                  <a:cubicBezTo>
                    <a:pt x="488" y="361"/>
                    <a:pt x="488" y="361"/>
                    <a:pt x="488" y="361"/>
                  </a:cubicBezTo>
                  <a:cubicBezTo>
                    <a:pt x="488" y="361"/>
                    <a:pt x="491" y="384"/>
                    <a:pt x="505" y="385"/>
                  </a:cubicBezTo>
                  <a:cubicBezTo>
                    <a:pt x="519" y="386"/>
                    <a:pt x="523" y="372"/>
                    <a:pt x="515" y="363"/>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4" name="Freeform 23">
              <a:extLst>
                <a:ext uri="{FF2B5EF4-FFF2-40B4-BE49-F238E27FC236}">
                  <a16:creationId xmlns:a16="http://schemas.microsoft.com/office/drawing/2014/main" id="{690E0851-A7F9-4F87-92AE-22C41BDA7F8A}"/>
                </a:ext>
              </a:extLst>
            </p:cNvPr>
            <p:cNvSpPr>
              <a:spLocks/>
            </p:cNvSpPr>
            <p:nvPr/>
          </p:nvSpPr>
          <p:spPr bwMode="auto">
            <a:xfrm>
              <a:off x="4461239" y="2984224"/>
              <a:ext cx="665530" cy="313664"/>
            </a:xfrm>
            <a:custGeom>
              <a:avLst/>
              <a:gdLst>
                <a:gd name="T0" fmla="*/ 268 w 280"/>
                <a:gd name="T1" fmla="*/ 67 h 132"/>
                <a:gd name="T2" fmla="*/ 255 w 280"/>
                <a:gd name="T3" fmla="*/ 60 h 132"/>
                <a:gd name="T4" fmla="*/ 240 w 280"/>
                <a:gd name="T5" fmla="*/ 57 h 132"/>
                <a:gd name="T6" fmla="*/ 219 w 280"/>
                <a:gd name="T7" fmla="*/ 42 h 132"/>
                <a:gd name="T8" fmla="*/ 196 w 280"/>
                <a:gd name="T9" fmla="*/ 47 h 132"/>
                <a:gd name="T10" fmla="*/ 177 w 280"/>
                <a:gd name="T11" fmla="*/ 35 h 132"/>
                <a:gd name="T12" fmla="*/ 178 w 280"/>
                <a:gd name="T13" fmla="*/ 28 h 132"/>
                <a:gd name="T14" fmla="*/ 159 w 280"/>
                <a:gd name="T15" fmla="*/ 24 h 132"/>
                <a:gd name="T16" fmla="*/ 132 w 280"/>
                <a:gd name="T17" fmla="*/ 13 h 132"/>
                <a:gd name="T18" fmla="*/ 116 w 280"/>
                <a:gd name="T19" fmla="*/ 2 h 132"/>
                <a:gd name="T20" fmla="*/ 108 w 280"/>
                <a:gd name="T21" fmla="*/ 11 h 132"/>
                <a:gd name="T22" fmla="*/ 87 w 280"/>
                <a:gd name="T23" fmla="*/ 11 h 132"/>
                <a:gd name="T24" fmla="*/ 72 w 280"/>
                <a:gd name="T25" fmla="*/ 19 h 132"/>
                <a:gd name="T26" fmla="*/ 56 w 280"/>
                <a:gd name="T27" fmla="*/ 24 h 132"/>
                <a:gd name="T28" fmla="*/ 38 w 280"/>
                <a:gd name="T29" fmla="*/ 36 h 132"/>
                <a:gd name="T30" fmla="*/ 21 w 280"/>
                <a:gd name="T31" fmla="*/ 36 h 132"/>
                <a:gd name="T32" fmla="*/ 11 w 280"/>
                <a:gd name="T33" fmla="*/ 42 h 132"/>
                <a:gd name="T34" fmla="*/ 5 w 280"/>
                <a:gd name="T35" fmla="*/ 50 h 132"/>
                <a:gd name="T36" fmla="*/ 17 w 280"/>
                <a:gd name="T37" fmla="*/ 60 h 132"/>
                <a:gd name="T38" fmla="*/ 19 w 280"/>
                <a:gd name="T39" fmla="*/ 74 h 132"/>
                <a:gd name="T40" fmla="*/ 27 w 280"/>
                <a:gd name="T41" fmla="*/ 82 h 132"/>
                <a:gd name="T42" fmla="*/ 42 w 280"/>
                <a:gd name="T43" fmla="*/ 90 h 132"/>
                <a:gd name="T44" fmla="*/ 49 w 280"/>
                <a:gd name="T45" fmla="*/ 98 h 132"/>
                <a:gd name="T46" fmla="*/ 65 w 280"/>
                <a:gd name="T47" fmla="*/ 108 h 132"/>
                <a:gd name="T48" fmla="*/ 87 w 280"/>
                <a:gd name="T49" fmla="*/ 131 h 132"/>
                <a:gd name="T50" fmla="*/ 110 w 280"/>
                <a:gd name="T51" fmla="*/ 132 h 132"/>
                <a:gd name="T52" fmla="*/ 115 w 280"/>
                <a:gd name="T53" fmla="*/ 119 h 132"/>
                <a:gd name="T54" fmla="*/ 142 w 280"/>
                <a:gd name="T55" fmla="*/ 112 h 132"/>
                <a:gd name="T56" fmla="*/ 158 w 280"/>
                <a:gd name="T57" fmla="*/ 113 h 132"/>
                <a:gd name="T58" fmla="*/ 173 w 280"/>
                <a:gd name="T59" fmla="*/ 120 h 132"/>
                <a:gd name="T60" fmla="*/ 200 w 280"/>
                <a:gd name="T61" fmla="*/ 123 h 132"/>
                <a:gd name="T62" fmla="*/ 221 w 280"/>
                <a:gd name="T63" fmla="*/ 116 h 132"/>
                <a:gd name="T64" fmla="*/ 255 w 280"/>
                <a:gd name="T65" fmla="*/ 105 h 132"/>
                <a:gd name="T66" fmla="*/ 269 w 280"/>
                <a:gd name="T67" fmla="*/ 86 h 132"/>
                <a:gd name="T68" fmla="*/ 275 w 280"/>
                <a:gd name="T69" fmla="*/ 7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0" h="132">
                  <a:moveTo>
                    <a:pt x="275" y="73"/>
                  </a:moveTo>
                  <a:cubicBezTo>
                    <a:pt x="268" y="67"/>
                    <a:pt x="268" y="67"/>
                    <a:pt x="268" y="67"/>
                  </a:cubicBezTo>
                  <a:cubicBezTo>
                    <a:pt x="269" y="62"/>
                    <a:pt x="269" y="62"/>
                    <a:pt x="269" y="62"/>
                  </a:cubicBezTo>
                  <a:cubicBezTo>
                    <a:pt x="269" y="62"/>
                    <a:pt x="259" y="60"/>
                    <a:pt x="255" y="60"/>
                  </a:cubicBezTo>
                  <a:cubicBezTo>
                    <a:pt x="251" y="60"/>
                    <a:pt x="247" y="51"/>
                    <a:pt x="247" y="51"/>
                  </a:cubicBezTo>
                  <a:cubicBezTo>
                    <a:pt x="240" y="57"/>
                    <a:pt x="240" y="57"/>
                    <a:pt x="240" y="57"/>
                  </a:cubicBezTo>
                  <a:cubicBezTo>
                    <a:pt x="240" y="57"/>
                    <a:pt x="235" y="44"/>
                    <a:pt x="227" y="43"/>
                  </a:cubicBezTo>
                  <a:cubicBezTo>
                    <a:pt x="219" y="42"/>
                    <a:pt x="219" y="42"/>
                    <a:pt x="219" y="42"/>
                  </a:cubicBezTo>
                  <a:cubicBezTo>
                    <a:pt x="219" y="42"/>
                    <a:pt x="224" y="35"/>
                    <a:pt x="211" y="39"/>
                  </a:cubicBezTo>
                  <a:cubicBezTo>
                    <a:pt x="198" y="43"/>
                    <a:pt x="196" y="47"/>
                    <a:pt x="196" y="47"/>
                  </a:cubicBezTo>
                  <a:cubicBezTo>
                    <a:pt x="196" y="47"/>
                    <a:pt x="185" y="45"/>
                    <a:pt x="181" y="43"/>
                  </a:cubicBezTo>
                  <a:cubicBezTo>
                    <a:pt x="177" y="41"/>
                    <a:pt x="177" y="35"/>
                    <a:pt x="177" y="35"/>
                  </a:cubicBezTo>
                  <a:cubicBezTo>
                    <a:pt x="171" y="32"/>
                    <a:pt x="171" y="32"/>
                    <a:pt x="171" y="32"/>
                  </a:cubicBezTo>
                  <a:cubicBezTo>
                    <a:pt x="178" y="28"/>
                    <a:pt x="178" y="28"/>
                    <a:pt x="178" y="28"/>
                  </a:cubicBezTo>
                  <a:cubicBezTo>
                    <a:pt x="175" y="23"/>
                    <a:pt x="175" y="23"/>
                    <a:pt x="175" y="23"/>
                  </a:cubicBezTo>
                  <a:cubicBezTo>
                    <a:pt x="175" y="23"/>
                    <a:pt x="162" y="24"/>
                    <a:pt x="159" y="24"/>
                  </a:cubicBezTo>
                  <a:cubicBezTo>
                    <a:pt x="156" y="24"/>
                    <a:pt x="158" y="18"/>
                    <a:pt x="146" y="14"/>
                  </a:cubicBezTo>
                  <a:cubicBezTo>
                    <a:pt x="134" y="10"/>
                    <a:pt x="132" y="13"/>
                    <a:pt x="132" y="13"/>
                  </a:cubicBezTo>
                  <a:cubicBezTo>
                    <a:pt x="129" y="4"/>
                    <a:pt x="129" y="4"/>
                    <a:pt x="129" y="4"/>
                  </a:cubicBezTo>
                  <a:cubicBezTo>
                    <a:pt x="116" y="2"/>
                    <a:pt x="116" y="2"/>
                    <a:pt x="116" y="2"/>
                  </a:cubicBezTo>
                  <a:cubicBezTo>
                    <a:pt x="116" y="2"/>
                    <a:pt x="116" y="2"/>
                    <a:pt x="116" y="2"/>
                  </a:cubicBezTo>
                  <a:cubicBezTo>
                    <a:pt x="114" y="6"/>
                    <a:pt x="111" y="11"/>
                    <a:pt x="108" y="11"/>
                  </a:cubicBezTo>
                  <a:cubicBezTo>
                    <a:pt x="103" y="12"/>
                    <a:pt x="98" y="0"/>
                    <a:pt x="96" y="1"/>
                  </a:cubicBezTo>
                  <a:cubicBezTo>
                    <a:pt x="94" y="2"/>
                    <a:pt x="89" y="8"/>
                    <a:pt x="87" y="11"/>
                  </a:cubicBezTo>
                  <a:cubicBezTo>
                    <a:pt x="84" y="14"/>
                    <a:pt x="73" y="13"/>
                    <a:pt x="73" y="13"/>
                  </a:cubicBezTo>
                  <a:cubicBezTo>
                    <a:pt x="73" y="13"/>
                    <a:pt x="75" y="18"/>
                    <a:pt x="72" y="19"/>
                  </a:cubicBezTo>
                  <a:cubicBezTo>
                    <a:pt x="69" y="20"/>
                    <a:pt x="58" y="20"/>
                    <a:pt x="58" y="20"/>
                  </a:cubicBezTo>
                  <a:cubicBezTo>
                    <a:pt x="56" y="24"/>
                    <a:pt x="56" y="24"/>
                    <a:pt x="56" y="24"/>
                  </a:cubicBezTo>
                  <a:cubicBezTo>
                    <a:pt x="45" y="27"/>
                    <a:pt x="45" y="27"/>
                    <a:pt x="45" y="27"/>
                  </a:cubicBezTo>
                  <a:cubicBezTo>
                    <a:pt x="38" y="36"/>
                    <a:pt x="38" y="36"/>
                    <a:pt x="38" y="36"/>
                  </a:cubicBezTo>
                  <a:cubicBezTo>
                    <a:pt x="38" y="36"/>
                    <a:pt x="40" y="32"/>
                    <a:pt x="31" y="30"/>
                  </a:cubicBezTo>
                  <a:cubicBezTo>
                    <a:pt x="23" y="28"/>
                    <a:pt x="21" y="36"/>
                    <a:pt x="21" y="36"/>
                  </a:cubicBezTo>
                  <a:cubicBezTo>
                    <a:pt x="14" y="36"/>
                    <a:pt x="14" y="36"/>
                    <a:pt x="14" y="36"/>
                  </a:cubicBezTo>
                  <a:cubicBezTo>
                    <a:pt x="14" y="36"/>
                    <a:pt x="15" y="41"/>
                    <a:pt x="11" y="42"/>
                  </a:cubicBezTo>
                  <a:cubicBezTo>
                    <a:pt x="7" y="42"/>
                    <a:pt x="7" y="36"/>
                    <a:pt x="3" y="38"/>
                  </a:cubicBezTo>
                  <a:cubicBezTo>
                    <a:pt x="0" y="41"/>
                    <a:pt x="5" y="50"/>
                    <a:pt x="5" y="50"/>
                  </a:cubicBezTo>
                  <a:cubicBezTo>
                    <a:pt x="11" y="51"/>
                    <a:pt x="11" y="51"/>
                    <a:pt x="11" y="51"/>
                  </a:cubicBezTo>
                  <a:cubicBezTo>
                    <a:pt x="17" y="60"/>
                    <a:pt x="17" y="60"/>
                    <a:pt x="17" y="60"/>
                  </a:cubicBezTo>
                  <a:cubicBezTo>
                    <a:pt x="17" y="60"/>
                    <a:pt x="9" y="64"/>
                    <a:pt x="10" y="66"/>
                  </a:cubicBezTo>
                  <a:cubicBezTo>
                    <a:pt x="11" y="68"/>
                    <a:pt x="19" y="74"/>
                    <a:pt x="19" y="74"/>
                  </a:cubicBezTo>
                  <a:cubicBezTo>
                    <a:pt x="21" y="80"/>
                    <a:pt x="21" y="80"/>
                    <a:pt x="21" y="80"/>
                  </a:cubicBezTo>
                  <a:cubicBezTo>
                    <a:pt x="27" y="82"/>
                    <a:pt x="27" y="82"/>
                    <a:pt x="27" y="82"/>
                  </a:cubicBezTo>
                  <a:cubicBezTo>
                    <a:pt x="27" y="82"/>
                    <a:pt x="21" y="87"/>
                    <a:pt x="29" y="88"/>
                  </a:cubicBezTo>
                  <a:cubicBezTo>
                    <a:pt x="36" y="88"/>
                    <a:pt x="42" y="90"/>
                    <a:pt x="42" y="90"/>
                  </a:cubicBezTo>
                  <a:cubicBezTo>
                    <a:pt x="45" y="98"/>
                    <a:pt x="45" y="98"/>
                    <a:pt x="45" y="98"/>
                  </a:cubicBezTo>
                  <a:cubicBezTo>
                    <a:pt x="49" y="98"/>
                    <a:pt x="49" y="98"/>
                    <a:pt x="49" y="98"/>
                  </a:cubicBezTo>
                  <a:cubicBezTo>
                    <a:pt x="55" y="107"/>
                    <a:pt x="55" y="107"/>
                    <a:pt x="55" y="107"/>
                  </a:cubicBezTo>
                  <a:cubicBezTo>
                    <a:pt x="55" y="107"/>
                    <a:pt x="60" y="105"/>
                    <a:pt x="65" y="108"/>
                  </a:cubicBezTo>
                  <a:cubicBezTo>
                    <a:pt x="71" y="112"/>
                    <a:pt x="72" y="119"/>
                    <a:pt x="72" y="119"/>
                  </a:cubicBezTo>
                  <a:cubicBezTo>
                    <a:pt x="72" y="119"/>
                    <a:pt x="80" y="131"/>
                    <a:pt x="87" y="131"/>
                  </a:cubicBezTo>
                  <a:cubicBezTo>
                    <a:pt x="95" y="131"/>
                    <a:pt x="101" y="127"/>
                    <a:pt x="101" y="127"/>
                  </a:cubicBezTo>
                  <a:cubicBezTo>
                    <a:pt x="110" y="132"/>
                    <a:pt x="110" y="132"/>
                    <a:pt x="110" y="132"/>
                  </a:cubicBezTo>
                  <a:cubicBezTo>
                    <a:pt x="111" y="120"/>
                    <a:pt x="111" y="120"/>
                    <a:pt x="111" y="120"/>
                  </a:cubicBezTo>
                  <a:cubicBezTo>
                    <a:pt x="115" y="119"/>
                    <a:pt x="115" y="119"/>
                    <a:pt x="115" y="119"/>
                  </a:cubicBezTo>
                  <a:cubicBezTo>
                    <a:pt x="115" y="119"/>
                    <a:pt x="122" y="106"/>
                    <a:pt x="125" y="105"/>
                  </a:cubicBezTo>
                  <a:cubicBezTo>
                    <a:pt x="129" y="104"/>
                    <a:pt x="142" y="112"/>
                    <a:pt x="142" y="112"/>
                  </a:cubicBezTo>
                  <a:cubicBezTo>
                    <a:pt x="151" y="118"/>
                    <a:pt x="151" y="118"/>
                    <a:pt x="151" y="118"/>
                  </a:cubicBezTo>
                  <a:cubicBezTo>
                    <a:pt x="158" y="113"/>
                    <a:pt x="158" y="113"/>
                    <a:pt x="158" y="113"/>
                  </a:cubicBezTo>
                  <a:cubicBezTo>
                    <a:pt x="165" y="121"/>
                    <a:pt x="165" y="121"/>
                    <a:pt x="165" y="121"/>
                  </a:cubicBezTo>
                  <a:cubicBezTo>
                    <a:pt x="173" y="120"/>
                    <a:pt x="173" y="120"/>
                    <a:pt x="173" y="120"/>
                  </a:cubicBezTo>
                  <a:cubicBezTo>
                    <a:pt x="173" y="120"/>
                    <a:pt x="177" y="113"/>
                    <a:pt x="184" y="115"/>
                  </a:cubicBezTo>
                  <a:cubicBezTo>
                    <a:pt x="192" y="118"/>
                    <a:pt x="200" y="123"/>
                    <a:pt x="200" y="123"/>
                  </a:cubicBezTo>
                  <a:cubicBezTo>
                    <a:pt x="200" y="123"/>
                    <a:pt x="205" y="119"/>
                    <a:pt x="209" y="118"/>
                  </a:cubicBezTo>
                  <a:cubicBezTo>
                    <a:pt x="212" y="117"/>
                    <a:pt x="218" y="117"/>
                    <a:pt x="221" y="116"/>
                  </a:cubicBezTo>
                  <a:cubicBezTo>
                    <a:pt x="222" y="118"/>
                    <a:pt x="228" y="120"/>
                    <a:pt x="233" y="117"/>
                  </a:cubicBezTo>
                  <a:cubicBezTo>
                    <a:pt x="240" y="112"/>
                    <a:pt x="255" y="105"/>
                    <a:pt x="255" y="105"/>
                  </a:cubicBezTo>
                  <a:cubicBezTo>
                    <a:pt x="255" y="92"/>
                    <a:pt x="255" y="92"/>
                    <a:pt x="255" y="92"/>
                  </a:cubicBezTo>
                  <a:cubicBezTo>
                    <a:pt x="269" y="86"/>
                    <a:pt x="269" y="86"/>
                    <a:pt x="269" y="86"/>
                  </a:cubicBezTo>
                  <a:cubicBezTo>
                    <a:pt x="280" y="79"/>
                    <a:pt x="280" y="79"/>
                    <a:pt x="280" y="79"/>
                  </a:cubicBezTo>
                  <a:cubicBezTo>
                    <a:pt x="277" y="76"/>
                    <a:pt x="275" y="73"/>
                    <a:pt x="275" y="73"/>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5" name="Freeform 24">
              <a:extLst>
                <a:ext uri="{FF2B5EF4-FFF2-40B4-BE49-F238E27FC236}">
                  <a16:creationId xmlns:a16="http://schemas.microsoft.com/office/drawing/2014/main" id="{D65AF7EE-19B7-4507-853F-6FF944ABC98F}"/>
                </a:ext>
              </a:extLst>
            </p:cNvPr>
            <p:cNvSpPr>
              <a:spLocks/>
            </p:cNvSpPr>
            <p:nvPr/>
          </p:nvSpPr>
          <p:spPr bwMode="auto">
            <a:xfrm>
              <a:off x="4649236" y="2525793"/>
              <a:ext cx="995278" cy="714791"/>
            </a:xfrm>
            <a:custGeom>
              <a:avLst/>
              <a:gdLst>
                <a:gd name="T0" fmla="*/ 312 w 419"/>
                <a:gd name="T1" fmla="*/ 276 h 301"/>
                <a:gd name="T2" fmla="*/ 351 w 419"/>
                <a:gd name="T3" fmla="*/ 293 h 301"/>
                <a:gd name="T4" fmla="*/ 371 w 419"/>
                <a:gd name="T5" fmla="*/ 301 h 301"/>
                <a:gd name="T6" fmla="*/ 364 w 419"/>
                <a:gd name="T7" fmla="*/ 265 h 301"/>
                <a:gd name="T8" fmla="*/ 417 w 419"/>
                <a:gd name="T9" fmla="*/ 224 h 301"/>
                <a:gd name="T10" fmla="*/ 416 w 419"/>
                <a:gd name="T11" fmla="*/ 203 h 301"/>
                <a:gd name="T12" fmla="*/ 390 w 419"/>
                <a:gd name="T13" fmla="*/ 180 h 301"/>
                <a:gd name="T14" fmla="*/ 389 w 419"/>
                <a:gd name="T15" fmla="*/ 167 h 301"/>
                <a:gd name="T16" fmla="*/ 387 w 419"/>
                <a:gd name="T17" fmla="*/ 140 h 301"/>
                <a:gd name="T18" fmla="*/ 379 w 419"/>
                <a:gd name="T19" fmla="*/ 123 h 301"/>
                <a:gd name="T20" fmla="*/ 394 w 419"/>
                <a:gd name="T21" fmla="*/ 106 h 301"/>
                <a:gd name="T22" fmla="*/ 392 w 419"/>
                <a:gd name="T23" fmla="*/ 78 h 301"/>
                <a:gd name="T24" fmla="*/ 373 w 419"/>
                <a:gd name="T25" fmla="*/ 46 h 301"/>
                <a:gd name="T26" fmla="*/ 344 w 419"/>
                <a:gd name="T27" fmla="*/ 22 h 301"/>
                <a:gd name="T28" fmla="*/ 313 w 419"/>
                <a:gd name="T29" fmla="*/ 26 h 301"/>
                <a:gd name="T30" fmla="*/ 257 w 419"/>
                <a:gd name="T31" fmla="*/ 20 h 301"/>
                <a:gd name="T32" fmla="*/ 231 w 419"/>
                <a:gd name="T33" fmla="*/ 18 h 301"/>
                <a:gd name="T34" fmla="*/ 189 w 419"/>
                <a:gd name="T35" fmla="*/ 22 h 301"/>
                <a:gd name="T36" fmla="*/ 149 w 419"/>
                <a:gd name="T37" fmla="*/ 0 h 301"/>
                <a:gd name="T38" fmla="*/ 81 w 419"/>
                <a:gd name="T39" fmla="*/ 28 h 301"/>
                <a:gd name="T40" fmla="*/ 12 w 419"/>
                <a:gd name="T41" fmla="*/ 48 h 301"/>
                <a:gd name="T42" fmla="*/ 7 w 419"/>
                <a:gd name="T43" fmla="*/ 58 h 301"/>
                <a:gd name="T44" fmla="*/ 14 w 419"/>
                <a:gd name="T45" fmla="*/ 75 h 301"/>
                <a:gd name="T46" fmla="*/ 3 w 419"/>
                <a:gd name="T47" fmla="*/ 102 h 301"/>
                <a:gd name="T48" fmla="*/ 14 w 419"/>
                <a:gd name="T49" fmla="*/ 111 h 301"/>
                <a:gd name="T50" fmla="*/ 24 w 419"/>
                <a:gd name="T51" fmla="*/ 122 h 301"/>
                <a:gd name="T52" fmla="*/ 25 w 419"/>
                <a:gd name="T53" fmla="*/ 132 h 301"/>
                <a:gd name="T54" fmla="*/ 29 w 419"/>
                <a:gd name="T55" fmla="*/ 142 h 301"/>
                <a:gd name="T56" fmla="*/ 30 w 419"/>
                <a:gd name="T57" fmla="*/ 161 h 301"/>
                <a:gd name="T58" fmla="*/ 38 w 419"/>
                <a:gd name="T59" fmla="*/ 173 h 301"/>
                <a:gd name="T60" fmla="*/ 41 w 419"/>
                <a:gd name="T61" fmla="*/ 187 h 301"/>
                <a:gd name="T62" fmla="*/ 50 w 419"/>
                <a:gd name="T63" fmla="*/ 197 h 301"/>
                <a:gd name="T64" fmla="*/ 67 w 419"/>
                <a:gd name="T65" fmla="*/ 207 h 301"/>
                <a:gd name="T66" fmla="*/ 96 w 419"/>
                <a:gd name="T67" fmla="*/ 216 h 301"/>
                <a:gd name="T68" fmla="*/ 92 w 419"/>
                <a:gd name="T69" fmla="*/ 225 h 301"/>
                <a:gd name="T70" fmla="*/ 102 w 419"/>
                <a:gd name="T71" fmla="*/ 236 h 301"/>
                <a:gd name="T72" fmla="*/ 132 w 419"/>
                <a:gd name="T73" fmla="*/ 232 h 301"/>
                <a:gd name="T74" fmla="*/ 148 w 419"/>
                <a:gd name="T75" fmla="*/ 236 h 301"/>
                <a:gd name="T76" fmla="*/ 168 w 419"/>
                <a:gd name="T77" fmla="*/ 244 h 301"/>
                <a:gd name="T78" fmla="*/ 190 w 419"/>
                <a:gd name="T79" fmla="*/ 255 h 301"/>
                <a:gd name="T80" fmla="*/ 196 w 419"/>
                <a:gd name="T81" fmla="*/ 266 h 301"/>
                <a:gd name="T82" fmla="*/ 229 w 419"/>
                <a:gd name="T83" fmla="*/ 272 h 301"/>
                <a:gd name="T84" fmla="*/ 244 w 419"/>
                <a:gd name="T85" fmla="*/ 281 h 301"/>
                <a:gd name="T86" fmla="*/ 258 w 419"/>
                <a:gd name="T87" fmla="*/ 279 h 301"/>
                <a:gd name="T88" fmla="*/ 288 w 419"/>
                <a:gd name="T89" fmla="*/ 28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9" h="301">
                  <a:moveTo>
                    <a:pt x="288" y="284"/>
                  </a:moveTo>
                  <a:cubicBezTo>
                    <a:pt x="293" y="284"/>
                    <a:pt x="298" y="276"/>
                    <a:pt x="312" y="276"/>
                  </a:cubicBezTo>
                  <a:cubicBezTo>
                    <a:pt x="326" y="276"/>
                    <a:pt x="325" y="283"/>
                    <a:pt x="332" y="289"/>
                  </a:cubicBezTo>
                  <a:cubicBezTo>
                    <a:pt x="339" y="295"/>
                    <a:pt x="345" y="293"/>
                    <a:pt x="351" y="293"/>
                  </a:cubicBezTo>
                  <a:cubicBezTo>
                    <a:pt x="357" y="293"/>
                    <a:pt x="355" y="300"/>
                    <a:pt x="355" y="300"/>
                  </a:cubicBezTo>
                  <a:cubicBezTo>
                    <a:pt x="371" y="301"/>
                    <a:pt x="371" y="301"/>
                    <a:pt x="371" y="301"/>
                  </a:cubicBezTo>
                  <a:cubicBezTo>
                    <a:pt x="371" y="301"/>
                    <a:pt x="362" y="295"/>
                    <a:pt x="363" y="285"/>
                  </a:cubicBezTo>
                  <a:cubicBezTo>
                    <a:pt x="364" y="275"/>
                    <a:pt x="364" y="265"/>
                    <a:pt x="364" y="265"/>
                  </a:cubicBezTo>
                  <a:cubicBezTo>
                    <a:pt x="399" y="230"/>
                    <a:pt x="399" y="230"/>
                    <a:pt x="399" y="230"/>
                  </a:cubicBezTo>
                  <a:cubicBezTo>
                    <a:pt x="399" y="230"/>
                    <a:pt x="419" y="229"/>
                    <a:pt x="417" y="224"/>
                  </a:cubicBezTo>
                  <a:cubicBezTo>
                    <a:pt x="415" y="219"/>
                    <a:pt x="409" y="211"/>
                    <a:pt x="409" y="211"/>
                  </a:cubicBezTo>
                  <a:cubicBezTo>
                    <a:pt x="416" y="203"/>
                    <a:pt x="416" y="203"/>
                    <a:pt x="416" y="203"/>
                  </a:cubicBezTo>
                  <a:cubicBezTo>
                    <a:pt x="416" y="203"/>
                    <a:pt x="404" y="200"/>
                    <a:pt x="401" y="191"/>
                  </a:cubicBezTo>
                  <a:cubicBezTo>
                    <a:pt x="398" y="182"/>
                    <a:pt x="390" y="180"/>
                    <a:pt x="390" y="180"/>
                  </a:cubicBezTo>
                  <a:cubicBezTo>
                    <a:pt x="388" y="167"/>
                    <a:pt x="388" y="167"/>
                    <a:pt x="388" y="167"/>
                  </a:cubicBezTo>
                  <a:cubicBezTo>
                    <a:pt x="388" y="167"/>
                    <a:pt x="388" y="167"/>
                    <a:pt x="389" y="167"/>
                  </a:cubicBezTo>
                  <a:cubicBezTo>
                    <a:pt x="386" y="158"/>
                    <a:pt x="386" y="158"/>
                    <a:pt x="386" y="158"/>
                  </a:cubicBezTo>
                  <a:cubicBezTo>
                    <a:pt x="386" y="158"/>
                    <a:pt x="389" y="144"/>
                    <a:pt x="387" y="140"/>
                  </a:cubicBezTo>
                  <a:cubicBezTo>
                    <a:pt x="385" y="136"/>
                    <a:pt x="371" y="133"/>
                    <a:pt x="369" y="127"/>
                  </a:cubicBezTo>
                  <a:cubicBezTo>
                    <a:pt x="367" y="121"/>
                    <a:pt x="376" y="123"/>
                    <a:pt x="379" y="123"/>
                  </a:cubicBezTo>
                  <a:cubicBezTo>
                    <a:pt x="382" y="123"/>
                    <a:pt x="380" y="111"/>
                    <a:pt x="380" y="111"/>
                  </a:cubicBezTo>
                  <a:cubicBezTo>
                    <a:pt x="394" y="106"/>
                    <a:pt x="394" y="106"/>
                    <a:pt x="394" y="106"/>
                  </a:cubicBezTo>
                  <a:cubicBezTo>
                    <a:pt x="394" y="106"/>
                    <a:pt x="396" y="98"/>
                    <a:pt x="398" y="94"/>
                  </a:cubicBezTo>
                  <a:cubicBezTo>
                    <a:pt x="400" y="90"/>
                    <a:pt x="392" y="78"/>
                    <a:pt x="392" y="78"/>
                  </a:cubicBezTo>
                  <a:cubicBezTo>
                    <a:pt x="392" y="78"/>
                    <a:pt x="381" y="69"/>
                    <a:pt x="381" y="64"/>
                  </a:cubicBezTo>
                  <a:cubicBezTo>
                    <a:pt x="381" y="59"/>
                    <a:pt x="373" y="46"/>
                    <a:pt x="373" y="46"/>
                  </a:cubicBezTo>
                  <a:cubicBezTo>
                    <a:pt x="373" y="33"/>
                    <a:pt x="373" y="33"/>
                    <a:pt x="373" y="33"/>
                  </a:cubicBezTo>
                  <a:cubicBezTo>
                    <a:pt x="373" y="33"/>
                    <a:pt x="357" y="24"/>
                    <a:pt x="344" y="22"/>
                  </a:cubicBezTo>
                  <a:cubicBezTo>
                    <a:pt x="331" y="20"/>
                    <a:pt x="336" y="27"/>
                    <a:pt x="336" y="27"/>
                  </a:cubicBezTo>
                  <a:cubicBezTo>
                    <a:pt x="336" y="27"/>
                    <a:pt x="321" y="27"/>
                    <a:pt x="313" y="26"/>
                  </a:cubicBezTo>
                  <a:cubicBezTo>
                    <a:pt x="305" y="25"/>
                    <a:pt x="274" y="27"/>
                    <a:pt x="274" y="27"/>
                  </a:cubicBezTo>
                  <a:cubicBezTo>
                    <a:pt x="274" y="27"/>
                    <a:pt x="266" y="22"/>
                    <a:pt x="257" y="20"/>
                  </a:cubicBezTo>
                  <a:cubicBezTo>
                    <a:pt x="248" y="18"/>
                    <a:pt x="236" y="23"/>
                    <a:pt x="236" y="23"/>
                  </a:cubicBezTo>
                  <a:cubicBezTo>
                    <a:pt x="231" y="18"/>
                    <a:pt x="231" y="18"/>
                    <a:pt x="231" y="18"/>
                  </a:cubicBezTo>
                  <a:cubicBezTo>
                    <a:pt x="231" y="19"/>
                    <a:pt x="231" y="19"/>
                    <a:pt x="231" y="19"/>
                  </a:cubicBezTo>
                  <a:cubicBezTo>
                    <a:pt x="231" y="19"/>
                    <a:pt x="195" y="23"/>
                    <a:pt x="189" y="22"/>
                  </a:cubicBezTo>
                  <a:cubicBezTo>
                    <a:pt x="183" y="21"/>
                    <a:pt x="178" y="4"/>
                    <a:pt x="178" y="4"/>
                  </a:cubicBezTo>
                  <a:cubicBezTo>
                    <a:pt x="178" y="4"/>
                    <a:pt x="164" y="0"/>
                    <a:pt x="149" y="0"/>
                  </a:cubicBezTo>
                  <a:cubicBezTo>
                    <a:pt x="134" y="0"/>
                    <a:pt x="94" y="17"/>
                    <a:pt x="94" y="17"/>
                  </a:cubicBezTo>
                  <a:cubicBezTo>
                    <a:pt x="81" y="28"/>
                    <a:pt x="81" y="28"/>
                    <a:pt x="81" y="28"/>
                  </a:cubicBezTo>
                  <a:cubicBezTo>
                    <a:pt x="41" y="33"/>
                    <a:pt x="41" y="33"/>
                    <a:pt x="41" y="33"/>
                  </a:cubicBezTo>
                  <a:cubicBezTo>
                    <a:pt x="41" y="33"/>
                    <a:pt x="10" y="44"/>
                    <a:pt x="12" y="48"/>
                  </a:cubicBezTo>
                  <a:cubicBezTo>
                    <a:pt x="14" y="52"/>
                    <a:pt x="14" y="62"/>
                    <a:pt x="14" y="62"/>
                  </a:cubicBezTo>
                  <a:cubicBezTo>
                    <a:pt x="7" y="58"/>
                    <a:pt x="7" y="58"/>
                    <a:pt x="7" y="58"/>
                  </a:cubicBezTo>
                  <a:cubicBezTo>
                    <a:pt x="8" y="61"/>
                    <a:pt x="9" y="65"/>
                    <a:pt x="8" y="68"/>
                  </a:cubicBezTo>
                  <a:cubicBezTo>
                    <a:pt x="6" y="74"/>
                    <a:pt x="11" y="66"/>
                    <a:pt x="14" y="75"/>
                  </a:cubicBezTo>
                  <a:cubicBezTo>
                    <a:pt x="16" y="83"/>
                    <a:pt x="18" y="85"/>
                    <a:pt x="12" y="89"/>
                  </a:cubicBezTo>
                  <a:cubicBezTo>
                    <a:pt x="6" y="94"/>
                    <a:pt x="0" y="95"/>
                    <a:pt x="3" y="102"/>
                  </a:cubicBezTo>
                  <a:cubicBezTo>
                    <a:pt x="6" y="109"/>
                    <a:pt x="10" y="105"/>
                    <a:pt x="10" y="105"/>
                  </a:cubicBezTo>
                  <a:cubicBezTo>
                    <a:pt x="14" y="111"/>
                    <a:pt x="14" y="111"/>
                    <a:pt x="14" y="111"/>
                  </a:cubicBezTo>
                  <a:cubicBezTo>
                    <a:pt x="14" y="111"/>
                    <a:pt x="18" y="107"/>
                    <a:pt x="21" y="111"/>
                  </a:cubicBezTo>
                  <a:cubicBezTo>
                    <a:pt x="24" y="116"/>
                    <a:pt x="24" y="122"/>
                    <a:pt x="24" y="122"/>
                  </a:cubicBezTo>
                  <a:cubicBezTo>
                    <a:pt x="24" y="122"/>
                    <a:pt x="18" y="125"/>
                    <a:pt x="19" y="128"/>
                  </a:cubicBezTo>
                  <a:cubicBezTo>
                    <a:pt x="20" y="131"/>
                    <a:pt x="25" y="132"/>
                    <a:pt x="25" y="132"/>
                  </a:cubicBezTo>
                  <a:cubicBezTo>
                    <a:pt x="25" y="132"/>
                    <a:pt x="22" y="139"/>
                    <a:pt x="24" y="139"/>
                  </a:cubicBezTo>
                  <a:cubicBezTo>
                    <a:pt x="26" y="140"/>
                    <a:pt x="29" y="142"/>
                    <a:pt x="29" y="142"/>
                  </a:cubicBezTo>
                  <a:cubicBezTo>
                    <a:pt x="29" y="142"/>
                    <a:pt x="20" y="148"/>
                    <a:pt x="20" y="153"/>
                  </a:cubicBezTo>
                  <a:cubicBezTo>
                    <a:pt x="21" y="159"/>
                    <a:pt x="30" y="161"/>
                    <a:pt x="30" y="161"/>
                  </a:cubicBezTo>
                  <a:cubicBezTo>
                    <a:pt x="29" y="173"/>
                    <a:pt x="29" y="173"/>
                    <a:pt x="29" y="173"/>
                  </a:cubicBezTo>
                  <a:cubicBezTo>
                    <a:pt x="29" y="173"/>
                    <a:pt x="37" y="167"/>
                    <a:pt x="38" y="173"/>
                  </a:cubicBezTo>
                  <a:cubicBezTo>
                    <a:pt x="40" y="178"/>
                    <a:pt x="36" y="183"/>
                    <a:pt x="36" y="183"/>
                  </a:cubicBezTo>
                  <a:cubicBezTo>
                    <a:pt x="36" y="183"/>
                    <a:pt x="42" y="184"/>
                    <a:pt x="41" y="187"/>
                  </a:cubicBezTo>
                  <a:cubicBezTo>
                    <a:pt x="40" y="189"/>
                    <a:pt x="39" y="192"/>
                    <a:pt x="37" y="195"/>
                  </a:cubicBezTo>
                  <a:cubicBezTo>
                    <a:pt x="50" y="197"/>
                    <a:pt x="50" y="197"/>
                    <a:pt x="50" y="197"/>
                  </a:cubicBezTo>
                  <a:cubicBezTo>
                    <a:pt x="53" y="206"/>
                    <a:pt x="53" y="206"/>
                    <a:pt x="53" y="206"/>
                  </a:cubicBezTo>
                  <a:cubicBezTo>
                    <a:pt x="53" y="206"/>
                    <a:pt x="55" y="203"/>
                    <a:pt x="67" y="207"/>
                  </a:cubicBezTo>
                  <a:cubicBezTo>
                    <a:pt x="79" y="211"/>
                    <a:pt x="77" y="217"/>
                    <a:pt x="80" y="217"/>
                  </a:cubicBezTo>
                  <a:cubicBezTo>
                    <a:pt x="83" y="217"/>
                    <a:pt x="96" y="216"/>
                    <a:pt x="96" y="216"/>
                  </a:cubicBezTo>
                  <a:cubicBezTo>
                    <a:pt x="99" y="221"/>
                    <a:pt x="99" y="221"/>
                    <a:pt x="99" y="221"/>
                  </a:cubicBezTo>
                  <a:cubicBezTo>
                    <a:pt x="92" y="225"/>
                    <a:pt x="92" y="225"/>
                    <a:pt x="92" y="225"/>
                  </a:cubicBezTo>
                  <a:cubicBezTo>
                    <a:pt x="98" y="228"/>
                    <a:pt x="98" y="228"/>
                    <a:pt x="98" y="228"/>
                  </a:cubicBezTo>
                  <a:cubicBezTo>
                    <a:pt x="98" y="228"/>
                    <a:pt x="98" y="234"/>
                    <a:pt x="102" y="236"/>
                  </a:cubicBezTo>
                  <a:cubicBezTo>
                    <a:pt x="106" y="238"/>
                    <a:pt x="117" y="240"/>
                    <a:pt x="117" y="240"/>
                  </a:cubicBezTo>
                  <a:cubicBezTo>
                    <a:pt x="117" y="240"/>
                    <a:pt x="119" y="236"/>
                    <a:pt x="132" y="232"/>
                  </a:cubicBezTo>
                  <a:cubicBezTo>
                    <a:pt x="145" y="228"/>
                    <a:pt x="140" y="235"/>
                    <a:pt x="140" y="235"/>
                  </a:cubicBezTo>
                  <a:cubicBezTo>
                    <a:pt x="140" y="235"/>
                    <a:pt x="140" y="235"/>
                    <a:pt x="148" y="236"/>
                  </a:cubicBezTo>
                  <a:cubicBezTo>
                    <a:pt x="156" y="237"/>
                    <a:pt x="161" y="250"/>
                    <a:pt x="161" y="250"/>
                  </a:cubicBezTo>
                  <a:cubicBezTo>
                    <a:pt x="168" y="244"/>
                    <a:pt x="168" y="244"/>
                    <a:pt x="168" y="244"/>
                  </a:cubicBezTo>
                  <a:cubicBezTo>
                    <a:pt x="168" y="244"/>
                    <a:pt x="172" y="253"/>
                    <a:pt x="176" y="253"/>
                  </a:cubicBezTo>
                  <a:cubicBezTo>
                    <a:pt x="180" y="253"/>
                    <a:pt x="190" y="255"/>
                    <a:pt x="190" y="255"/>
                  </a:cubicBezTo>
                  <a:cubicBezTo>
                    <a:pt x="189" y="260"/>
                    <a:pt x="189" y="260"/>
                    <a:pt x="189" y="260"/>
                  </a:cubicBezTo>
                  <a:cubicBezTo>
                    <a:pt x="196" y="266"/>
                    <a:pt x="196" y="266"/>
                    <a:pt x="196" y="266"/>
                  </a:cubicBezTo>
                  <a:cubicBezTo>
                    <a:pt x="196" y="266"/>
                    <a:pt x="206" y="278"/>
                    <a:pt x="209" y="278"/>
                  </a:cubicBezTo>
                  <a:cubicBezTo>
                    <a:pt x="212" y="278"/>
                    <a:pt x="222" y="270"/>
                    <a:pt x="229" y="272"/>
                  </a:cubicBezTo>
                  <a:cubicBezTo>
                    <a:pt x="236" y="274"/>
                    <a:pt x="237" y="281"/>
                    <a:pt x="237" y="281"/>
                  </a:cubicBezTo>
                  <a:cubicBezTo>
                    <a:pt x="244" y="281"/>
                    <a:pt x="244" y="281"/>
                    <a:pt x="244" y="281"/>
                  </a:cubicBezTo>
                  <a:cubicBezTo>
                    <a:pt x="244" y="281"/>
                    <a:pt x="241" y="288"/>
                    <a:pt x="250" y="288"/>
                  </a:cubicBezTo>
                  <a:cubicBezTo>
                    <a:pt x="259" y="288"/>
                    <a:pt x="258" y="279"/>
                    <a:pt x="258" y="279"/>
                  </a:cubicBezTo>
                  <a:cubicBezTo>
                    <a:pt x="277" y="280"/>
                    <a:pt x="277" y="280"/>
                    <a:pt x="277" y="280"/>
                  </a:cubicBezTo>
                  <a:cubicBezTo>
                    <a:pt x="277" y="280"/>
                    <a:pt x="283" y="284"/>
                    <a:pt x="288" y="28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6" name="Freeform 25">
              <a:extLst>
                <a:ext uri="{FF2B5EF4-FFF2-40B4-BE49-F238E27FC236}">
                  <a16:creationId xmlns:a16="http://schemas.microsoft.com/office/drawing/2014/main" id="{3C1796C9-5762-4BE7-B99C-9BEBA0C995FC}"/>
                </a:ext>
              </a:extLst>
            </p:cNvPr>
            <p:cNvSpPr>
              <a:spLocks/>
            </p:cNvSpPr>
            <p:nvPr/>
          </p:nvSpPr>
          <p:spPr bwMode="auto">
            <a:xfrm>
              <a:off x="3831901" y="3098832"/>
              <a:ext cx="85454" cy="75400"/>
            </a:xfrm>
            <a:custGeom>
              <a:avLst/>
              <a:gdLst>
                <a:gd name="T0" fmla="*/ 13 w 36"/>
                <a:gd name="T1" fmla="*/ 32 h 32"/>
                <a:gd name="T2" fmla="*/ 19 w 36"/>
                <a:gd name="T3" fmla="*/ 27 h 32"/>
                <a:gd name="T4" fmla="*/ 30 w 36"/>
                <a:gd name="T5" fmla="*/ 29 h 32"/>
                <a:gd name="T6" fmla="*/ 35 w 36"/>
                <a:gd name="T7" fmla="*/ 20 h 32"/>
                <a:gd name="T8" fmla="*/ 20 w 36"/>
                <a:gd name="T9" fmla="*/ 8 h 32"/>
                <a:gd name="T10" fmla="*/ 20 w 36"/>
                <a:gd name="T11" fmla="*/ 0 h 32"/>
                <a:gd name="T12" fmla="*/ 12 w 36"/>
                <a:gd name="T13" fmla="*/ 4 h 32"/>
                <a:gd name="T14" fmla="*/ 2 w 36"/>
                <a:gd name="T15" fmla="*/ 18 h 32"/>
                <a:gd name="T16" fmla="*/ 13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13" y="32"/>
                  </a:moveTo>
                  <a:cubicBezTo>
                    <a:pt x="19" y="27"/>
                    <a:pt x="19" y="27"/>
                    <a:pt x="19" y="27"/>
                  </a:cubicBezTo>
                  <a:cubicBezTo>
                    <a:pt x="30" y="29"/>
                    <a:pt x="30" y="29"/>
                    <a:pt x="30" y="29"/>
                  </a:cubicBezTo>
                  <a:cubicBezTo>
                    <a:pt x="30" y="29"/>
                    <a:pt x="36" y="25"/>
                    <a:pt x="35" y="20"/>
                  </a:cubicBezTo>
                  <a:cubicBezTo>
                    <a:pt x="34" y="16"/>
                    <a:pt x="24" y="14"/>
                    <a:pt x="20" y="8"/>
                  </a:cubicBezTo>
                  <a:cubicBezTo>
                    <a:pt x="19" y="6"/>
                    <a:pt x="19" y="3"/>
                    <a:pt x="20" y="0"/>
                  </a:cubicBezTo>
                  <a:cubicBezTo>
                    <a:pt x="19" y="1"/>
                    <a:pt x="16" y="2"/>
                    <a:pt x="12" y="4"/>
                  </a:cubicBezTo>
                  <a:cubicBezTo>
                    <a:pt x="1" y="10"/>
                    <a:pt x="0" y="16"/>
                    <a:pt x="2" y="18"/>
                  </a:cubicBezTo>
                  <a:cubicBezTo>
                    <a:pt x="3" y="20"/>
                    <a:pt x="9" y="27"/>
                    <a:pt x="13" y="32"/>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7" name="Freeform 26">
              <a:extLst>
                <a:ext uri="{FF2B5EF4-FFF2-40B4-BE49-F238E27FC236}">
                  <a16:creationId xmlns:a16="http://schemas.microsoft.com/office/drawing/2014/main" id="{97FE8C54-A8D2-4233-8B03-4C364A025285}"/>
                </a:ext>
              </a:extLst>
            </p:cNvPr>
            <p:cNvSpPr>
              <a:spLocks/>
            </p:cNvSpPr>
            <p:nvPr/>
          </p:nvSpPr>
          <p:spPr bwMode="auto">
            <a:xfrm>
              <a:off x="4216943" y="3231536"/>
              <a:ext cx="730877" cy="327739"/>
            </a:xfrm>
            <a:custGeom>
              <a:avLst/>
              <a:gdLst>
                <a:gd name="T0" fmla="*/ 307 w 308"/>
                <a:gd name="T1" fmla="*/ 48 h 138"/>
                <a:gd name="T2" fmla="*/ 301 w 308"/>
                <a:gd name="T3" fmla="*/ 33 h 138"/>
                <a:gd name="T4" fmla="*/ 287 w 308"/>
                <a:gd name="T5" fmla="*/ 11 h 138"/>
                <a:gd name="T6" fmla="*/ 268 w 308"/>
                <a:gd name="T7" fmla="*/ 17 h 138"/>
                <a:gd name="T8" fmla="*/ 254 w 308"/>
                <a:gd name="T9" fmla="*/ 14 h 138"/>
                <a:gd name="T10" fmla="*/ 228 w 308"/>
                <a:gd name="T11" fmla="*/ 1 h 138"/>
                <a:gd name="T12" fmla="*/ 214 w 308"/>
                <a:gd name="T13" fmla="*/ 16 h 138"/>
                <a:gd name="T14" fmla="*/ 204 w 308"/>
                <a:gd name="T15" fmla="*/ 23 h 138"/>
                <a:gd name="T16" fmla="*/ 175 w 308"/>
                <a:gd name="T17" fmla="*/ 15 h 138"/>
                <a:gd name="T18" fmla="*/ 156 w 308"/>
                <a:gd name="T19" fmla="*/ 27 h 138"/>
                <a:gd name="T20" fmla="*/ 160 w 308"/>
                <a:gd name="T21" fmla="*/ 45 h 138"/>
                <a:gd name="T22" fmla="*/ 133 w 308"/>
                <a:gd name="T23" fmla="*/ 57 h 138"/>
                <a:gd name="T24" fmla="*/ 141 w 308"/>
                <a:gd name="T25" fmla="*/ 68 h 138"/>
                <a:gd name="T26" fmla="*/ 131 w 308"/>
                <a:gd name="T27" fmla="*/ 77 h 138"/>
                <a:gd name="T28" fmla="*/ 109 w 308"/>
                <a:gd name="T29" fmla="*/ 71 h 138"/>
                <a:gd name="T30" fmla="*/ 84 w 308"/>
                <a:gd name="T31" fmla="*/ 78 h 138"/>
                <a:gd name="T32" fmla="*/ 63 w 308"/>
                <a:gd name="T33" fmla="*/ 88 h 138"/>
                <a:gd name="T34" fmla="*/ 33 w 308"/>
                <a:gd name="T35" fmla="*/ 76 h 138"/>
                <a:gd name="T36" fmla="*/ 26 w 308"/>
                <a:gd name="T37" fmla="*/ 91 h 138"/>
                <a:gd name="T38" fmla="*/ 0 w 308"/>
                <a:gd name="T39" fmla="*/ 84 h 138"/>
                <a:gd name="T40" fmla="*/ 2 w 308"/>
                <a:gd name="T41" fmla="*/ 97 h 138"/>
                <a:gd name="T42" fmla="*/ 11 w 308"/>
                <a:gd name="T43" fmla="*/ 106 h 138"/>
                <a:gd name="T44" fmla="*/ 32 w 308"/>
                <a:gd name="T45" fmla="*/ 106 h 138"/>
                <a:gd name="T46" fmla="*/ 50 w 308"/>
                <a:gd name="T47" fmla="*/ 117 h 138"/>
                <a:gd name="T48" fmla="*/ 66 w 308"/>
                <a:gd name="T49" fmla="*/ 109 h 138"/>
                <a:gd name="T50" fmla="*/ 104 w 308"/>
                <a:gd name="T51" fmla="*/ 103 h 138"/>
                <a:gd name="T52" fmla="*/ 119 w 308"/>
                <a:gd name="T53" fmla="*/ 118 h 138"/>
                <a:gd name="T54" fmla="*/ 136 w 308"/>
                <a:gd name="T55" fmla="*/ 131 h 138"/>
                <a:gd name="T56" fmla="*/ 162 w 308"/>
                <a:gd name="T57" fmla="*/ 136 h 138"/>
                <a:gd name="T58" fmla="*/ 183 w 308"/>
                <a:gd name="T59" fmla="*/ 132 h 138"/>
                <a:gd name="T60" fmla="*/ 207 w 308"/>
                <a:gd name="T61" fmla="*/ 138 h 138"/>
                <a:gd name="T62" fmla="*/ 247 w 308"/>
                <a:gd name="T63" fmla="*/ 130 h 138"/>
                <a:gd name="T64" fmla="*/ 270 w 308"/>
                <a:gd name="T65" fmla="*/ 131 h 138"/>
                <a:gd name="T66" fmla="*/ 277 w 308"/>
                <a:gd name="T67" fmla="*/ 107 h 138"/>
                <a:gd name="T68" fmla="*/ 290 w 308"/>
                <a:gd name="T69" fmla="*/ 91 h 138"/>
                <a:gd name="T70" fmla="*/ 290 w 308"/>
                <a:gd name="T71" fmla="*/ 78 h 138"/>
                <a:gd name="T72" fmla="*/ 306 w 308"/>
                <a:gd name="T73"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38">
                  <a:moveTo>
                    <a:pt x="306" y="69"/>
                  </a:moveTo>
                  <a:cubicBezTo>
                    <a:pt x="306" y="69"/>
                    <a:pt x="308" y="55"/>
                    <a:pt x="307" y="48"/>
                  </a:cubicBezTo>
                  <a:cubicBezTo>
                    <a:pt x="306" y="42"/>
                    <a:pt x="300" y="43"/>
                    <a:pt x="300" y="43"/>
                  </a:cubicBezTo>
                  <a:cubicBezTo>
                    <a:pt x="301" y="33"/>
                    <a:pt x="301" y="33"/>
                    <a:pt x="301" y="33"/>
                  </a:cubicBezTo>
                  <a:cubicBezTo>
                    <a:pt x="303" y="19"/>
                    <a:pt x="303" y="19"/>
                    <a:pt x="303" y="19"/>
                  </a:cubicBezTo>
                  <a:cubicBezTo>
                    <a:pt x="303" y="19"/>
                    <a:pt x="295" y="14"/>
                    <a:pt x="287" y="11"/>
                  </a:cubicBezTo>
                  <a:cubicBezTo>
                    <a:pt x="280" y="9"/>
                    <a:pt x="276" y="16"/>
                    <a:pt x="276" y="16"/>
                  </a:cubicBezTo>
                  <a:cubicBezTo>
                    <a:pt x="268" y="17"/>
                    <a:pt x="268" y="17"/>
                    <a:pt x="268" y="17"/>
                  </a:cubicBezTo>
                  <a:cubicBezTo>
                    <a:pt x="261" y="9"/>
                    <a:pt x="261" y="9"/>
                    <a:pt x="261" y="9"/>
                  </a:cubicBezTo>
                  <a:cubicBezTo>
                    <a:pt x="254" y="14"/>
                    <a:pt x="254" y="14"/>
                    <a:pt x="254" y="14"/>
                  </a:cubicBezTo>
                  <a:cubicBezTo>
                    <a:pt x="245" y="8"/>
                    <a:pt x="245" y="8"/>
                    <a:pt x="245" y="8"/>
                  </a:cubicBezTo>
                  <a:cubicBezTo>
                    <a:pt x="245" y="8"/>
                    <a:pt x="232" y="0"/>
                    <a:pt x="228" y="1"/>
                  </a:cubicBezTo>
                  <a:cubicBezTo>
                    <a:pt x="225" y="2"/>
                    <a:pt x="218" y="15"/>
                    <a:pt x="218" y="15"/>
                  </a:cubicBezTo>
                  <a:cubicBezTo>
                    <a:pt x="214" y="16"/>
                    <a:pt x="214" y="16"/>
                    <a:pt x="214" y="16"/>
                  </a:cubicBezTo>
                  <a:cubicBezTo>
                    <a:pt x="213" y="28"/>
                    <a:pt x="213" y="28"/>
                    <a:pt x="213" y="28"/>
                  </a:cubicBezTo>
                  <a:cubicBezTo>
                    <a:pt x="204" y="23"/>
                    <a:pt x="204" y="23"/>
                    <a:pt x="204" y="23"/>
                  </a:cubicBezTo>
                  <a:cubicBezTo>
                    <a:pt x="204" y="23"/>
                    <a:pt x="198" y="27"/>
                    <a:pt x="190" y="27"/>
                  </a:cubicBezTo>
                  <a:cubicBezTo>
                    <a:pt x="183" y="27"/>
                    <a:pt x="175" y="15"/>
                    <a:pt x="175" y="15"/>
                  </a:cubicBezTo>
                  <a:cubicBezTo>
                    <a:pt x="168" y="26"/>
                    <a:pt x="168" y="26"/>
                    <a:pt x="168" y="26"/>
                  </a:cubicBezTo>
                  <a:cubicBezTo>
                    <a:pt x="156" y="27"/>
                    <a:pt x="156" y="27"/>
                    <a:pt x="156" y="27"/>
                  </a:cubicBezTo>
                  <a:cubicBezTo>
                    <a:pt x="160" y="34"/>
                    <a:pt x="160" y="34"/>
                    <a:pt x="160" y="34"/>
                  </a:cubicBezTo>
                  <a:cubicBezTo>
                    <a:pt x="160" y="45"/>
                    <a:pt x="160" y="45"/>
                    <a:pt x="160" y="45"/>
                  </a:cubicBezTo>
                  <a:cubicBezTo>
                    <a:pt x="160" y="45"/>
                    <a:pt x="147" y="42"/>
                    <a:pt x="142" y="43"/>
                  </a:cubicBezTo>
                  <a:cubicBezTo>
                    <a:pt x="138" y="44"/>
                    <a:pt x="133" y="57"/>
                    <a:pt x="133" y="57"/>
                  </a:cubicBezTo>
                  <a:cubicBezTo>
                    <a:pt x="141" y="59"/>
                    <a:pt x="141" y="59"/>
                    <a:pt x="141" y="59"/>
                  </a:cubicBezTo>
                  <a:cubicBezTo>
                    <a:pt x="141" y="68"/>
                    <a:pt x="141" y="68"/>
                    <a:pt x="141" y="68"/>
                  </a:cubicBezTo>
                  <a:cubicBezTo>
                    <a:pt x="141" y="68"/>
                    <a:pt x="142" y="78"/>
                    <a:pt x="141" y="84"/>
                  </a:cubicBezTo>
                  <a:cubicBezTo>
                    <a:pt x="139" y="91"/>
                    <a:pt x="131" y="77"/>
                    <a:pt x="131" y="77"/>
                  </a:cubicBezTo>
                  <a:cubicBezTo>
                    <a:pt x="118" y="72"/>
                    <a:pt x="118" y="72"/>
                    <a:pt x="118" y="72"/>
                  </a:cubicBezTo>
                  <a:cubicBezTo>
                    <a:pt x="109" y="71"/>
                    <a:pt x="109" y="71"/>
                    <a:pt x="109" y="71"/>
                  </a:cubicBezTo>
                  <a:cubicBezTo>
                    <a:pt x="98" y="77"/>
                    <a:pt x="98" y="77"/>
                    <a:pt x="98" y="77"/>
                  </a:cubicBezTo>
                  <a:cubicBezTo>
                    <a:pt x="84" y="78"/>
                    <a:pt x="84" y="78"/>
                    <a:pt x="84" y="78"/>
                  </a:cubicBezTo>
                  <a:cubicBezTo>
                    <a:pt x="75" y="86"/>
                    <a:pt x="75" y="86"/>
                    <a:pt x="75" y="86"/>
                  </a:cubicBezTo>
                  <a:cubicBezTo>
                    <a:pt x="75" y="86"/>
                    <a:pt x="69" y="88"/>
                    <a:pt x="63" y="88"/>
                  </a:cubicBezTo>
                  <a:cubicBezTo>
                    <a:pt x="56" y="88"/>
                    <a:pt x="46" y="77"/>
                    <a:pt x="46" y="77"/>
                  </a:cubicBezTo>
                  <a:cubicBezTo>
                    <a:pt x="33" y="76"/>
                    <a:pt x="33" y="76"/>
                    <a:pt x="33" y="76"/>
                  </a:cubicBezTo>
                  <a:cubicBezTo>
                    <a:pt x="33" y="85"/>
                    <a:pt x="33" y="85"/>
                    <a:pt x="33" y="85"/>
                  </a:cubicBezTo>
                  <a:cubicBezTo>
                    <a:pt x="33" y="85"/>
                    <a:pt x="30" y="90"/>
                    <a:pt x="26" y="91"/>
                  </a:cubicBezTo>
                  <a:cubicBezTo>
                    <a:pt x="22" y="92"/>
                    <a:pt x="21" y="82"/>
                    <a:pt x="12" y="81"/>
                  </a:cubicBezTo>
                  <a:cubicBezTo>
                    <a:pt x="6" y="79"/>
                    <a:pt x="2" y="82"/>
                    <a:pt x="0" y="84"/>
                  </a:cubicBezTo>
                  <a:cubicBezTo>
                    <a:pt x="1" y="86"/>
                    <a:pt x="2" y="89"/>
                    <a:pt x="0" y="91"/>
                  </a:cubicBezTo>
                  <a:cubicBezTo>
                    <a:pt x="1" y="93"/>
                    <a:pt x="2" y="95"/>
                    <a:pt x="2" y="97"/>
                  </a:cubicBezTo>
                  <a:cubicBezTo>
                    <a:pt x="2" y="100"/>
                    <a:pt x="2" y="105"/>
                    <a:pt x="2" y="107"/>
                  </a:cubicBezTo>
                  <a:cubicBezTo>
                    <a:pt x="11" y="106"/>
                    <a:pt x="11" y="106"/>
                    <a:pt x="11" y="106"/>
                  </a:cubicBezTo>
                  <a:cubicBezTo>
                    <a:pt x="11" y="106"/>
                    <a:pt x="8" y="120"/>
                    <a:pt x="16" y="118"/>
                  </a:cubicBezTo>
                  <a:cubicBezTo>
                    <a:pt x="23" y="115"/>
                    <a:pt x="21" y="106"/>
                    <a:pt x="32" y="106"/>
                  </a:cubicBezTo>
                  <a:cubicBezTo>
                    <a:pt x="37" y="107"/>
                    <a:pt x="40" y="113"/>
                    <a:pt x="41" y="117"/>
                  </a:cubicBezTo>
                  <a:cubicBezTo>
                    <a:pt x="50" y="117"/>
                    <a:pt x="50" y="117"/>
                    <a:pt x="50" y="117"/>
                  </a:cubicBezTo>
                  <a:cubicBezTo>
                    <a:pt x="56" y="121"/>
                    <a:pt x="56" y="121"/>
                    <a:pt x="56" y="121"/>
                  </a:cubicBezTo>
                  <a:cubicBezTo>
                    <a:pt x="66" y="109"/>
                    <a:pt x="66" y="109"/>
                    <a:pt x="66" y="109"/>
                  </a:cubicBezTo>
                  <a:cubicBezTo>
                    <a:pt x="93" y="111"/>
                    <a:pt x="93" y="111"/>
                    <a:pt x="93" y="111"/>
                  </a:cubicBezTo>
                  <a:cubicBezTo>
                    <a:pt x="93" y="111"/>
                    <a:pt x="94" y="102"/>
                    <a:pt x="104" y="103"/>
                  </a:cubicBezTo>
                  <a:cubicBezTo>
                    <a:pt x="113" y="104"/>
                    <a:pt x="114" y="118"/>
                    <a:pt x="114" y="118"/>
                  </a:cubicBezTo>
                  <a:cubicBezTo>
                    <a:pt x="119" y="118"/>
                    <a:pt x="119" y="118"/>
                    <a:pt x="119" y="118"/>
                  </a:cubicBezTo>
                  <a:cubicBezTo>
                    <a:pt x="124" y="131"/>
                    <a:pt x="124" y="131"/>
                    <a:pt x="124" y="131"/>
                  </a:cubicBezTo>
                  <a:cubicBezTo>
                    <a:pt x="136" y="131"/>
                    <a:pt x="136" y="131"/>
                    <a:pt x="136" y="131"/>
                  </a:cubicBezTo>
                  <a:cubicBezTo>
                    <a:pt x="136" y="131"/>
                    <a:pt x="159" y="127"/>
                    <a:pt x="162" y="132"/>
                  </a:cubicBezTo>
                  <a:cubicBezTo>
                    <a:pt x="162" y="134"/>
                    <a:pt x="163" y="135"/>
                    <a:pt x="162" y="136"/>
                  </a:cubicBezTo>
                  <a:cubicBezTo>
                    <a:pt x="171" y="136"/>
                    <a:pt x="171" y="136"/>
                    <a:pt x="171" y="136"/>
                  </a:cubicBezTo>
                  <a:cubicBezTo>
                    <a:pt x="171" y="136"/>
                    <a:pt x="180" y="132"/>
                    <a:pt x="183" y="132"/>
                  </a:cubicBezTo>
                  <a:cubicBezTo>
                    <a:pt x="186" y="132"/>
                    <a:pt x="192" y="136"/>
                    <a:pt x="192" y="136"/>
                  </a:cubicBezTo>
                  <a:cubicBezTo>
                    <a:pt x="192" y="136"/>
                    <a:pt x="200" y="138"/>
                    <a:pt x="207" y="138"/>
                  </a:cubicBezTo>
                  <a:cubicBezTo>
                    <a:pt x="214" y="138"/>
                    <a:pt x="214" y="129"/>
                    <a:pt x="214" y="129"/>
                  </a:cubicBezTo>
                  <a:cubicBezTo>
                    <a:pt x="247" y="130"/>
                    <a:pt x="247" y="130"/>
                    <a:pt x="247" y="130"/>
                  </a:cubicBezTo>
                  <a:cubicBezTo>
                    <a:pt x="254" y="126"/>
                    <a:pt x="254" y="126"/>
                    <a:pt x="254" y="126"/>
                  </a:cubicBezTo>
                  <a:cubicBezTo>
                    <a:pt x="270" y="131"/>
                    <a:pt x="270" y="131"/>
                    <a:pt x="270" y="131"/>
                  </a:cubicBezTo>
                  <a:cubicBezTo>
                    <a:pt x="272" y="119"/>
                    <a:pt x="272" y="119"/>
                    <a:pt x="272" y="119"/>
                  </a:cubicBezTo>
                  <a:cubicBezTo>
                    <a:pt x="277" y="107"/>
                    <a:pt x="277" y="107"/>
                    <a:pt x="277" y="107"/>
                  </a:cubicBezTo>
                  <a:cubicBezTo>
                    <a:pt x="290" y="105"/>
                    <a:pt x="290" y="105"/>
                    <a:pt x="290" y="105"/>
                  </a:cubicBezTo>
                  <a:cubicBezTo>
                    <a:pt x="290" y="91"/>
                    <a:pt x="290" y="91"/>
                    <a:pt x="290" y="91"/>
                  </a:cubicBezTo>
                  <a:cubicBezTo>
                    <a:pt x="299" y="79"/>
                    <a:pt x="299" y="79"/>
                    <a:pt x="299" y="79"/>
                  </a:cubicBezTo>
                  <a:cubicBezTo>
                    <a:pt x="290" y="78"/>
                    <a:pt x="290" y="78"/>
                    <a:pt x="290" y="78"/>
                  </a:cubicBezTo>
                  <a:cubicBezTo>
                    <a:pt x="291" y="69"/>
                    <a:pt x="291" y="69"/>
                    <a:pt x="291" y="69"/>
                  </a:cubicBezTo>
                  <a:lnTo>
                    <a:pt x="306" y="69"/>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8" name="Freeform 27">
              <a:extLst>
                <a:ext uri="{FF2B5EF4-FFF2-40B4-BE49-F238E27FC236}">
                  <a16:creationId xmlns:a16="http://schemas.microsoft.com/office/drawing/2014/main" id="{ABB2C168-F9DD-48A4-BE88-0EE830A8153D}"/>
                </a:ext>
              </a:extLst>
            </p:cNvPr>
            <p:cNvSpPr>
              <a:spLocks/>
            </p:cNvSpPr>
            <p:nvPr/>
          </p:nvSpPr>
          <p:spPr bwMode="auto">
            <a:xfrm>
              <a:off x="3570514" y="2694688"/>
              <a:ext cx="432293" cy="344829"/>
            </a:xfrm>
            <a:custGeom>
              <a:avLst/>
              <a:gdLst>
                <a:gd name="T0" fmla="*/ 14 w 182"/>
                <a:gd name="T1" fmla="*/ 104 h 145"/>
                <a:gd name="T2" fmla="*/ 0 w 182"/>
                <a:gd name="T3" fmla="*/ 116 h 145"/>
                <a:gd name="T4" fmla="*/ 0 w 182"/>
                <a:gd name="T5" fmla="*/ 116 h 145"/>
                <a:gd name="T6" fmla="*/ 9 w 182"/>
                <a:gd name="T7" fmla="*/ 108 h 145"/>
                <a:gd name="T8" fmla="*/ 10 w 182"/>
                <a:gd name="T9" fmla="*/ 110 h 145"/>
                <a:gd name="T10" fmla="*/ 18 w 182"/>
                <a:gd name="T11" fmla="*/ 108 h 145"/>
                <a:gd name="T12" fmla="*/ 22 w 182"/>
                <a:gd name="T13" fmla="*/ 114 h 145"/>
                <a:gd name="T14" fmla="*/ 34 w 182"/>
                <a:gd name="T15" fmla="*/ 112 h 145"/>
                <a:gd name="T16" fmla="*/ 43 w 182"/>
                <a:gd name="T17" fmla="*/ 117 h 145"/>
                <a:gd name="T18" fmla="*/ 46 w 182"/>
                <a:gd name="T19" fmla="*/ 110 h 145"/>
                <a:gd name="T20" fmla="*/ 56 w 182"/>
                <a:gd name="T21" fmla="*/ 112 h 145"/>
                <a:gd name="T22" fmla="*/ 56 w 182"/>
                <a:gd name="T23" fmla="*/ 106 h 145"/>
                <a:gd name="T24" fmla="*/ 65 w 182"/>
                <a:gd name="T25" fmla="*/ 108 h 145"/>
                <a:gd name="T26" fmla="*/ 71 w 182"/>
                <a:gd name="T27" fmla="*/ 104 h 145"/>
                <a:gd name="T28" fmla="*/ 90 w 182"/>
                <a:gd name="T29" fmla="*/ 104 h 145"/>
                <a:gd name="T30" fmla="*/ 94 w 182"/>
                <a:gd name="T31" fmla="*/ 114 h 145"/>
                <a:gd name="T32" fmla="*/ 108 w 182"/>
                <a:gd name="T33" fmla="*/ 114 h 145"/>
                <a:gd name="T34" fmla="*/ 119 w 182"/>
                <a:gd name="T35" fmla="*/ 121 h 145"/>
                <a:gd name="T36" fmla="*/ 114 w 182"/>
                <a:gd name="T37" fmla="*/ 130 h 145"/>
                <a:gd name="T38" fmla="*/ 112 w 182"/>
                <a:gd name="T39" fmla="*/ 140 h 145"/>
                <a:gd name="T40" fmla="*/ 123 w 182"/>
                <a:gd name="T41" fmla="*/ 140 h 145"/>
                <a:gd name="T42" fmla="*/ 127 w 182"/>
                <a:gd name="T43" fmla="*/ 124 h 145"/>
                <a:gd name="T44" fmla="*/ 123 w 182"/>
                <a:gd name="T45" fmla="*/ 116 h 145"/>
                <a:gd name="T46" fmla="*/ 134 w 182"/>
                <a:gd name="T47" fmla="*/ 106 h 145"/>
                <a:gd name="T48" fmla="*/ 130 w 182"/>
                <a:gd name="T49" fmla="*/ 95 h 145"/>
                <a:gd name="T50" fmla="*/ 124 w 182"/>
                <a:gd name="T51" fmla="*/ 80 h 145"/>
                <a:gd name="T52" fmla="*/ 148 w 182"/>
                <a:gd name="T53" fmla="*/ 85 h 145"/>
                <a:gd name="T54" fmla="*/ 152 w 182"/>
                <a:gd name="T55" fmla="*/ 77 h 145"/>
                <a:gd name="T56" fmla="*/ 158 w 182"/>
                <a:gd name="T57" fmla="*/ 78 h 145"/>
                <a:gd name="T58" fmla="*/ 160 w 182"/>
                <a:gd name="T59" fmla="*/ 67 h 145"/>
                <a:gd name="T60" fmla="*/ 168 w 182"/>
                <a:gd name="T61" fmla="*/ 59 h 145"/>
                <a:gd name="T62" fmla="*/ 153 w 182"/>
                <a:gd name="T63" fmla="*/ 47 h 145"/>
                <a:gd name="T64" fmla="*/ 164 w 182"/>
                <a:gd name="T65" fmla="*/ 40 h 145"/>
                <a:gd name="T66" fmla="*/ 172 w 182"/>
                <a:gd name="T67" fmla="*/ 40 h 145"/>
                <a:gd name="T68" fmla="*/ 170 w 182"/>
                <a:gd name="T69" fmla="*/ 28 h 145"/>
                <a:gd name="T70" fmla="*/ 182 w 182"/>
                <a:gd name="T71" fmla="*/ 20 h 145"/>
                <a:gd name="T72" fmla="*/ 177 w 182"/>
                <a:gd name="T73" fmla="*/ 12 h 145"/>
                <a:gd name="T74" fmla="*/ 180 w 182"/>
                <a:gd name="T75" fmla="*/ 10 h 145"/>
                <a:gd name="T76" fmla="*/ 176 w 182"/>
                <a:gd name="T77" fmla="*/ 7 h 145"/>
                <a:gd name="T78" fmla="*/ 154 w 182"/>
                <a:gd name="T79" fmla="*/ 1 h 145"/>
                <a:gd name="T80" fmla="*/ 125 w 182"/>
                <a:gd name="T81" fmla="*/ 0 h 145"/>
                <a:gd name="T82" fmla="*/ 103 w 182"/>
                <a:gd name="T83" fmla="*/ 10 h 145"/>
                <a:gd name="T84" fmla="*/ 107 w 182"/>
                <a:gd name="T85" fmla="*/ 21 h 145"/>
                <a:gd name="T86" fmla="*/ 111 w 182"/>
                <a:gd name="T87" fmla="*/ 34 h 145"/>
                <a:gd name="T88" fmla="*/ 116 w 182"/>
                <a:gd name="T89" fmla="*/ 40 h 145"/>
                <a:gd name="T90" fmla="*/ 122 w 182"/>
                <a:gd name="T91" fmla="*/ 48 h 145"/>
                <a:gd name="T92" fmla="*/ 104 w 182"/>
                <a:gd name="T93" fmla="*/ 60 h 145"/>
                <a:gd name="T94" fmla="*/ 92 w 182"/>
                <a:gd name="T95" fmla="*/ 52 h 145"/>
                <a:gd name="T96" fmla="*/ 100 w 182"/>
                <a:gd name="T97" fmla="*/ 37 h 145"/>
                <a:gd name="T98" fmla="*/ 102 w 182"/>
                <a:gd name="T99" fmla="*/ 24 h 145"/>
                <a:gd name="T100" fmla="*/ 97 w 182"/>
                <a:gd name="T101" fmla="*/ 16 h 145"/>
                <a:gd name="T102" fmla="*/ 81 w 182"/>
                <a:gd name="T103" fmla="*/ 30 h 145"/>
                <a:gd name="T104" fmla="*/ 64 w 182"/>
                <a:gd name="T105" fmla="*/ 49 h 145"/>
                <a:gd name="T106" fmla="*/ 60 w 182"/>
                <a:gd name="T107" fmla="*/ 69 h 145"/>
                <a:gd name="T108" fmla="*/ 42 w 182"/>
                <a:gd name="T109" fmla="*/ 89 h 145"/>
                <a:gd name="T110" fmla="*/ 48 w 182"/>
                <a:gd name="T111" fmla="*/ 97 h 145"/>
                <a:gd name="T112" fmla="*/ 31 w 182"/>
                <a:gd name="T113" fmla="*/ 98 h 145"/>
                <a:gd name="T114" fmla="*/ 14 w 182"/>
                <a:gd name="T115" fmla="*/ 10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2" h="145">
                  <a:moveTo>
                    <a:pt x="14" y="104"/>
                  </a:moveTo>
                  <a:cubicBezTo>
                    <a:pt x="0" y="116"/>
                    <a:pt x="0" y="116"/>
                    <a:pt x="0" y="116"/>
                  </a:cubicBezTo>
                  <a:cubicBezTo>
                    <a:pt x="0" y="116"/>
                    <a:pt x="0" y="116"/>
                    <a:pt x="0" y="116"/>
                  </a:cubicBezTo>
                  <a:cubicBezTo>
                    <a:pt x="9" y="108"/>
                    <a:pt x="9" y="108"/>
                    <a:pt x="9" y="108"/>
                  </a:cubicBezTo>
                  <a:cubicBezTo>
                    <a:pt x="10" y="110"/>
                    <a:pt x="10" y="110"/>
                    <a:pt x="10" y="110"/>
                  </a:cubicBezTo>
                  <a:cubicBezTo>
                    <a:pt x="18" y="108"/>
                    <a:pt x="18" y="108"/>
                    <a:pt x="18" y="108"/>
                  </a:cubicBezTo>
                  <a:cubicBezTo>
                    <a:pt x="22" y="114"/>
                    <a:pt x="22" y="114"/>
                    <a:pt x="22" y="114"/>
                  </a:cubicBezTo>
                  <a:cubicBezTo>
                    <a:pt x="22" y="114"/>
                    <a:pt x="30" y="113"/>
                    <a:pt x="34" y="112"/>
                  </a:cubicBezTo>
                  <a:cubicBezTo>
                    <a:pt x="39" y="112"/>
                    <a:pt x="43" y="117"/>
                    <a:pt x="43" y="117"/>
                  </a:cubicBezTo>
                  <a:cubicBezTo>
                    <a:pt x="46" y="110"/>
                    <a:pt x="46" y="110"/>
                    <a:pt x="46" y="110"/>
                  </a:cubicBezTo>
                  <a:cubicBezTo>
                    <a:pt x="56" y="112"/>
                    <a:pt x="56" y="112"/>
                    <a:pt x="56" y="112"/>
                  </a:cubicBezTo>
                  <a:cubicBezTo>
                    <a:pt x="56" y="106"/>
                    <a:pt x="56" y="106"/>
                    <a:pt x="56" y="106"/>
                  </a:cubicBezTo>
                  <a:cubicBezTo>
                    <a:pt x="65" y="108"/>
                    <a:pt x="65" y="108"/>
                    <a:pt x="65" y="108"/>
                  </a:cubicBezTo>
                  <a:cubicBezTo>
                    <a:pt x="65" y="108"/>
                    <a:pt x="66" y="105"/>
                    <a:pt x="71" y="104"/>
                  </a:cubicBezTo>
                  <a:cubicBezTo>
                    <a:pt x="76" y="102"/>
                    <a:pt x="90" y="104"/>
                    <a:pt x="90" y="104"/>
                  </a:cubicBezTo>
                  <a:cubicBezTo>
                    <a:pt x="90" y="104"/>
                    <a:pt x="91" y="110"/>
                    <a:pt x="94" y="114"/>
                  </a:cubicBezTo>
                  <a:cubicBezTo>
                    <a:pt x="96" y="118"/>
                    <a:pt x="108" y="114"/>
                    <a:pt x="108" y="114"/>
                  </a:cubicBezTo>
                  <a:cubicBezTo>
                    <a:pt x="108" y="114"/>
                    <a:pt x="118" y="112"/>
                    <a:pt x="119" y="121"/>
                  </a:cubicBezTo>
                  <a:cubicBezTo>
                    <a:pt x="120" y="130"/>
                    <a:pt x="114" y="130"/>
                    <a:pt x="114" y="130"/>
                  </a:cubicBezTo>
                  <a:cubicBezTo>
                    <a:pt x="114" y="130"/>
                    <a:pt x="110" y="134"/>
                    <a:pt x="112" y="140"/>
                  </a:cubicBezTo>
                  <a:cubicBezTo>
                    <a:pt x="114" y="145"/>
                    <a:pt x="123" y="140"/>
                    <a:pt x="123" y="140"/>
                  </a:cubicBezTo>
                  <a:cubicBezTo>
                    <a:pt x="123" y="140"/>
                    <a:pt x="126" y="126"/>
                    <a:pt x="127" y="124"/>
                  </a:cubicBezTo>
                  <a:cubicBezTo>
                    <a:pt x="128" y="122"/>
                    <a:pt x="123" y="116"/>
                    <a:pt x="123" y="116"/>
                  </a:cubicBezTo>
                  <a:cubicBezTo>
                    <a:pt x="123" y="116"/>
                    <a:pt x="134" y="110"/>
                    <a:pt x="134" y="106"/>
                  </a:cubicBezTo>
                  <a:cubicBezTo>
                    <a:pt x="135" y="103"/>
                    <a:pt x="130" y="95"/>
                    <a:pt x="130" y="95"/>
                  </a:cubicBezTo>
                  <a:cubicBezTo>
                    <a:pt x="124" y="80"/>
                    <a:pt x="124" y="80"/>
                    <a:pt x="124" y="80"/>
                  </a:cubicBezTo>
                  <a:cubicBezTo>
                    <a:pt x="124" y="80"/>
                    <a:pt x="146" y="88"/>
                    <a:pt x="148" y="85"/>
                  </a:cubicBezTo>
                  <a:cubicBezTo>
                    <a:pt x="150" y="82"/>
                    <a:pt x="152" y="77"/>
                    <a:pt x="152" y="77"/>
                  </a:cubicBezTo>
                  <a:cubicBezTo>
                    <a:pt x="158" y="78"/>
                    <a:pt x="158" y="78"/>
                    <a:pt x="158" y="78"/>
                  </a:cubicBezTo>
                  <a:cubicBezTo>
                    <a:pt x="160" y="67"/>
                    <a:pt x="160" y="67"/>
                    <a:pt x="160" y="67"/>
                  </a:cubicBezTo>
                  <a:cubicBezTo>
                    <a:pt x="160" y="67"/>
                    <a:pt x="168" y="63"/>
                    <a:pt x="168" y="59"/>
                  </a:cubicBezTo>
                  <a:cubicBezTo>
                    <a:pt x="168" y="55"/>
                    <a:pt x="154" y="50"/>
                    <a:pt x="153" y="47"/>
                  </a:cubicBezTo>
                  <a:cubicBezTo>
                    <a:pt x="152" y="44"/>
                    <a:pt x="164" y="40"/>
                    <a:pt x="164" y="40"/>
                  </a:cubicBezTo>
                  <a:cubicBezTo>
                    <a:pt x="172" y="40"/>
                    <a:pt x="172" y="40"/>
                    <a:pt x="172" y="40"/>
                  </a:cubicBezTo>
                  <a:cubicBezTo>
                    <a:pt x="172" y="40"/>
                    <a:pt x="168" y="32"/>
                    <a:pt x="170" y="28"/>
                  </a:cubicBezTo>
                  <a:cubicBezTo>
                    <a:pt x="171" y="24"/>
                    <a:pt x="182" y="20"/>
                    <a:pt x="182" y="20"/>
                  </a:cubicBezTo>
                  <a:cubicBezTo>
                    <a:pt x="177" y="12"/>
                    <a:pt x="177" y="12"/>
                    <a:pt x="177" y="12"/>
                  </a:cubicBezTo>
                  <a:cubicBezTo>
                    <a:pt x="180" y="10"/>
                    <a:pt x="180" y="10"/>
                    <a:pt x="180" y="10"/>
                  </a:cubicBezTo>
                  <a:cubicBezTo>
                    <a:pt x="176" y="7"/>
                    <a:pt x="176" y="7"/>
                    <a:pt x="176" y="7"/>
                  </a:cubicBezTo>
                  <a:cubicBezTo>
                    <a:pt x="176" y="7"/>
                    <a:pt x="160" y="1"/>
                    <a:pt x="154" y="1"/>
                  </a:cubicBezTo>
                  <a:cubicBezTo>
                    <a:pt x="148" y="1"/>
                    <a:pt x="125" y="0"/>
                    <a:pt x="125" y="0"/>
                  </a:cubicBezTo>
                  <a:cubicBezTo>
                    <a:pt x="125" y="0"/>
                    <a:pt x="111" y="5"/>
                    <a:pt x="103" y="10"/>
                  </a:cubicBezTo>
                  <a:cubicBezTo>
                    <a:pt x="104" y="14"/>
                    <a:pt x="107" y="19"/>
                    <a:pt x="107" y="21"/>
                  </a:cubicBezTo>
                  <a:cubicBezTo>
                    <a:pt x="108" y="24"/>
                    <a:pt x="111" y="34"/>
                    <a:pt x="111" y="34"/>
                  </a:cubicBezTo>
                  <a:cubicBezTo>
                    <a:pt x="111" y="34"/>
                    <a:pt x="114" y="40"/>
                    <a:pt x="116" y="40"/>
                  </a:cubicBezTo>
                  <a:cubicBezTo>
                    <a:pt x="119" y="40"/>
                    <a:pt x="122" y="43"/>
                    <a:pt x="122" y="48"/>
                  </a:cubicBezTo>
                  <a:cubicBezTo>
                    <a:pt x="123" y="52"/>
                    <a:pt x="111" y="59"/>
                    <a:pt x="104" y="60"/>
                  </a:cubicBezTo>
                  <a:cubicBezTo>
                    <a:pt x="98" y="60"/>
                    <a:pt x="95" y="55"/>
                    <a:pt x="92" y="52"/>
                  </a:cubicBezTo>
                  <a:cubicBezTo>
                    <a:pt x="88" y="48"/>
                    <a:pt x="94" y="45"/>
                    <a:pt x="100" y="37"/>
                  </a:cubicBezTo>
                  <a:cubicBezTo>
                    <a:pt x="106" y="29"/>
                    <a:pt x="102" y="24"/>
                    <a:pt x="102" y="24"/>
                  </a:cubicBezTo>
                  <a:cubicBezTo>
                    <a:pt x="102" y="24"/>
                    <a:pt x="99" y="21"/>
                    <a:pt x="97" y="16"/>
                  </a:cubicBezTo>
                  <a:cubicBezTo>
                    <a:pt x="92" y="23"/>
                    <a:pt x="81" y="30"/>
                    <a:pt x="81" y="30"/>
                  </a:cubicBezTo>
                  <a:cubicBezTo>
                    <a:pt x="81" y="30"/>
                    <a:pt x="64" y="42"/>
                    <a:pt x="64" y="49"/>
                  </a:cubicBezTo>
                  <a:cubicBezTo>
                    <a:pt x="64" y="56"/>
                    <a:pt x="60" y="69"/>
                    <a:pt x="60" y="69"/>
                  </a:cubicBezTo>
                  <a:cubicBezTo>
                    <a:pt x="42" y="89"/>
                    <a:pt x="42" y="89"/>
                    <a:pt x="42" y="89"/>
                  </a:cubicBezTo>
                  <a:cubicBezTo>
                    <a:pt x="48" y="97"/>
                    <a:pt x="48" y="97"/>
                    <a:pt x="48" y="97"/>
                  </a:cubicBezTo>
                  <a:cubicBezTo>
                    <a:pt x="31" y="98"/>
                    <a:pt x="31" y="98"/>
                    <a:pt x="31" y="98"/>
                  </a:cubicBezTo>
                  <a:lnTo>
                    <a:pt x="14" y="104"/>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9" name="Freeform 28">
              <a:extLst>
                <a:ext uri="{FF2B5EF4-FFF2-40B4-BE49-F238E27FC236}">
                  <a16:creationId xmlns:a16="http://schemas.microsoft.com/office/drawing/2014/main" id="{6202DB93-5398-4E17-B0F4-331809B10349}"/>
                </a:ext>
              </a:extLst>
            </p:cNvPr>
            <p:cNvSpPr>
              <a:spLocks/>
            </p:cNvSpPr>
            <p:nvPr/>
          </p:nvSpPr>
          <p:spPr bwMode="auto">
            <a:xfrm>
              <a:off x="3551413" y="2936974"/>
              <a:ext cx="353877" cy="242286"/>
            </a:xfrm>
            <a:custGeom>
              <a:avLst/>
              <a:gdLst>
                <a:gd name="T0" fmla="*/ 0 w 149"/>
                <a:gd name="T1" fmla="*/ 29 h 102"/>
                <a:gd name="T2" fmla="*/ 6 w 149"/>
                <a:gd name="T3" fmla="*/ 43 h 102"/>
                <a:gd name="T4" fmla="*/ 22 w 149"/>
                <a:gd name="T5" fmla="*/ 47 h 102"/>
                <a:gd name="T6" fmla="*/ 29 w 149"/>
                <a:gd name="T7" fmla="*/ 54 h 102"/>
                <a:gd name="T8" fmla="*/ 52 w 149"/>
                <a:gd name="T9" fmla="*/ 59 h 102"/>
                <a:gd name="T10" fmla="*/ 57 w 149"/>
                <a:gd name="T11" fmla="*/ 78 h 102"/>
                <a:gd name="T12" fmla="*/ 72 w 149"/>
                <a:gd name="T13" fmla="*/ 78 h 102"/>
                <a:gd name="T14" fmla="*/ 82 w 149"/>
                <a:gd name="T15" fmla="*/ 71 h 102"/>
                <a:gd name="T16" fmla="*/ 82 w 149"/>
                <a:gd name="T17" fmla="*/ 87 h 102"/>
                <a:gd name="T18" fmla="*/ 106 w 149"/>
                <a:gd name="T19" fmla="*/ 94 h 102"/>
                <a:gd name="T20" fmla="*/ 109 w 149"/>
                <a:gd name="T21" fmla="*/ 98 h 102"/>
                <a:gd name="T22" fmla="*/ 123 w 149"/>
                <a:gd name="T23" fmla="*/ 98 h 102"/>
                <a:gd name="T24" fmla="*/ 128 w 149"/>
                <a:gd name="T25" fmla="*/ 102 h 102"/>
                <a:gd name="T26" fmla="*/ 131 w 149"/>
                <a:gd name="T27" fmla="*/ 100 h 102"/>
                <a:gd name="T28" fmla="*/ 120 w 149"/>
                <a:gd name="T29" fmla="*/ 86 h 102"/>
                <a:gd name="T30" fmla="*/ 130 w 149"/>
                <a:gd name="T31" fmla="*/ 72 h 102"/>
                <a:gd name="T32" fmla="*/ 138 w 149"/>
                <a:gd name="T33" fmla="*/ 68 h 102"/>
                <a:gd name="T34" fmla="*/ 138 w 149"/>
                <a:gd name="T35" fmla="*/ 68 h 102"/>
                <a:gd name="T36" fmla="*/ 140 w 149"/>
                <a:gd name="T37" fmla="*/ 62 h 102"/>
                <a:gd name="T38" fmla="*/ 149 w 149"/>
                <a:gd name="T39" fmla="*/ 61 h 102"/>
                <a:gd name="T40" fmla="*/ 146 w 149"/>
                <a:gd name="T41" fmla="*/ 48 h 102"/>
                <a:gd name="T42" fmla="*/ 136 w 149"/>
                <a:gd name="T43" fmla="*/ 39 h 102"/>
                <a:gd name="T44" fmla="*/ 131 w 149"/>
                <a:gd name="T45" fmla="*/ 38 h 102"/>
                <a:gd name="T46" fmla="*/ 120 w 149"/>
                <a:gd name="T47" fmla="*/ 38 h 102"/>
                <a:gd name="T48" fmla="*/ 122 w 149"/>
                <a:gd name="T49" fmla="*/ 28 h 102"/>
                <a:gd name="T50" fmla="*/ 127 w 149"/>
                <a:gd name="T51" fmla="*/ 19 h 102"/>
                <a:gd name="T52" fmla="*/ 116 w 149"/>
                <a:gd name="T53" fmla="*/ 12 h 102"/>
                <a:gd name="T54" fmla="*/ 102 w 149"/>
                <a:gd name="T55" fmla="*/ 12 h 102"/>
                <a:gd name="T56" fmla="*/ 98 w 149"/>
                <a:gd name="T57" fmla="*/ 2 h 102"/>
                <a:gd name="T58" fmla="*/ 79 w 149"/>
                <a:gd name="T59" fmla="*/ 2 h 102"/>
                <a:gd name="T60" fmla="*/ 73 w 149"/>
                <a:gd name="T61" fmla="*/ 6 h 102"/>
                <a:gd name="T62" fmla="*/ 64 w 149"/>
                <a:gd name="T63" fmla="*/ 4 h 102"/>
                <a:gd name="T64" fmla="*/ 64 w 149"/>
                <a:gd name="T65" fmla="*/ 10 h 102"/>
                <a:gd name="T66" fmla="*/ 54 w 149"/>
                <a:gd name="T67" fmla="*/ 8 h 102"/>
                <a:gd name="T68" fmla="*/ 51 w 149"/>
                <a:gd name="T69" fmla="*/ 15 h 102"/>
                <a:gd name="T70" fmla="*/ 42 w 149"/>
                <a:gd name="T71" fmla="*/ 10 h 102"/>
                <a:gd name="T72" fmla="*/ 30 w 149"/>
                <a:gd name="T73" fmla="*/ 12 h 102"/>
                <a:gd name="T74" fmla="*/ 26 w 149"/>
                <a:gd name="T75" fmla="*/ 6 h 102"/>
                <a:gd name="T76" fmla="*/ 18 w 149"/>
                <a:gd name="T77" fmla="*/ 8 h 102"/>
                <a:gd name="T78" fmla="*/ 17 w 149"/>
                <a:gd name="T79" fmla="*/ 6 h 102"/>
                <a:gd name="T80" fmla="*/ 1 w 149"/>
                <a:gd name="T81" fmla="*/ 20 h 102"/>
                <a:gd name="T82" fmla="*/ 0 w 149"/>
                <a:gd name="T83" fmla="*/ 2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9" h="102">
                  <a:moveTo>
                    <a:pt x="0" y="29"/>
                  </a:moveTo>
                  <a:cubicBezTo>
                    <a:pt x="6" y="43"/>
                    <a:pt x="6" y="43"/>
                    <a:pt x="6" y="43"/>
                  </a:cubicBezTo>
                  <a:cubicBezTo>
                    <a:pt x="22" y="47"/>
                    <a:pt x="22" y="47"/>
                    <a:pt x="22" y="47"/>
                  </a:cubicBezTo>
                  <a:cubicBezTo>
                    <a:pt x="29" y="54"/>
                    <a:pt x="29" y="54"/>
                    <a:pt x="29" y="54"/>
                  </a:cubicBezTo>
                  <a:cubicBezTo>
                    <a:pt x="29" y="54"/>
                    <a:pt x="47" y="56"/>
                    <a:pt x="52" y="59"/>
                  </a:cubicBezTo>
                  <a:cubicBezTo>
                    <a:pt x="57" y="62"/>
                    <a:pt x="57" y="78"/>
                    <a:pt x="57" y="78"/>
                  </a:cubicBezTo>
                  <a:cubicBezTo>
                    <a:pt x="72" y="78"/>
                    <a:pt x="72" y="78"/>
                    <a:pt x="72" y="78"/>
                  </a:cubicBezTo>
                  <a:cubicBezTo>
                    <a:pt x="82" y="71"/>
                    <a:pt x="82" y="71"/>
                    <a:pt x="82" y="71"/>
                  </a:cubicBezTo>
                  <a:cubicBezTo>
                    <a:pt x="82" y="87"/>
                    <a:pt x="82" y="87"/>
                    <a:pt x="82" y="87"/>
                  </a:cubicBezTo>
                  <a:cubicBezTo>
                    <a:pt x="82" y="87"/>
                    <a:pt x="104" y="91"/>
                    <a:pt x="106" y="94"/>
                  </a:cubicBezTo>
                  <a:cubicBezTo>
                    <a:pt x="108" y="97"/>
                    <a:pt x="109" y="98"/>
                    <a:pt x="109" y="98"/>
                  </a:cubicBezTo>
                  <a:cubicBezTo>
                    <a:pt x="123" y="98"/>
                    <a:pt x="123" y="98"/>
                    <a:pt x="123" y="98"/>
                  </a:cubicBezTo>
                  <a:cubicBezTo>
                    <a:pt x="128" y="102"/>
                    <a:pt x="128" y="102"/>
                    <a:pt x="128" y="102"/>
                  </a:cubicBezTo>
                  <a:cubicBezTo>
                    <a:pt x="131" y="100"/>
                    <a:pt x="131" y="100"/>
                    <a:pt x="131" y="100"/>
                  </a:cubicBezTo>
                  <a:cubicBezTo>
                    <a:pt x="127" y="95"/>
                    <a:pt x="121" y="88"/>
                    <a:pt x="120" y="86"/>
                  </a:cubicBezTo>
                  <a:cubicBezTo>
                    <a:pt x="118" y="84"/>
                    <a:pt x="119" y="78"/>
                    <a:pt x="130" y="72"/>
                  </a:cubicBezTo>
                  <a:cubicBezTo>
                    <a:pt x="134" y="70"/>
                    <a:pt x="137" y="69"/>
                    <a:pt x="138" y="68"/>
                  </a:cubicBezTo>
                  <a:cubicBezTo>
                    <a:pt x="138" y="68"/>
                    <a:pt x="138" y="68"/>
                    <a:pt x="138" y="68"/>
                  </a:cubicBezTo>
                  <a:cubicBezTo>
                    <a:pt x="139" y="65"/>
                    <a:pt x="140" y="62"/>
                    <a:pt x="140" y="62"/>
                  </a:cubicBezTo>
                  <a:cubicBezTo>
                    <a:pt x="149" y="61"/>
                    <a:pt x="149" y="61"/>
                    <a:pt x="149" y="61"/>
                  </a:cubicBezTo>
                  <a:cubicBezTo>
                    <a:pt x="149" y="61"/>
                    <a:pt x="146" y="54"/>
                    <a:pt x="146" y="48"/>
                  </a:cubicBezTo>
                  <a:cubicBezTo>
                    <a:pt x="145" y="42"/>
                    <a:pt x="136" y="39"/>
                    <a:pt x="136" y="39"/>
                  </a:cubicBezTo>
                  <a:cubicBezTo>
                    <a:pt x="131" y="38"/>
                    <a:pt x="131" y="38"/>
                    <a:pt x="131" y="38"/>
                  </a:cubicBezTo>
                  <a:cubicBezTo>
                    <a:pt x="131" y="38"/>
                    <a:pt x="122" y="43"/>
                    <a:pt x="120" y="38"/>
                  </a:cubicBezTo>
                  <a:cubicBezTo>
                    <a:pt x="118" y="32"/>
                    <a:pt x="122" y="28"/>
                    <a:pt x="122" y="28"/>
                  </a:cubicBezTo>
                  <a:cubicBezTo>
                    <a:pt x="122" y="28"/>
                    <a:pt x="128" y="28"/>
                    <a:pt x="127" y="19"/>
                  </a:cubicBezTo>
                  <a:cubicBezTo>
                    <a:pt x="126" y="10"/>
                    <a:pt x="116" y="12"/>
                    <a:pt x="116" y="12"/>
                  </a:cubicBezTo>
                  <a:cubicBezTo>
                    <a:pt x="116" y="12"/>
                    <a:pt x="104" y="16"/>
                    <a:pt x="102" y="12"/>
                  </a:cubicBezTo>
                  <a:cubicBezTo>
                    <a:pt x="99" y="8"/>
                    <a:pt x="98" y="2"/>
                    <a:pt x="98" y="2"/>
                  </a:cubicBezTo>
                  <a:cubicBezTo>
                    <a:pt x="98" y="2"/>
                    <a:pt x="84" y="0"/>
                    <a:pt x="79" y="2"/>
                  </a:cubicBezTo>
                  <a:cubicBezTo>
                    <a:pt x="74" y="3"/>
                    <a:pt x="73" y="6"/>
                    <a:pt x="73" y="6"/>
                  </a:cubicBezTo>
                  <a:cubicBezTo>
                    <a:pt x="64" y="4"/>
                    <a:pt x="64" y="4"/>
                    <a:pt x="64" y="4"/>
                  </a:cubicBezTo>
                  <a:cubicBezTo>
                    <a:pt x="64" y="10"/>
                    <a:pt x="64" y="10"/>
                    <a:pt x="64" y="10"/>
                  </a:cubicBezTo>
                  <a:cubicBezTo>
                    <a:pt x="54" y="8"/>
                    <a:pt x="54" y="8"/>
                    <a:pt x="54" y="8"/>
                  </a:cubicBezTo>
                  <a:cubicBezTo>
                    <a:pt x="51" y="15"/>
                    <a:pt x="51" y="15"/>
                    <a:pt x="51" y="15"/>
                  </a:cubicBezTo>
                  <a:cubicBezTo>
                    <a:pt x="51" y="15"/>
                    <a:pt x="47" y="10"/>
                    <a:pt x="42" y="10"/>
                  </a:cubicBezTo>
                  <a:cubicBezTo>
                    <a:pt x="38" y="11"/>
                    <a:pt x="30" y="12"/>
                    <a:pt x="30" y="12"/>
                  </a:cubicBezTo>
                  <a:cubicBezTo>
                    <a:pt x="26" y="6"/>
                    <a:pt x="26" y="6"/>
                    <a:pt x="26" y="6"/>
                  </a:cubicBezTo>
                  <a:cubicBezTo>
                    <a:pt x="18" y="8"/>
                    <a:pt x="18" y="8"/>
                    <a:pt x="18" y="8"/>
                  </a:cubicBezTo>
                  <a:cubicBezTo>
                    <a:pt x="17" y="6"/>
                    <a:pt x="17" y="6"/>
                    <a:pt x="17" y="6"/>
                  </a:cubicBezTo>
                  <a:cubicBezTo>
                    <a:pt x="1" y="20"/>
                    <a:pt x="1" y="20"/>
                    <a:pt x="1" y="20"/>
                  </a:cubicBezTo>
                  <a:lnTo>
                    <a:pt x="0" y="29"/>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0" name="Freeform 29">
              <a:extLst>
                <a:ext uri="{FF2B5EF4-FFF2-40B4-BE49-F238E27FC236}">
                  <a16:creationId xmlns:a16="http://schemas.microsoft.com/office/drawing/2014/main" id="{E7DC85E7-4EE6-40EE-9929-853E289B3E14}"/>
                </a:ext>
              </a:extLst>
            </p:cNvPr>
            <p:cNvSpPr>
              <a:spLocks/>
            </p:cNvSpPr>
            <p:nvPr/>
          </p:nvSpPr>
          <p:spPr bwMode="auto">
            <a:xfrm>
              <a:off x="3863066" y="2516745"/>
              <a:ext cx="885698" cy="932948"/>
            </a:xfrm>
            <a:custGeom>
              <a:avLst/>
              <a:gdLst>
                <a:gd name="T0" fmla="*/ 21 w 373"/>
                <a:gd name="T1" fmla="*/ 294 h 393"/>
                <a:gd name="T2" fmla="*/ 62 w 373"/>
                <a:gd name="T3" fmla="*/ 297 h 393"/>
                <a:gd name="T4" fmla="*/ 90 w 373"/>
                <a:gd name="T5" fmla="*/ 305 h 393"/>
                <a:gd name="T6" fmla="*/ 74 w 373"/>
                <a:gd name="T7" fmla="*/ 330 h 393"/>
                <a:gd name="T8" fmla="*/ 75 w 373"/>
                <a:gd name="T9" fmla="*/ 381 h 393"/>
                <a:gd name="T10" fmla="*/ 101 w 373"/>
                <a:gd name="T11" fmla="*/ 378 h 393"/>
                <a:gd name="T12" fmla="*/ 128 w 373"/>
                <a:gd name="T13" fmla="*/ 372 h 393"/>
                <a:gd name="T14" fmla="*/ 148 w 373"/>
                <a:gd name="T15" fmla="*/ 383 h 393"/>
                <a:gd name="T16" fmla="*/ 161 w 373"/>
                <a:gd name="T17" fmla="*/ 382 h 393"/>
                <a:gd name="T18" fmla="*/ 182 w 373"/>
                <a:gd name="T19" fmla="*/ 377 h 393"/>
                <a:gd name="T20" fmla="*/ 224 w 373"/>
                <a:gd name="T21" fmla="*/ 387 h 393"/>
                <a:gd name="T22" fmla="*/ 258 w 373"/>
                <a:gd name="T23" fmla="*/ 372 h 393"/>
                <a:gd name="T24" fmla="*/ 290 w 373"/>
                <a:gd name="T25" fmla="*/ 385 h 393"/>
                <a:gd name="T26" fmla="*/ 282 w 373"/>
                <a:gd name="T27" fmla="*/ 358 h 393"/>
                <a:gd name="T28" fmla="*/ 309 w 373"/>
                <a:gd name="T29" fmla="*/ 335 h 393"/>
                <a:gd name="T30" fmla="*/ 324 w 373"/>
                <a:gd name="T31" fmla="*/ 316 h 393"/>
                <a:gd name="T32" fmla="*/ 301 w 373"/>
                <a:gd name="T33" fmla="*/ 295 h 393"/>
                <a:gd name="T34" fmla="*/ 281 w 373"/>
                <a:gd name="T35" fmla="*/ 285 h 393"/>
                <a:gd name="T36" fmla="*/ 271 w 373"/>
                <a:gd name="T37" fmla="*/ 271 h 393"/>
                <a:gd name="T38" fmla="*/ 263 w 373"/>
                <a:gd name="T39" fmla="*/ 248 h 393"/>
                <a:gd name="T40" fmla="*/ 263 w 373"/>
                <a:gd name="T41" fmla="*/ 239 h 393"/>
                <a:gd name="T42" fmla="*/ 283 w 373"/>
                <a:gd name="T43" fmla="*/ 227 h 393"/>
                <a:gd name="T44" fmla="*/ 308 w 373"/>
                <a:gd name="T45" fmla="*/ 221 h 393"/>
                <a:gd name="T46" fmla="*/ 325 w 373"/>
                <a:gd name="T47" fmla="*/ 210 h 393"/>
                <a:gd name="T48" fmla="*/ 360 w 373"/>
                <a:gd name="T49" fmla="*/ 208 h 393"/>
                <a:gd name="T50" fmla="*/ 369 w 373"/>
                <a:gd name="T51" fmla="*/ 177 h 393"/>
                <a:gd name="T52" fmla="*/ 351 w 373"/>
                <a:gd name="T53" fmla="*/ 157 h 393"/>
                <a:gd name="T54" fmla="*/ 356 w 373"/>
                <a:gd name="T55" fmla="*/ 136 h 393"/>
                <a:gd name="T56" fmla="*/ 352 w 373"/>
                <a:gd name="T57" fmla="*/ 115 h 393"/>
                <a:gd name="T58" fmla="*/ 334 w 373"/>
                <a:gd name="T59" fmla="*/ 106 h 393"/>
                <a:gd name="T60" fmla="*/ 339 w 373"/>
                <a:gd name="T61" fmla="*/ 72 h 393"/>
                <a:gd name="T62" fmla="*/ 321 w 373"/>
                <a:gd name="T63" fmla="*/ 55 h 393"/>
                <a:gd name="T64" fmla="*/ 296 w 373"/>
                <a:gd name="T65" fmla="*/ 35 h 393"/>
                <a:gd name="T66" fmla="*/ 226 w 373"/>
                <a:gd name="T67" fmla="*/ 35 h 393"/>
                <a:gd name="T68" fmla="*/ 202 w 373"/>
                <a:gd name="T69" fmla="*/ 35 h 393"/>
                <a:gd name="T70" fmla="*/ 168 w 373"/>
                <a:gd name="T71" fmla="*/ 22 h 393"/>
                <a:gd name="T72" fmla="*/ 145 w 373"/>
                <a:gd name="T73" fmla="*/ 3 h 393"/>
                <a:gd name="T74" fmla="*/ 112 w 373"/>
                <a:gd name="T75" fmla="*/ 0 h 393"/>
                <a:gd name="T76" fmla="*/ 130 w 373"/>
                <a:gd name="T77" fmla="*/ 49 h 393"/>
                <a:gd name="T78" fmla="*/ 105 w 373"/>
                <a:gd name="T79" fmla="*/ 55 h 393"/>
                <a:gd name="T80" fmla="*/ 82 w 373"/>
                <a:gd name="T81" fmla="*/ 62 h 393"/>
                <a:gd name="T82" fmla="*/ 57 w 373"/>
                <a:gd name="T83" fmla="*/ 85 h 393"/>
                <a:gd name="T84" fmla="*/ 47 w 373"/>
                <a:gd name="T85" fmla="*/ 103 h 393"/>
                <a:gd name="T86" fmla="*/ 30 w 373"/>
                <a:gd name="T87" fmla="*/ 122 h 393"/>
                <a:gd name="T88" fmla="*/ 35 w 373"/>
                <a:gd name="T89" fmla="*/ 153 h 393"/>
                <a:gd name="T90" fmla="*/ 1 w 373"/>
                <a:gd name="T91" fmla="*/ 155 h 393"/>
                <a:gd name="T92" fmla="*/ 0 w 373"/>
                <a:gd name="T93" fmla="*/ 191 h 393"/>
                <a:gd name="T94" fmla="*/ 5 w 373"/>
                <a:gd name="T95" fmla="*/ 216 h 393"/>
                <a:gd name="T96" fmla="*/ 9 w 373"/>
                <a:gd name="T97" fmla="*/ 239 h 393"/>
                <a:gd name="T98" fmla="*/ 17 w 373"/>
                <a:gd name="T99" fmla="*/ 274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3" h="393">
                  <a:moveTo>
                    <a:pt x="17" y="274"/>
                  </a:moveTo>
                  <a:cubicBezTo>
                    <a:pt x="17" y="274"/>
                    <a:pt x="19" y="278"/>
                    <a:pt x="22" y="281"/>
                  </a:cubicBezTo>
                  <a:cubicBezTo>
                    <a:pt x="25" y="284"/>
                    <a:pt x="21" y="294"/>
                    <a:pt x="21" y="294"/>
                  </a:cubicBezTo>
                  <a:cubicBezTo>
                    <a:pt x="38" y="294"/>
                    <a:pt x="38" y="294"/>
                    <a:pt x="38" y="294"/>
                  </a:cubicBezTo>
                  <a:cubicBezTo>
                    <a:pt x="38" y="294"/>
                    <a:pt x="36" y="299"/>
                    <a:pt x="42" y="300"/>
                  </a:cubicBezTo>
                  <a:cubicBezTo>
                    <a:pt x="48" y="301"/>
                    <a:pt x="62" y="297"/>
                    <a:pt x="62" y="297"/>
                  </a:cubicBezTo>
                  <a:cubicBezTo>
                    <a:pt x="62" y="301"/>
                    <a:pt x="62" y="301"/>
                    <a:pt x="62" y="301"/>
                  </a:cubicBezTo>
                  <a:cubicBezTo>
                    <a:pt x="80" y="300"/>
                    <a:pt x="80" y="300"/>
                    <a:pt x="80" y="300"/>
                  </a:cubicBezTo>
                  <a:cubicBezTo>
                    <a:pt x="90" y="305"/>
                    <a:pt x="90" y="305"/>
                    <a:pt x="90" y="305"/>
                  </a:cubicBezTo>
                  <a:cubicBezTo>
                    <a:pt x="88" y="311"/>
                    <a:pt x="88" y="311"/>
                    <a:pt x="88" y="311"/>
                  </a:cubicBezTo>
                  <a:cubicBezTo>
                    <a:pt x="74" y="322"/>
                    <a:pt x="74" y="322"/>
                    <a:pt x="74" y="322"/>
                  </a:cubicBezTo>
                  <a:cubicBezTo>
                    <a:pt x="74" y="330"/>
                    <a:pt x="74" y="330"/>
                    <a:pt x="74" y="330"/>
                  </a:cubicBezTo>
                  <a:cubicBezTo>
                    <a:pt x="74" y="330"/>
                    <a:pt x="64" y="349"/>
                    <a:pt x="62" y="360"/>
                  </a:cubicBezTo>
                  <a:cubicBezTo>
                    <a:pt x="60" y="369"/>
                    <a:pt x="63" y="377"/>
                    <a:pt x="64" y="379"/>
                  </a:cubicBezTo>
                  <a:cubicBezTo>
                    <a:pt x="75" y="381"/>
                    <a:pt x="75" y="381"/>
                    <a:pt x="75" y="381"/>
                  </a:cubicBezTo>
                  <a:cubicBezTo>
                    <a:pt x="87" y="381"/>
                    <a:pt x="87" y="381"/>
                    <a:pt x="87" y="381"/>
                  </a:cubicBezTo>
                  <a:cubicBezTo>
                    <a:pt x="97" y="374"/>
                    <a:pt x="97" y="374"/>
                    <a:pt x="97" y="374"/>
                  </a:cubicBezTo>
                  <a:cubicBezTo>
                    <a:pt x="101" y="378"/>
                    <a:pt x="101" y="378"/>
                    <a:pt x="101" y="378"/>
                  </a:cubicBezTo>
                  <a:cubicBezTo>
                    <a:pt x="101" y="378"/>
                    <a:pt x="96" y="366"/>
                    <a:pt x="103" y="365"/>
                  </a:cubicBezTo>
                  <a:cubicBezTo>
                    <a:pt x="110" y="364"/>
                    <a:pt x="119" y="372"/>
                    <a:pt x="119" y="372"/>
                  </a:cubicBezTo>
                  <a:cubicBezTo>
                    <a:pt x="128" y="372"/>
                    <a:pt x="128" y="372"/>
                    <a:pt x="128" y="372"/>
                  </a:cubicBezTo>
                  <a:cubicBezTo>
                    <a:pt x="138" y="375"/>
                    <a:pt x="138" y="375"/>
                    <a:pt x="138" y="375"/>
                  </a:cubicBezTo>
                  <a:cubicBezTo>
                    <a:pt x="144" y="383"/>
                    <a:pt x="144" y="383"/>
                    <a:pt x="144" y="383"/>
                  </a:cubicBezTo>
                  <a:cubicBezTo>
                    <a:pt x="148" y="383"/>
                    <a:pt x="148" y="383"/>
                    <a:pt x="148" y="383"/>
                  </a:cubicBezTo>
                  <a:cubicBezTo>
                    <a:pt x="148" y="383"/>
                    <a:pt x="149" y="384"/>
                    <a:pt x="149" y="385"/>
                  </a:cubicBezTo>
                  <a:cubicBezTo>
                    <a:pt x="149" y="385"/>
                    <a:pt x="149" y="385"/>
                    <a:pt x="149" y="385"/>
                  </a:cubicBezTo>
                  <a:cubicBezTo>
                    <a:pt x="151" y="383"/>
                    <a:pt x="155" y="380"/>
                    <a:pt x="161" y="382"/>
                  </a:cubicBezTo>
                  <a:cubicBezTo>
                    <a:pt x="170" y="383"/>
                    <a:pt x="171" y="393"/>
                    <a:pt x="175" y="392"/>
                  </a:cubicBezTo>
                  <a:cubicBezTo>
                    <a:pt x="179" y="391"/>
                    <a:pt x="182" y="386"/>
                    <a:pt x="182" y="386"/>
                  </a:cubicBezTo>
                  <a:cubicBezTo>
                    <a:pt x="182" y="377"/>
                    <a:pt x="182" y="377"/>
                    <a:pt x="182" y="377"/>
                  </a:cubicBezTo>
                  <a:cubicBezTo>
                    <a:pt x="195" y="378"/>
                    <a:pt x="195" y="378"/>
                    <a:pt x="195" y="378"/>
                  </a:cubicBezTo>
                  <a:cubicBezTo>
                    <a:pt x="195" y="378"/>
                    <a:pt x="205" y="389"/>
                    <a:pt x="212" y="389"/>
                  </a:cubicBezTo>
                  <a:cubicBezTo>
                    <a:pt x="218" y="389"/>
                    <a:pt x="224" y="387"/>
                    <a:pt x="224" y="387"/>
                  </a:cubicBezTo>
                  <a:cubicBezTo>
                    <a:pt x="233" y="379"/>
                    <a:pt x="233" y="379"/>
                    <a:pt x="233" y="379"/>
                  </a:cubicBezTo>
                  <a:cubicBezTo>
                    <a:pt x="247" y="378"/>
                    <a:pt x="247" y="378"/>
                    <a:pt x="247" y="378"/>
                  </a:cubicBezTo>
                  <a:cubicBezTo>
                    <a:pt x="258" y="372"/>
                    <a:pt x="258" y="372"/>
                    <a:pt x="258" y="372"/>
                  </a:cubicBezTo>
                  <a:cubicBezTo>
                    <a:pt x="267" y="373"/>
                    <a:pt x="267" y="373"/>
                    <a:pt x="267" y="373"/>
                  </a:cubicBezTo>
                  <a:cubicBezTo>
                    <a:pt x="280" y="378"/>
                    <a:pt x="280" y="378"/>
                    <a:pt x="280" y="378"/>
                  </a:cubicBezTo>
                  <a:cubicBezTo>
                    <a:pt x="280" y="378"/>
                    <a:pt x="288" y="392"/>
                    <a:pt x="290" y="385"/>
                  </a:cubicBezTo>
                  <a:cubicBezTo>
                    <a:pt x="291" y="379"/>
                    <a:pt x="290" y="369"/>
                    <a:pt x="290" y="369"/>
                  </a:cubicBezTo>
                  <a:cubicBezTo>
                    <a:pt x="290" y="360"/>
                    <a:pt x="290" y="360"/>
                    <a:pt x="290" y="360"/>
                  </a:cubicBezTo>
                  <a:cubicBezTo>
                    <a:pt x="282" y="358"/>
                    <a:pt x="282" y="358"/>
                    <a:pt x="282" y="358"/>
                  </a:cubicBezTo>
                  <a:cubicBezTo>
                    <a:pt x="282" y="358"/>
                    <a:pt x="287" y="345"/>
                    <a:pt x="291" y="344"/>
                  </a:cubicBezTo>
                  <a:cubicBezTo>
                    <a:pt x="296" y="343"/>
                    <a:pt x="309" y="346"/>
                    <a:pt x="309" y="346"/>
                  </a:cubicBezTo>
                  <a:cubicBezTo>
                    <a:pt x="309" y="335"/>
                    <a:pt x="309" y="335"/>
                    <a:pt x="309" y="335"/>
                  </a:cubicBezTo>
                  <a:cubicBezTo>
                    <a:pt x="305" y="328"/>
                    <a:pt x="305" y="328"/>
                    <a:pt x="305" y="328"/>
                  </a:cubicBezTo>
                  <a:cubicBezTo>
                    <a:pt x="317" y="327"/>
                    <a:pt x="317" y="327"/>
                    <a:pt x="317" y="327"/>
                  </a:cubicBezTo>
                  <a:cubicBezTo>
                    <a:pt x="324" y="316"/>
                    <a:pt x="324" y="316"/>
                    <a:pt x="324" y="316"/>
                  </a:cubicBezTo>
                  <a:cubicBezTo>
                    <a:pt x="324" y="316"/>
                    <a:pt x="323" y="309"/>
                    <a:pt x="317" y="305"/>
                  </a:cubicBezTo>
                  <a:cubicBezTo>
                    <a:pt x="312" y="302"/>
                    <a:pt x="307" y="304"/>
                    <a:pt x="307" y="304"/>
                  </a:cubicBezTo>
                  <a:cubicBezTo>
                    <a:pt x="301" y="295"/>
                    <a:pt x="301" y="295"/>
                    <a:pt x="301" y="295"/>
                  </a:cubicBezTo>
                  <a:cubicBezTo>
                    <a:pt x="297" y="295"/>
                    <a:pt x="297" y="295"/>
                    <a:pt x="297" y="295"/>
                  </a:cubicBezTo>
                  <a:cubicBezTo>
                    <a:pt x="294" y="287"/>
                    <a:pt x="294" y="287"/>
                    <a:pt x="294" y="287"/>
                  </a:cubicBezTo>
                  <a:cubicBezTo>
                    <a:pt x="294" y="287"/>
                    <a:pt x="288" y="285"/>
                    <a:pt x="281" y="285"/>
                  </a:cubicBezTo>
                  <a:cubicBezTo>
                    <a:pt x="273" y="284"/>
                    <a:pt x="279" y="279"/>
                    <a:pt x="279" y="279"/>
                  </a:cubicBezTo>
                  <a:cubicBezTo>
                    <a:pt x="273" y="277"/>
                    <a:pt x="273" y="277"/>
                    <a:pt x="273" y="277"/>
                  </a:cubicBezTo>
                  <a:cubicBezTo>
                    <a:pt x="271" y="271"/>
                    <a:pt x="271" y="271"/>
                    <a:pt x="271" y="271"/>
                  </a:cubicBezTo>
                  <a:cubicBezTo>
                    <a:pt x="271" y="271"/>
                    <a:pt x="263" y="265"/>
                    <a:pt x="262" y="263"/>
                  </a:cubicBezTo>
                  <a:cubicBezTo>
                    <a:pt x="261" y="261"/>
                    <a:pt x="269" y="257"/>
                    <a:pt x="269" y="257"/>
                  </a:cubicBezTo>
                  <a:cubicBezTo>
                    <a:pt x="263" y="248"/>
                    <a:pt x="263" y="248"/>
                    <a:pt x="263" y="248"/>
                  </a:cubicBezTo>
                  <a:cubicBezTo>
                    <a:pt x="257" y="247"/>
                    <a:pt x="257" y="247"/>
                    <a:pt x="257" y="247"/>
                  </a:cubicBezTo>
                  <a:cubicBezTo>
                    <a:pt x="257" y="247"/>
                    <a:pt x="252" y="238"/>
                    <a:pt x="255" y="235"/>
                  </a:cubicBezTo>
                  <a:cubicBezTo>
                    <a:pt x="259" y="233"/>
                    <a:pt x="259" y="239"/>
                    <a:pt x="263" y="239"/>
                  </a:cubicBezTo>
                  <a:cubicBezTo>
                    <a:pt x="267" y="238"/>
                    <a:pt x="266" y="233"/>
                    <a:pt x="266" y="233"/>
                  </a:cubicBezTo>
                  <a:cubicBezTo>
                    <a:pt x="273" y="233"/>
                    <a:pt x="273" y="233"/>
                    <a:pt x="273" y="233"/>
                  </a:cubicBezTo>
                  <a:cubicBezTo>
                    <a:pt x="273" y="233"/>
                    <a:pt x="275" y="225"/>
                    <a:pt x="283" y="227"/>
                  </a:cubicBezTo>
                  <a:cubicBezTo>
                    <a:pt x="292" y="229"/>
                    <a:pt x="290" y="233"/>
                    <a:pt x="290" y="233"/>
                  </a:cubicBezTo>
                  <a:cubicBezTo>
                    <a:pt x="297" y="224"/>
                    <a:pt x="297" y="224"/>
                    <a:pt x="297" y="224"/>
                  </a:cubicBezTo>
                  <a:cubicBezTo>
                    <a:pt x="308" y="221"/>
                    <a:pt x="308" y="221"/>
                    <a:pt x="308" y="221"/>
                  </a:cubicBezTo>
                  <a:cubicBezTo>
                    <a:pt x="310" y="217"/>
                    <a:pt x="310" y="217"/>
                    <a:pt x="310" y="217"/>
                  </a:cubicBezTo>
                  <a:cubicBezTo>
                    <a:pt x="310" y="217"/>
                    <a:pt x="321" y="217"/>
                    <a:pt x="324" y="216"/>
                  </a:cubicBezTo>
                  <a:cubicBezTo>
                    <a:pt x="327" y="215"/>
                    <a:pt x="325" y="210"/>
                    <a:pt x="325" y="210"/>
                  </a:cubicBezTo>
                  <a:cubicBezTo>
                    <a:pt x="325" y="210"/>
                    <a:pt x="336" y="211"/>
                    <a:pt x="339" y="208"/>
                  </a:cubicBezTo>
                  <a:cubicBezTo>
                    <a:pt x="341" y="205"/>
                    <a:pt x="346" y="199"/>
                    <a:pt x="348" y="198"/>
                  </a:cubicBezTo>
                  <a:cubicBezTo>
                    <a:pt x="350" y="197"/>
                    <a:pt x="355" y="209"/>
                    <a:pt x="360" y="208"/>
                  </a:cubicBezTo>
                  <a:cubicBezTo>
                    <a:pt x="365" y="207"/>
                    <a:pt x="371" y="195"/>
                    <a:pt x="372" y="191"/>
                  </a:cubicBezTo>
                  <a:cubicBezTo>
                    <a:pt x="373" y="188"/>
                    <a:pt x="367" y="187"/>
                    <a:pt x="367" y="187"/>
                  </a:cubicBezTo>
                  <a:cubicBezTo>
                    <a:pt x="367" y="187"/>
                    <a:pt x="371" y="182"/>
                    <a:pt x="369" y="177"/>
                  </a:cubicBezTo>
                  <a:cubicBezTo>
                    <a:pt x="368" y="171"/>
                    <a:pt x="360" y="177"/>
                    <a:pt x="360" y="177"/>
                  </a:cubicBezTo>
                  <a:cubicBezTo>
                    <a:pt x="361" y="165"/>
                    <a:pt x="361" y="165"/>
                    <a:pt x="361" y="165"/>
                  </a:cubicBezTo>
                  <a:cubicBezTo>
                    <a:pt x="361" y="165"/>
                    <a:pt x="352" y="163"/>
                    <a:pt x="351" y="157"/>
                  </a:cubicBezTo>
                  <a:cubicBezTo>
                    <a:pt x="351" y="152"/>
                    <a:pt x="360" y="146"/>
                    <a:pt x="360" y="146"/>
                  </a:cubicBezTo>
                  <a:cubicBezTo>
                    <a:pt x="360" y="146"/>
                    <a:pt x="357" y="144"/>
                    <a:pt x="355" y="143"/>
                  </a:cubicBezTo>
                  <a:cubicBezTo>
                    <a:pt x="353" y="143"/>
                    <a:pt x="356" y="136"/>
                    <a:pt x="356" y="136"/>
                  </a:cubicBezTo>
                  <a:cubicBezTo>
                    <a:pt x="356" y="136"/>
                    <a:pt x="351" y="135"/>
                    <a:pt x="350" y="132"/>
                  </a:cubicBezTo>
                  <a:cubicBezTo>
                    <a:pt x="349" y="129"/>
                    <a:pt x="355" y="126"/>
                    <a:pt x="355" y="126"/>
                  </a:cubicBezTo>
                  <a:cubicBezTo>
                    <a:pt x="355" y="126"/>
                    <a:pt x="355" y="120"/>
                    <a:pt x="352" y="115"/>
                  </a:cubicBezTo>
                  <a:cubicBezTo>
                    <a:pt x="349" y="111"/>
                    <a:pt x="345" y="115"/>
                    <a:pt x="345" y="115"/>
                  </a:cubicBezTo>
                  <a:cubicBezTo>
                    <a:pt x="341" y="109"/>
                    <a:pt x="341" y="109"/>
                    <a:pt x="341" y="109"/>
                  </a:cubicBezTo>
                  <a:cubicBezTo>
                    <a:pt x="341" y="109"/>
                    <a:pt x="337" y="113"/>
                    <a:pt x="334" y="106"/>
                  </a:cubicBezTo>
                  <a:cubicBezTo>
                    <a:pt x="331" y="99"/>
                    <a:pt x="337" y="98"/>
                    <a:pt x="343" y="93"/>
                  </a:cubicBezTo>
                  <a:cubicBezTo>
                    <a:pt x="349" y="89"/>
                    <a:pt x="347" y="87"/>
                    <a:pt x="345" y="79"/>
                  </a:cubicBezTo>
                  <a:cubicBezTo>
                    <a:pt x="342" y="70"/>
                    <a:pt x="337" y="78"/>
                    <a:pt x="339" y="72"/>
                  </a:cubicBezTo>
                  <a:cubicBezTo>
                    <a:pt x="340" y="69"/>
                    <a:pt x="339" y="65"/>
                    <a:pt x="338" y="62"/>
                  </a:cubicBezTo>
                  <a:cubicBezTo>
                    <a:pt x="334" y="60"/>
                    <a:pt x="334" y="60"/>
                    <a:pt x="334" y="60"/>
                  </a:cubicBezTo>
                  <a:cubicBezTo>
                    <a:pt x="321" y="55"/>
                    <a:pt x="321" y="55"/>
                    <a:pt x="321" y="55"/>
                  </a:cubicBezTo>
                  <a:cubicBezTo>
                    <a:pt x="321" y="55"/>
                    <a:pt x="323" y="50"/>
                    <a:pt x="318" y="44"/>
                  </a:cubicBezTo>
                  <a:cubicBezTo>
                    <a:pt x="313" y="38"/>
                    <a:pt x="301" y="41"/>
                    <a:pt x="301" y="41"/>
                  </a:cubicBezTo>
                  <a:cubicBezTo>
                    <a:pt x="296" y="35"/>
                    <a:pt x="296" y="35"/>
                    <a:pt x="296" y="35"/>
                  </a:cubicBezTo>
                  <a:cubicBezTo>
                    <a:pt x="296" y="35"/>
                    <a:pt x="270" y="23"/>
                    <a:pt x="265" y="26"/>
                  </a:cubicBezTo>
                  <a:cubicBezTo>
                    <a:pt x="260" y="29"/>
                    <a:pt x="253" y="36"/>
                    <a:pt x="253" y="36"/>
                  </a:cubicBezTo>
                  <a:cubicBezTo>
                    <a:pt x="226" y="35"/>
                    <a:pt x="226" y="35"/>
                    <a:pt x="226" y="35"/>
                  </a:cubicBezTo>
                  <a:cubicBezTo>
                    <a:pt x="226" y="47"/>
                    <a:pt x="226" y="47"/>
                    <a:pt x="226" y="47"/>
                  </a:cubicBezTo>
                  <a:cubicBezTo>
                    <a:pt x="200" y="46"/>
                    <a:pt x="200" y="46"/>
                    <a:pt x="200" y="46"/>
                  </a:cubicBezTo>
                  <a:cubicBezTo>
                    <a:pt x="200" y="46"/>
                    <a:pt x="198" y="38"/>
                    <a:pt x="202" y="35"/>
                  </a:cubicBezTo>
                  <a:cubicBezTo>
                    <a:pt x="206" y="32"/>
                    <a:pt x="209" y="20"/>
                    <a:pt x="209" y="20"/>
                  </a:cubicBezTo>
                  <a:cubicBezTo>
                    <a:pt x="196" y="27"/>
                    <a:pt x="196" y="27"/>
                    <a:pt x="196" y="27"/>
                  </a:cubicBezTo>
                  <a:cubicBezTo>
                    <a:pt x="168" y="22"/>
                    <a:pt x="168" y="22"/>
                    <a:pt x="168" y="22"/>
                  </a:cubicBezTo>
                  <a:cubicBezTo>
                    <a:pt x="168" y="22"/>
                    <a:pt x="160" y="14"/>
                    <a:pt x="156" y="4"/>
                  </a:cubicBezTo>
                  <a:cubicBezTo>
                    <a:pt x="154" y="5"/>
                    <a:pt x="153" y="6"/>
                    <a:pt x="153" y="6"/>
                  </a:cubicBezTo>
                  <a:cubicBezTo>
                    <a:pt x="153" y="6"/>
                    <a:pt x="152" y="2"/>
                    <a:pt x="145" y="3"/>
                  </a:cubicBezTo>
                  <a:cubicBezTo>
                    <a:pt x="137" y="3"/>
                    <a:pt x="135" y="5"/>
                    <a:pt x="135" y="5"/>
                  </a:cubicBezTo>
                  <a:cubicBezTo>
                    <a:pt x="135" y="5"/>
                    <a:pt x="127" y="0"/>
                    <a:pt x="123" y="0"/>
                  </a:cubicBezTo>
                  <a:cubicBezTo>
                    <a:pt x="119" y="0"/>
                    <a:pt x="112" y="0"/>
                    <a:pt x="112" y="0"/>
                  </a:cubicBezTo>
                  <a:cubicBezTo>
                    <a:pt x="126" y="23"/>
                    <a:pt x="126" y="23"/>
                    <a:pt x="126" y="23"/>
                  </a:cubicBezTo>
                  <a:cubicBezTo>
                    <a:pt x="117" y="31"/>
                    <a:pt x="117" y="31"/>
                    <a:pt x="117" y="31"/>
                  </a:cubicBezTo>
                  <a:cubicBezTo>
                    <a:pt x="130" y="49"/>
                    <a:pt x="130" y="49"/>
                    <a:pt x="130" y="49"/>
                  </a:cubicBezTo>
                  <a:cubicBezTo>
                    <a:pt x="142" y="58"/>
                    <a:pt x="142" y="58"/>
                    <a:pt x="142" y="58"/>
                  </a:cubicBezTo>
                  <a:cubicBezTo>
                    <a:pt x="123" y="51"/>
                    <a:pt x="123" y="51"/>
                    <a:pt x="123" y="51"/>
                  </a:cubicBezTo>
                  <a:cubicBezTo>
                    <a:pt x="105" y="55"/>
                    <a:pt x="105" y="55"/>
                    <a:pt x="105" y="55"/>
                  </a:cubicBezTo>
                  <a:cubicBezTo>
                    <a:pt x="105" y="55"/>
                    <a:pt x="110" y="70"/>
                    <a:pt x="104" y="72"/>
                  </a:cubicBezTo>
                  <a:cubicBezTo>
                    <a:pt x="98" y="74"/>
                    <a:pt x="88" y="72"/>
                    <a:pt x="88" y="72"/>
                  </a:cubicBezTo>
                  <a:cubicBezTo>
                    <a:pt x="82" y="62"/>
                    <a:pt x="82" y="62"/>
                    <a:pt x="82" y="62"/>
                  </a:cubicBezTo>
                  <a:cubicBezTo>
                    <a:pt x="82" y="62"/>
                    <a:pt x="55" y="59"/>
                    <a:pt x="54" y="64"/>
                  </a:cubicBezTo>
                  <a:cubicBezTo>
                    <a:pt x="53" y="69"/>
                    <a:pt x="53" y="82"/>
                    <a:pt x="53" y="82"/>
                  </a:cubicBezTo>
                  <a:cubicBezTo>
                    <a:pt x="57" y="85"/>
                    <a:pt x="57" y="85"/>
                    <a:pt x="57" y="85"/>
                  </a:cubicBezTo>
                  <a:cubicBezTo>
                    <a:pt x="54" y="87"/>
                    <a:pt x="54" y="87"/>
                    <a:pt x="54" y="87"/>
                  </a:cubicBezTo>
                  <a:cubicBezTo>
                    <a:pt x="59" y="95"/>
                    <a:pt x="59" y="95"/>
                    <a:pt x="59" y="95"/>
                  </a:cubicBezTo>
                  <a:cubicBezTo>
                    <a:pt x="59" y="95"/>
                    <a:pt x="48" y="99"/>
                    <a:pt x="47" y="103"/>
                  </a:cubicBezTo>
                  <a:cubicBezTo>
                    <a:pt x="45" y="107"/>
                    <a:pt x="49" y="115"/>
                    <a:pt x="49" y="115"/>
                  </a:cubicBezTo>
                  <a:cubicBezTo>
                    <a:pt x="41" y="115"/>
                    <a:pt x="41" y="115"/>
                    <a:pt x="41" y="115"/>
                  </a:cubicBezTo>
                  <a:cubicBezTo>
                    <a:pt x="41" y="115"/>
                    <a:pt x="29" y="119"/>
                    <a:pt x="30" y="122"/>
                  </a:cubicBezTo>
                  <a:cubicBezTo>
                    <a:pt x="31" y="125"/>
                    <a:pt x="45" y="130"/>
                    <a:pt x="45" y="134"/>
                  </a:cubicBezTo>
                  <a:cubicBezTo>
                    <a:pt x="45" y="138"/>
                    <a:pt x="37" y="142"/>
                    <a:pt x="37" y="142"/>
                  </a:cubicBezTo>
                  <a:cubicBezTo>
                    <a:pt x="35" y="153"/>
                    <a:pt x="35" y="153"/>
                    <a:pt x="35" y="153"/>
                  </a:cubicBezTo>
                  <a:cubicBezTo>
                    <a:pt x="29" y="152"/>
                    <a:pt x="29" y="152"/>
                    <a:pt x="29" y="152"/>
                  </a:cubicBezTo>
                  <a:cubicBezTo>
                    <a:pt x="29" y="152"/>
                    <a:pt x="27" y="157"/>
                    <a:pt x="25" y="160"/>
                  </a:cubicBezTo>
                  <a:cubicBezTo>
                    <a:pt x="23" y="163"/>
                    <a:pt x="1" y="155"/>
                    <a:pt x="1" y="155"/>
                  </a:cubicBezTo>
                  <a:cubicBezTo>
                    <a:pt x="7" y="170"/>
                    <a:pt x="7" y="170"/>
                    <a:pt x="7" y="170"/>
                  </a:cubicBezTo>
                  <a:cubicBezTo>
                    <a:pt x="7" y="170"/>
                    <a:pt x="12" y="178"/>
                    <a:pt x="11" y="181"/>
                  </a:cubicBezTo>
                  <a:cubicBezTo>
                    <a:pt x="11" y="185"/>
                    <a:pt x="0" y="191"/>
                    <a:pt x="0" y="191"/>
                  </a:cubicBezTo>
                  <a:cubicBezTo>
                    <a:pt x="0" y="191"/>
                    <a:pt x="5" y="197"/>
                    <a:pt x="4" y="199"/>
                  </a:cubicBezTo>
                  <a:cubicBezTo>
                    <a:pt x="3" y="201"/>
                    <a:pt x="0" y="215"/>
                    <a:pt x="0" y="215"/>
                  </a:cubicBezTo>
                  <a:cubicBezTo>
                    <a:pt x="5" y="216"/>
                    <a:pt x="5" y="216"/>
                    <a:pt x="5" y="216"/>
                  </a:cubicBezTo>
                  <a:cubicBezTo>
                    <a:pt x="5" y="216"/>
                    <a:pt x="14" y="219"/>
                    <a:pt x="15" y="225"/>
                  </a:cubicBezTo>
                  <a:cubicBezTo>
                    <a:pt x="15" y="231"/>
                    <a:pt x="18" y="238"/>
                    <a:pt x="18" y="238"/>
                  </a:cubicBezTo>
                  <a:cubicBezTo>
                    <a:pt x="9" y="239"/>
                    <a:pt x="9" y="239"/>
                    <a:pt x="9" y="239"/>
                  </a:cubicBezTo>
                  <a:cubicBezTo>
                    <a:pt x="9" y="239"/>
                    <a:pt x="4" y="247"/>
                    <a:pt x="7" y="253"/>
                  </a:cubicBezTo>
                  <a:cubicBezTo>
                    <a:pt x="11" y="259"/>
                    <a:pt x="21" y="261"/>
                    <a:pt x="22" y="265"/>
                  </a:cubicBezTo>
                  <a:cubicBezTo>
                    <a:pt x="23" y="270"/>
                    <a:pt x="17" y="274"/>
                    <a:pt x="17" y="27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1" name="Freeform 30">
              <a:extLst>
                <a:ext uri="{FF2B5EF4-FFF2-40B4-BE49-F238E27FC236}">
                  <a16:creationId xmlns:a16="http://schemas.microsoft.com/office/drawing/2014/main" id="{F953C854-32EE-4EF3-9153-14602B1A4F3F}"/>
                </a:ext>
              </a:extLst>
            </p:cNvPr>
            <p:cNvSpPr>
              <a:spLocks/>
            </p:cNvSpPr>
            <p:nvPr/>
          </p:nvSpPr>
          <p:spPr bwMode="auto">
            <a:xfrm>
              <a:off x="3376486" y="4031780"/>
              <a:ext cx="47251" cy="31166"/>
            </a:xfrm>
            <a:custGeom>
              <a:avLst/>
              <a:gdLst>
                <a:gd name="T0" fmla="*/ 5 w 20"/>
                <a:gd name="T1" fmla="*/ 13 h 13"/>
                <a:gd name="T2" fmla="*/ 18 w 20"/>
                <a:gd name="T3" fmla="*/ 10 h 13"/>
                <a:gd name="T4" fmla="*/ 20 w 20"/>
                <a:gd name="T5" fmla="*/ 10 h 13"/>
                <a:gd name="T6" fmla="*/ 19 w 20"/>
                <a:gd name="T7" fmla="*/ 1 h 13"/>
                <a:gd name="T8" fmla="*/ 5 w 20"/>
                <a:gd name="T9" fmla="*/ 1 h 13"/>
                <a:gd name="T10" fmla="*/ 0 w 20"/>
                <a:gd name="T11" fmla="*/ 2 h 13"/>
                <a:gd name="T12" fmla="*/ 5 w 2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0" h="13">
                  <a:moveTo>
                    <a:pt x="5" y="13"/>
                  </a:moveTo>
                  <a:cubicBezTo>
                    <a:pt x="5" y="13"/>
                    <a:pt x="14" y="11"/>
                    <a:pt x="18" y="10"/>
                  </a:cubicBezTo>
                  <a:cubicBezTo>
                    <a:pt x="19" y="10"/>
                    <a:pt x="20" y="10"/>
                    <a:pt x="20" y="10"/>
                  </a:cubicBezTo>
                  <a:cubicBezTo>
                    <a:pt x="19" y="1"/>
                    <a:pt x="19" y="1"/>
                    <a:pt x="19" y="1"/>
                  </a:cubicBezTo>
                  <a:cubicBezTo>
                    <a:pt x="19" y="1"/>
                    <a:pt x="15" y="0"/>
                    <a:pt x="5" y="1"/>
                  </a:cubicBezTo>
                  <a:cubicBezTo>
                    <a:pt x="3" y="1"/>
                    <a:pt x="1" y="1"/>
                    <a:pt x="0" y="2"/>
                  </a:cubicBezTo>
                  <a:lnTo>
                    <a:pt x="5" y="13"/>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2" name="Freeform 31">
              <a:extLst>
                <a:ext uri="{FF2B5EF4-FFF2-40B4-BE49-F238E27FC236}">
                  <a16:creationId xmlns:a16="http://schemas.microsoft.com/office/drawing/2014/main" id="{1BCCA9D1-A1D4-4BD0-94E0-59E3D8500665}"/>
                </a:ext>
              </a:extLst>
            </p:cNvPr>
            <p:cNvSpPr>
              <a:spLocks/>
            </p:cNvSpPr>
            <p:nvPr/>
          </p:nvSpPr>
          <p:spPr bwMode="auto">
            <a:xfrm>
              <a:off x="5458528" y="2827392"/>
              <a:ext cx="1781449" cy="986232"/>
            </a:xfrm>
            <a:custGeom>
              <a:avLst/>
              <a:gdLst>
                <a:gd name="T0" fmla="*/ 51 w 750"/>
                <a:gd name="T1" fmla="*/ 223 h 415"/>
                <a:gd name="T2" fmla="*/ 79 w 750"/>
                <a:gd name="T3" fmla="*/ 232 h 415"/>
                <a:gd name="T4" fmla="*/ 132 w 750"/>
                <a:gd name="T5" fmla="*/ 230 h 415"/>
                <a:gd name="T6" fmla="*/ 166 w 750"/>
                <a:gd name="T7" fmla="*/ 227 h 415"/>
                <a:gd name="T8" fmla="*/ 209 w 750"/>
                <a:gd name="T9" fmla="*/ 209 h 415"/>
                <a:gd name="T10" fmla="*/ 243 w 750"/>
                <a:gd name="T11" fmla="*/ 208 h 415"/>
                <a:gd name="T12" fmla="*/ 274 w 750"/>
                <a:gd name="T13" fmla="*/ 225 h 415"/>
                <a:gd name="T14" fmla="*/ 296 w 750"/>
                <a:gd name="T15" fmla="*/ 259 h 415"/>
                <a:gd name="T16" fmla="*/ 311 w 750"/>
                <a:gd name="T17" fmla="*/ 278 h 415"/>
                <a:gd name="T18" fmla="*/ 317 w 750"/>
                <a:gd name="T19" fmla="*/ 310 h 415"/>
                <a:gd name="T20" fmla="*/ 304 w 750"/>
                <a:gd name="T21" fmla="*/ 321 h 415"/>
                <a:gd name="T22" fmla="*/ 283 w 750"/>
                <a:gd name="T23" fmla="*/ 356 h 415"/>
                <a:gd name="T24" fmla="*/ 281 w 750"/>
                <a:gd name="T25" fmla="*/ 370 h 415"/>
                <a:gd name="T26" fmla="*/ 323 w 750"/>
                <a:gd name="T27" fmla="*/ 353 h 415"/>
                <a:gd name="T28" fmla="*/ 391 w 750"/>
                <a:gd name="T29" fmla="*/ 301 h 415"/>
                <a:gd name="T30" fmla="*/ 436 w 750"/>
                <a:gd name="T31" fmla="*/ 299 h 415"/>
                <a:gd name="T32" fmla="*/ 420 w 750"/>
                <a:gd name="T33" fmla="*/ 310 h 415"/>
                <a:gd name="T34" fmla="*/ 488 w 750"/>
                <a:gd name="T35" fmla="*/ 324 h 415"/>
                <a:gd name="T36" fmla="*/ 499 w 750"/>
                <a:gd name="T37" fmla="*/ 381 h 415"/>
                <a:gd name="T38" fmla="*/ 542 w 750"/>
                <a:gd name="T39" fmla="*/ 396 h 415"/>
                <a:gd name="T40" fmla="*/ 591 w 750"/>
                <a:gd name="T41" fmla="*/ 385 h 415"/>
                <a:gd name="T42" fmla="*/ 622 w 750"/>
                <a:gd name="T43" fmla="*/ 361 h 415"/>
                <a:gd name="T44" fmla="*/ 553 w 750"/>
                <a:gd name="T45" fmla="*/ 352 h 415"/>
                <a:gd name="T46" fmla="*/ 503 w 750"/>
                <a:gd name="T47" fmla="*/ 328 h 415"/>
                <a:gd name="T48" fmla="*/ 538 w 750"/>
                <a:gd name="T49" fmla="*/ 322 h 415"/>
                <a:gd name="T50" fmla="*/ 588 w 750"/>
                <a:gd name="T51" fmla="*/ 297 h 415"/>
                <a:gd name="T52" fmla="*/ 679 w 750"/>
                <a:gd name="T53" fmla="*/ 273 h 415"/>
                <a:gd name="T54" fmla="*/ 703 w 750"/>
                <a:gd name="T55" fmla="*/ 231 h 415"/>
                <a:gd name="T56" fmla="*/ 727 w 750"/>
                <a:gd name="T57" fmla="*/ 189 h 415"/>
                <a:gd name="T58" fmla="*/ 742 w 750"/>
                <a:gd name="T59" fmla="*/ 166 h 415"/>
                <a:gd name="T60" fmla="*/ 709 w 750"/>
                <a:gd name="T61" fmla="*/ 136 h 415"/>
                <a:gd name="T62" fmla="*/ 662 w 750"/>
                <a:gd name="T63" fmla="*/ 119 h 415"/>
                <a:gd name="T64" fmla="*/ 620 w 750"/>
                <a:gd name="T65" fmla="*/ 100 h 415"/>
                <a:gd name="T66" fmla="*/ 578 w 750"/>
                <a:gd name="T67" fmla="*/ 106 h 415"/>
                <a:gd name="T68" fmla="*/ 540 w 750"/>
                <a:gd name="T69" fmla="*/ 99 h 415"/>
                <a:gd name="T70" fmla="*/ 482 w 750"/>
                <a:gd name="T71" fmla="*/ 56 h 415"/>
                <a:gd name="T72" fmla="*/ 486 w 750"/>
                <a:gd name="T73" fmla="*/ 26 h 415"/>
                <a:gd name="T74" fmla="*/ 431 w 750"/>
                <a:gd name="T75" fmla="*/ 1 h 415"/>
                <a:gd name="T76" fmla="*/ 398 w 750"/>
                <a:gd name="T77" fmla="*/ 16 h 415"/>
                <a:gd name="T78" fmla="*/ 327 w 750"/>
                <a:gd name="T79" fmla="*/ 53 h 415"/>
                <a:gd name="T80" fmla="*/ 273 w 750"/>
                <a:gd name="T81" fmla="*/ 39 h 415"/>
                <a:gd name="T82" fmla="*/ 247 w 750"/>
                <a:gd name="T83" fmla="*/ 46 h 415"/>
                <a:gd name="T84" fmla="*/ 224 w 750"/>
                <a:gd name="T85" fmla="*/ 38 h 415"/>
                <a:gd name="T86" fmla="*/ 202 w 750"/>
                <a:gd name="T87" fmla="*/ 40 h 415"/>
                <a:gd name="T88" fmla="*/ 157 w 750"/>
                <a:gd name="T89" fmla="*/ 28 h 415"/>
                <a:gd name="T90" fmla="*/ 103 w 750"/>
                <a:gd name="T91" fmla="*/ 27 h 415"/>
                <a:gd name="T92" fmla="*/ 47 w 750"/>
                <a:gd name="T93" fmla="*/ 40 h 415"/>
                <a:gd name="T94" fmla="*/ 75 w 750"/>
                <a:gd name="T95" fmla="*/ 76 h 415"/>
                <a:gd name="T96" fmla="*/ 58 w 750"/>
                <a:gd name="T97" fmla="*/ 103 h 415"/>
                <a:gd name="T98" fmla="*/ 30 w 750"/>
                <a:gd name="T99" fmla="*/ 174 h 415"/>
                <a:gd name="T100" fmla="*/ 1 w 750"/>
                <a:gd name="T101" fmla="*/ 194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0" h="415">
                  <a:moveTo>
                    <a:pt x="16" y="215"/>
                  </a:moveTo>
                  <a:cubicBezTo>
                    <a:pt x="22" y="216"/>
                    <a:pt x="38" y="223"/>
                    <a:pt x="38" y="223"/>
                  </a:cubicBezTo>
                  <a:cubicBezTo>
                    <a:pt x="38" y="223"/>
                    <a:pt x="47" y="223"/>
                    <a:pt x="51" y="223"/>
                  </a:cubicBezTo>
                  <a:cubicBezTo>
                    <a:pt x="55" y="223"/>
                    <a:pt x="57" y="230"/>
                    <a:pt x="57" y="230"/>
                  </a:cubicBezTo>
                  <a:cubicBezTo>
                    <a:pt x="73" y="227"/>
                    <a:pt x="73" y="227"/>
                    <a:pt x="73" y="227"/>
                  </a:cubicBezTo>
                  <a:cubicBezTo>
                    <a:pt x="79" y="232"/>
                    <a:pt x="79" y="232"/>
                    <a:pt x="79" y="232"/>
                  </a:cubicBezTo>
                  <a:cubicBezTo>
                    <a:pt x="79" y="232"/>
                    <a:pt x="94" y="224"/>
                    <a:pt x="100" y="225"/>
                  </a:cubicBezTo>
                  <a:cubicBezTo>
                    <a:pt x="106" y="226"/>
                    <a:pt x="112" y="245"/>
                    <a:pt x="122" y="242"/>
                  </a:cubicBezTo>
                  <a:cubicBezTo>
                    <a:pt x="132" y="239"/>
                    <a:pt x="132" y="230"/>
                    <a:pt x="132" y="230"/>
                  </a:cubicBezTo>
                  <a:cubicBezTo>
                    <a:pt x="149" y="233"/>
                    <a:pt x="149" y="233"/>
                    <a:pt x="149" y="233"/>
                  </a:cubicBezTo>
                  <a:cubicBezTo>
                    <a:pt x="153" y="226"/>
                    <a:pt x="153" y="226"/>
                    <a:pt x="153" y="226"/>
                  </a:cubicBezTo>
                  <a:cubicBezTo>
                    <a:pt x="153" y="226"/>
                    <a:pt x="156" y="227"/>
                    <a:pt x="166" y="227"/>
                  </a:cubicBezTo>
                  <a:cubicBezTo>
                    <a:pt x="176" y="227"/>
                    <a:pt x="174" y="209"/>
                    <a:pt x="191" y="212"/>
                  </a:cubicBezTo>
                  <a:cubicBezTo>
                    <a:pt x="193" y="204"/>
                    <a:pt x="193" y="204"/>
                    <a:pt x="193" y="204"/>
                  </a:cubicBezTo>
                  <a:cubicBezTo>
                    <a:pt x="193" y="204"/>
                    <a:pt x="203" y="210"/>
                    <a:pt x="209" y="209"/>
                  </a:cubicBezTo>
                  <a:cubicBezTo>
                    <a:pt x="215" y="208"/>
                    <a:pt x="215" y="203"/>
                    <a:pt x="224" y="202"/>
                  </a:cubicBezTo>
                  <a:cubicBezTo>
                    <a:pt x="233" y="201"/>
                    <a:pt x="239" y="210"/>
                    <a:pt x="239" y="210"/>
                  </a:cubicBezTo>
                  <a:cubicBezTo>
                    <a:pt x="243" y="208"/>
                    <a:pt x="243" y="208"/>
                    <a:pt x="243" y="208"/>
                  </a:cubicBezTo>
                  <a:cubicBezTo>
                    <a:pt x="243" y="208"/>
                    <a:pt x="239" y="213"/>
                    <a:pt x="248" y="213"/>
                  </a:cubicBezTo>
                  <a:cubicBezTo>
                    <a:pt x="257" y="213"/>
                    <a:pt x="264" y="210"/>
                    <a:pt x="269" y="214"/>
                  </a:cubicBezTo>
                  <a:cubicBezTo>
                    <a:pt x="274" y="218"/>
                    <a:pt x="274" y="225"/>
                    <a:pt x="274" y="225"/>
                  </a:cubicBezTo>
                  <a:cubicBezTo>
                    <a:pt x="274" y="225"/>
                    <a:pt x="283" y="219"/>
                    <a:pt x="294" y="227"/>
                  </a:cubicBezTo>
                  <a:cubicBezTo>
                    <a:pt x="305" y="235"/>
                    <a:pt x="296" y="244"/>
                    <a:pt x="296" y="244"/>
                  </a:cubicBezTo>
                  <a:cubicBezTo>
                    <a:pt x="296" y="244"/>
                    <a:pt x="293" y="259"/>
                    <a:pt x="296" y="259"/>
                  </a:cubicBezTo>
                  <a:cubicBezTo>
                    <a:pt x="299" y="259"/>
                    <a:pt x="308" y="257"/>
                    <a:pt x="308" y="257"/>
                  </a:cubicBezTo>
                  <a:cubicBezTo>
                    <a:pt x="313" y="262"/>
                    <a:pt x="313" y="262"/>
                    <a:pt x="313" y="262"/>
                  </a:cubicBezTo>
                  <a:cubicBezTo>
                    <a:pt x="313" y="262"/>
                    <a:pt x="304" y="276"/>
                    <a:pt x="311" y="278"/>
                  </a:cubicBezTo>
                  <a:cubicBezTo>
                    <a:pt x="318" y="280"/>
                    <a:pt x="331" y="277"/>
                    <a:pt x="332" y="284"/>
                  </a:cubicBezTo>
                  <a:cubicBezTo>
                    <a:pt x="333" y="291"/>
                    <a:pt x="334" y="305"/>
                    <a:pt x="334" y="305"/>
                  </a:cubicBezTo>
                  <a:cubicBezTo>
                    <a:pt x="334" y="305"/>
                    <a:pt x="324" y="309"/>
                    <a:pt x="317" y="310"/>
                  </a:cubicBezTo>
                  <a:cubicBezTo>
                    <a:pt x="310" y="311"/>
                    <a:pt x="304" y="303"/>
                    <a:pt x="304" y="303"/>
                  </a:cubicBezTo>
                  <a:cubicBezTo>
                    <a:pt x="304" y="303"/>
                    <a:pt x="287" y="303"/>
                    <a:pt x="288" y="307"/>
                  </a:cubicBezTo>
                  <a:cubicBezTo>
                    <a:pt x="289" y="311"/>
                    <a:pt x="304" y="321"/>
                    <a:pt x="304" y="321"/>
                  </a:cubicBezTo>
                  <a:cubicBezTo>
                    <a:pt x="295" y="330"/>
                    <a:pt x="295" y="330"/>
                    <a:pt x="295" y="330"/>
                  </a:cubicBezTo>
                  <a:cubicBezTo>
                    <a:pt x="295" y="330"/>
                    <a:pt x="279" y="338"/>
                    <a:pt x="279" y="342"/>
                  </a:cubicBezTo>
                  <a:cubicBezTo>
                    <a:pt x="279" y="346"/>
                    <a:pt x="283" y="356"/>
                    <a:pt x="283" y="356"/>
                  </a:cubicBezTo>
                  <a:cubicBezTo>
                    <a:pt x="266" y="359"/>
                    <a:pt x="266" y="359"/>
                    <a:pt x="266" y="359"/>
                  </a:cubicBezTo>
                  <a:cubicBezTo>
                    <a:pt x="263" y="353"/>
                    <a:pt x="264" y="348"/>
                    <a:pt x="264" y="345"/>
                  </a:cubicBezTo>
                  <a:cubicBezTo>
                    <a:pt x="263" y="350"/>
                    <a:pt x="263" y="367"/>
                    <a:pt x="281" y="370"/>
                  </a:cubicBezTo>
                  <a:cubicBezTo>
                    <a:pt x="302" y="373"/>
                    <a:pt x="298" y="359"/>
                    <a:pt x="310" y="360"/>
                  </a:cubicBezTo>
                  <a:cubicBezTo>
                    <a:pt x="319" y="361"/>
                    <a:pt x="323" y="357"/>
                    <a:pt x="325" y="355"/>
                  </a:cubicBezTo>
                  <a:cubicBezTo>
                    <a:pt x="324" y="353"/>
                    <a:pt x="323" y="353"/>
                    <a:pt x="323" y="353"/>
                  </a:cubicBezTo>
                  <a:cubicBezTo>
                    <a:pt x="323" y="353"/>
                    <a:pt x="340" y="346"/>
                    <a:pt x="348" y="340"/>
                  </a:cubicBezTo>
                  <a:cubicBezTo>
                    <a:pt x="357" y="334"/>
                    <a:pt x="370" y="310"/>
                    <a:pt x="370" y="310"/>
                  </a:cubicBezTo>
                  <a:cubicBezTo>
                    <a:pt x="391" y="301"/>
                    <a:pt x="391" y="301"/>
                    <a:pt x="391" y="301"/>
                  </a:cubicBezTo>
                  <a:cubicBezTo>
                    <a:pt x="400" y="290"/>
                    <a:pt x="400" y="290"/>
                    <a:pt x="400" y="290"/>
                  </a:cubicBezTo>
                  <a:cubicBezTo>
                    <a:pt x="411" y="295"/>
                    <a:pt x="411" y="295"/>
                    <a:pt x="411" y="295"/>
                  </a:cubicBezTo>
                  <a:cubicBezTo>
                    <a:pt x="411" y="295"/>
                    <a:pt x="433" y="299"/>
                    <a:pt x="436" y="299"/>
                  </a:cubicBezTo>
                  <a:cubicBezTo>
                    <a:pt x="439" y="299"/>
                    <a:pt x="447" y="293"/>
                    <a:pt x="447" y="293"/>
                  </a:cubicBezTo>
                  <a:cubicBezTo>
                    <a:pt x="435" y="309"/>
                    <a:pt x="435" y="309"/>
                    <a:pt x="435" y="309"/>
                  </a:cubicBezTo>
                  <a:cubicBezTo>
                    <a:pt x="435" y="309"/>
                    <a:pt x="417" y="303"/>
                    <a:pt x="420" y="310"/>
                  </a:cubicBezTo>
                  <a:cubicBezTo>
                    <a:pt x="423" y="317"/>
                    <a:pt x="443" y="322"/>
                    <a:pt x="443" y="322"/>
                  </a:cubicBezTo>
                  <a:cubicBezTo>
                    <a:pt x="475" y="323"/>
                    <a:pt x="475" y="323"/>
                    <a:pt x="475" y="323"/>
                  </a:cubicBezTo>
                  <a:cubicBezTo>
                    <a:pt x="488" y="324"/>
                    <a:pt x="488" y="324"/>
                    <a:pt x="488" y="324"/>
                  </a:cubicBezTo>
                  <a:cubicBezTo>
                    <a:pt x="495" y="335"/>
                    <a:pt x="495" y="335"/>
                    <a:pt x="495" y="335"/>
                  </a:cubicBezTo>
                  <a:cubicBezTo>
                    <a:pt x="495" y="335"/>
                    <a:pt x="449" y="361"/>
                    <a:pt x="452" y="364"/>
                  </a:cubicBezTo>
                  <a:cubicBezTo>
                    <a:pt x="455" y="367"/>
                    <a:pt x="497" y="368"/>
                    <a:pt x="499" y="381"/>
                  </a:cubicBezTo>
                  <a:cubicBezTo>
                    <a:pt x="501" y="395"/>
                    <a:pt x="489" y="409"/>
                    <a:pt x="494" y="411"/>
                  </a:cubicBezTo>
                  <a:cubicBezTo>
                    <a:pt x="500" y="413"/>
                    <a:pt x="521" y="415"/>
                    <a:pt x="521" y="415"/>
                  </a:cubicBezTo>
                  <a:cubicBezTo>
                    <a:pt x="521" y="415"/>
                    <a:pt x="535" y="396"/>
                    <a:pt x="542" y="396"/>
                  </a:cubicBezTo>
                  <a:cubicBezTo>
                    <a:pt x="550" y="396"/>
                    <a:pt x="553" y="402"/>
                    <a:pt x="563" y="396"/>
                  </a:cubicBezTo>
                  <a:cubicBezTo>
                    <a:pt x="573" y="390"/>
                    <a:pt x="571" y="378"/>
                    <a:pt x="578" y="377"/>
                  </a:cubicBezTo>
                  <a:cubicBezTo>
                    <a:pt x="585" y="376"/>
                    <a:pt x="591" y="385"/>
                    <a:pt x="591" y="385"/>
                  </a:cubicBezTo>
                  <a:cubicBezTo>
                    <a:pt x="614" y="381"/>
                    <a:pt x="614" y="381"/>
                    <a:pt x="614" y="381"/>
                  </a:cubicBezTo>
                  <a:cubicBezTo>
                    <a:pt x="616" y="370"/>
                    <a:pt x="616" y="370"/>
                    <a:pt x="616" y="370"/>
                  </a:cubicBezTo>
                  <a:cubicBezTo>
                    <a:pt x="622" y="361"/>
                    <a:pt x="622" y="361"/>
                    <a:pt x="622" y="361"/>
                  </a:cubicBezTo>
                  <a:cubicBezTo>
                    <a:pt x="622" y="361"/>
                    <a:pt x="608" y="355"/>
                    <a:pt x="602" y="361"/>
                  </a:cubicBezTo>
                  <a:cubicBezTo>
                    <a:pt x="596" y="367"/>
                    <a:pt x="572" y="368"/>
                    <a:pt x="572" y="368"/>
                  </a:cubicBezTo>
                  <a:cubicBezTo>
                    <a:pt x="572" y="368"/>
                    <a:pt x="554" y="362"/>
                    <a:pt x="553" y="352"/>
                  </a:cubicBezTo>
                  <a:cubicBezTo>
                    <a:pt x="552" y="342"/>
                    <a:pt x="540" y="343"/>
                    <a:pt x="540" y="343"/>
                  </a:cubicBezTo>
                  <a:cubicBezTo>
                    <a:pt x="528" y="330"/>
                    <a:pt x="528" y="330"/>
                    <a:pt x="528" y="330"/>
                  </a:cubicBezTo>
                  <a:cubicBezTo>
                    <a:pt x="503" y="328"/>
                    <a:pt x="503" y="328"/>
                    <a:pt x="503" y="328"/>
                  </a:cubicBezTo>
                  <a:cubicBezTo>
                    <a:pt x="496" y="320"/>
                    <a:pt x="496" y="320"/>
                    <a:pt x="496" y="320"/>
                  </a:cubicBezTo>
                  <a:cubicBezTo>
                    <a:pt x="512" y="319"/>
                    <a:pt x="512" y="319"/>
                    <a:pt x="512" y="319"/>
                  </a:cubicBezTo>
                  <a:cubicBezTo>
                    <a:pt x="512" y="319"/>
                    <a:pt x="531" y="323"/>
                    <a:pt x="538" y="322"/>
                  </a:cubicBezTo>
                  <a:cubicBezTo>
                    <a:pt x="544" y="320"/>
                    <a:pt x="559" y="308"/>
                    <a:pt x="559" y="308"/>
                  </a:cubicBezTo>
                  <a:cubicBezTo>
                    <a:pt x="565" y="313"/>
                    <a:pt x="565" y="313"/>
                    <a:pt x="565" y="313"/>
                  </a:cubicBezTo>
                  <a:cubicBezTo>
                    <a:pt x="565" y="313"/>
                    <a:pt x="579" y="300"/>
                    <a:pt x="588" y="297"/>
                  </a:cubicBezTo>
                  <a:cubicBezTo>
                    <a:pt x="598" y="294"/>
                    <a:pt x="624" y="293"/>
                    <a:pt x="624" y="293"/>
                  </a:cubicBezTo>
                  <a:cubicBezTo>
                    <a:pt x="652" y="271"/>
                    <a:pt x="652" y="271"/>
                    <a:pt x="652" y="271"/>
                  </a:cubicBezTo>
                  <a:cubicBezTo>
                    <a:pt x="652" y="271"/>
                    <a:pt x="667" y="278"/>
                    <a:pt x="679" y="273"/>
                  </a:cubicBezTo>
                  <a:cubicBezTo>
                    <a:pt x="676" y="248"/>
                    <a:pt x="676" y="248"/>
                    <a:pt x="676" y="248"/>
                  </a:cubicBezTo>
                  <a:cubicBezTo>
                    <a:pt x="676" y="248"/>
                    <a:pt x="689" y="248"/>
                    <a:pt x="692" y="244"/>
                  </a:cubicBezTo>
                  <a:cubicBezTo>
                    <a:pt x="695" y="240"/>
                    <a:pt x="703" y="231"/>
                    <a:pt x="703" y="231"/>
                  </a:cubicBezTo>
                  <a:cubicBezTo>
                    <a:pt x="703" y="231"/>
                    <a:pt x="726" y="233"/>
                    <a:pt x="738" y="229"/>
                  </a:cubicBezTo>
                  <a:cubicBezTo>
                    <a:pt x="750" y="225"/>
                    <a:pt x="742" y="212"/>
                    <a:pt x="741" y="206"/>
                  </a:cubicBezTo>
                  <a:cubicBezTo>
                    <a:pt x="740" y="200"/>
                    <a:pt x="728" y="192"/>
                    <a:pt x="727" y="189"/>
                  </a:cubicBezTo>
                  <a:cubicBezTo>
                    <a:pt x="726" y="186"/>
                    <a:pt x="743" y="188"/>
                    <a:pt x="744" y="182"/>
                  </a:cubicBezTo>
                  <a:cubicBezTo>
                    <a:pt x="745" y="176"/>
                    <a:pt x="728" y="173"/>
                    <a:pt x="728" y="173"/>
                  </a:cubicBezTo>
                  <a:cubicBezTo>
                    <a:pt x="742" y="166"/>
                    <a:pt x="742" y="166"/>
                    <a:pt x="742" y="166"/>
                  </a:cubicBezTo>
                  <a:cubicBezTo>
                    <a:pt x="742" y="166"/>
                    <a:pt x="741" y="159"/>
                    <a:pt x="740" y="149"/>
                  </a:cubicBezTo>
                  <a:cubicBezTo>
                    <a:pt x="739" y="139"/>
                    <a:pt x="722" y="145"/>
                    <a:pt x="722" y="145"/>
                  </a:cubicBezTo>
                  <a:cubicBezTo>
                    <a:pt x="709" y="136"/>
                    <a:pt x="709" y="136"/>
                    <a:pt x="709" y="136"/>
                  </a:cubicBezTo>
                  <a:cubicBezTo>
                    <a:pt x="709" y="136"/>
                    <a:pt x="707" y="130"/>
                    <a:pt x="700" y="128"/>
                  </a:cubicBezTo>
                  <a:cubicBezTo>
                    <a:pt x="693" y="126"/>
                    <a:pt x="679" y="128"/>
                    <a:pt x="679" y="128"/>
                  </a:cubicBezTo>
                  <a:cubicBezTo>
                    <a:pt x="679" y="128"/>
                    <a:pt x="666" y="119"/>
                    <a:pt x="662" y="119"/>
                  </a:cubicBezTo>
                  <a:cubicBezTo>
                    <a:pt x="658" y="119"/>
                    <a:pt x="646" y="125"/>
                    <a:pt x="646" y="125"/>
                  </a:cubicBezTo>
                  <a:cubicBezTo>
                    <a:pt x="646" y="125"/>
                    <a:pt x="643" y="120"/>
                    <a:pt x="637" y="116"/>
                  </a:cubicBezTo>
                  <a:cubicBezTo>
                    <a:pt x="631" y="112"/>
                    <a:pt x="629" y="101"/>
                    <a:pt x="620" y="100"/>
                  </a:cubicBezTo>
                  <a:cubicBezTo>
                    <a:pt x="611" y="99"/>
                    <a:pt x="615" y="109"/>
                    <a:pt x="615" y="109"/>
                  </a:cubicBezTo>
                  <a:cubicBezTo>
                    <a:pt x="615" y="109"/>
                    <a:pt x="606" y="103"/>
                    <a:pt x="595" y="104"/>
                  </a:cubicBezTo>
                  <a:cubicBezTo>
                    <a:pt x="584" y="105"/>
                    <a:pt x="586" y="110"/>
                    <a:pt x="578" y="106"/>
                  </a:cubicBezTo>
                  <a:cubicBezTo>
                    <a:pt x="570" y="102"/>
                    <a:pt x="562" y="98"/>
                    <a:pt x="562" y="98"/>
                  </a:cubicBezTo>
                  <a:cubicBezTo>
                    <a:pt x="544" y="102"/>
                    <a:pt x="544" y="102"/>
                    <a:pt x="544" y="102"/>
                  </a:cubicBezTo>
                  <a:cubicBezTo>
                    <a:pt x="540" y="99"/>
                    <a:pt x="540" y="99"/>
                    <a:pt x="540" y="99"/>
                  </a:cubicBezTo>
                  <a:cubicBezTo>
                    <a:pt x="533" y="70"/>
                    <a:pt x="533" y="70"/>
                    <a:pt x="533" y="70"/>
                  </a:cubicBezTo>
                  <a:cubicBezTo>
                    <a:pt x="505" y="58"/>
                    <a:pt x="505" y="58"/>
                    <a:pt x="505" y="58"/>
                  </a:cubicBezTo>
                  <a:cubicBezTo>
                    <a:pt x="482" y="56"/>
                    <a:pt x="482" y="56"/>
                    <a:pt x="482" y="56"/>
                  </a:cubicBezTo>
                  <a:cubicBezTo>
                    <a:pt x="481" y="45"/>
                    <a:pt x="481" y="45"/>
                    <a:pt x="481" y="45"/>
                  </a:cubicBezTo>
                  <a:cubicBezTo>
                    <a:pt x="476" y="33"/>
                    <a:pt x="476" y="33"/>
                    <a:pt x="476" y="33"/>
                  </a:cubicBezTo>
                  <a:cubicBezTo>
                    <a:pt x="476" y="33"/>
                    <a:pt x="484" y="32"/>
                    <a:pt x="486" y="26"/>
                  </a:cubicBezTo>
                  <a:cubicBezTo>
                    <a:pt x="488" y="20"/>
                    <a:pt x="467" y="14"/>
                    <a:pt x="467" y="14"/>
                  </a:cubicBezTo>
                  <a:cubicBezTo>
                    <a:pt x="461" y="0"/>
                    <a:pt x="461" y="0"/>
                    <a:pt x="461" y="0"/>
                  </a:cubicBezTo>
                  <a:cubicBezTo>
                    <a:pt x="431" y="1"/>
                    <a:pt x="431" y="1"/>
                    <a:pt x="431" y="1"/>
                  </a:cubicBezTo>
                  <a:cubicBezTo>
                    <a:pt x="420" y="6"/>
                    <a:pt x="420" y="6"/>
                    <a:pt x="420" y="6"/>
                  </a:cubicBezTo>
                  <a:cubicBezTo>
                    <a:pt x="402" y="3"/>
                    <a:pt x="402" y="3"/>
                    <a:pt x="402" y="3"/>
                  </a:cubicBezTo>
                  <a:cubicBezTo>
                    <a:pt x="402" y="3"/>
                    <a:pt x="406" y="12"/>
                    <a:pt x="398" y="16"/>
                  </a:cubicBezTo>
                  <a:cubicBezTo>
                    <a:pt x="390" y="20"/>
                    <a:pt x="356" y="12"/>
                    <a:pt x="349" y="12"/>
                  </a:cubicBezTo>
                  <a:cubicBezTo>
                    <a:pt x="342" y="12"/>
                    <a:pt x="326" y="37"/>
                    <a:pt x="326" y="37"/>
                  </a:cubicBezTo>
                  <a:cubicBezTo>
                    <a:pt x="326" y="37"/>
                    <a:pt x="336" y="50"/>
                    <a:pt x="327" y="53"/>
                  </a:cubicBezTo>
                  <a:cubicBezTo>
                    <a:pt x="318" y="56"/>
                    <a:pt x="304" y="47"/>
                    <a:pt x="304" y="47"/>
                  </a:cubicBezTo>
                  <a:cubicBezTo>
                    <a:pt x="304" y="47"/>
                    <a:pt x="293" y="50"/>
                    <a:pt x="285" y="51"/>
                  </a:cubicBezTo>
                  <a:cubicBezTo>
                    <a:pt x="277" y="52"/>
                    <a:pt x="285" y="40"/>
                    <a:pt x="273" y="39"/>
                  </a:cubicBezTo>
                  <a:cubicBezTo>
                    <a:pt x="261" y="38"/>
                    <a:pt x="262" y="48"/>
                    <a:pt x="262" y="48"/>
                  </a:cubicBezTo>
                  <a:cubicBezTo>
                    <a:pt x="252" y="40"/>
                    <a:pt x="252" y="40"/>
                    <a:pt x="252" y="40"/>
                  </a:cubicBezTo>
                  <a:cubicBezTo>
                    <a:pt x="247" y="46"/>
                    <a:pt x="247" y="46"/>
                    <a:pt x="247" y="46"/>
                  </a:cubicBezTo>
                  <a:cubicBezTo>
                    <a:pt x="241" y="41"/>
                    <a:pt x="241" y="41"/>
                    <a:pt x="241" y="41"/>
                  </a:cubicBezTo>
                  <a:cubicBezTo>
                    <a:pt x="231" y="43"/>
                    <a:pt x="231" y="43"/>
                    <a:pt x="231" y="43"/>
                  </a:cubicBezTo>
                  <a:cubicBezTo>
                    <a:pt x="224" y="38"/>
                    <a:pt x="224" y="38"/>
                    <a:pt x="224" y="38"/>
                  </a:cubicBezTo>
                  <a:cubicBezTo>
                    <a:pt x="219" y="45"/>
                    <a:pt x="219" y="45"/>
                    <a:pt x="219" y="45"/>
                  </a:cubicBezTo>
                  <a:cubicBezTo>
                    <a:pt x="207" y="37"/>
                    <a:pt x="207" y="37"/>
                    <a:pt x="207" y="37"/>
                  </a:cubicBezTo>
                  <a:cubicBezTo>
                    <a:pt x="202" y="40"/>
                    <a:pt x="202" y="40"/>
                    <a:pt x="202" y="40"/>
                  </a:cubicBezTo>
                  <a:cubicBezTo>
                    <a:pt x="191" y="31"/>
                    <a:pt x="191" y="31"/>
                    <a:pt x="191" y="31"/>
                  </a:cubicBezTo>
                  <a:cubicBezTo>
                    <a:pt x="172" y="28"/>
                    <a:pt x="172" y="28"/>
                    <a:pt x="172" y="28"/>
                  </a:cubicBezTo>
                  <a:cubicBezTo>
                    <a:pt x="172" y="28"/>
                    <a:pt x="167" y="28"/>
                    <a:pt x="157" y="28"/>
                  </a:cubicBezTo>
                  <a:cubicBezTo>
                    <a:pt x="147" y="28"/>
                    <a:pt x="147" y="20"/>
                    <a:pt x="147" y="20"/>
                  </a:cubicBezTo>
                  <a:cubicBezTo>
                    <a:pt x="147" y="20"/>
                    <a:pt x="120" y="19"/>
                    <a:pt x="117" y="20"/>
                  </a:cubicBezTo>
                  <a:cubicBezTo>
                    <a:pt x="114" y="21"/>
                    <a:pt x="103" y="27"/>
                    <a:pt x="103" y="27"/>
                  </a:cubicBezTo>
                  <a:cubicBezTo>
                    <a:pt x="77" y="27"/>
                    <a:pt x="77" y="27"/>
                    <a:pt x="77" y="27"/>
                  </a:cubicBezTo>
                  <a:cubicBezTo>
                    <a:pt x="77" y="27"/>
                    <a:pt x="76" y="37"/>
                    <a:pt x="68" y="42"/>
                  </a:cubicBezTo>
                  <a:cubicBezTo>
                    <a:pt x="60" y="47"/>
                    <a:pt x="47" y="40"/>
                    <a:pt x="47" y="40"/>
                  </a:cubicBezTo>
                  <a:cubicBezTo>
                    <a:pt x="49" y="53"/>
                    <a:pt x="49" y="53"/>
                    <a:pt x="49" y="53"/>
                  </a:cubicBezTo>
                  <a:cubicBezTo>
                    <a:pt x="49" y="53"/>
                    <a:pt x="57" y="55"/>
                    <a:pt x="60" y="64"/>
                  </a:cubicBezTo>
                  <a:cubicBezTo>
                    <a:pt x="63" y="73"/>
                    <a:pt x="75" y="76"/>
                    <a:pt x="75" y="76"/>
                  </a:cubicBezTo>
                  <a:cubicBezTo>
                    <a:pt x="68" y="84"/>
                    <a:pt x="68" y="84"/>
                    <a:pt x="68" y="84"/>
                  </a:cubicBezTo>
                  <a:cubicBezTo>
                    <a:pt x="68" y="84"/>
                    <a:pt x="74" y="92"/>
                    <a:pt x="76" y="97"/>
                  </a:cubicBezTo>
                  <a:cubicBezTo>
                    <a:pt x="78" y="102"/>
                    <a:pt x="58" y="103"/>
                    <a:pt x="58" y="103"/>
                  </a:cubicBezTo>
                  <a:cubicBezTo>
                    <a:pt x="23" y="138"/>
                    <a:pt x="23" y="138"/>
                    <a:pt x="23" y="138"/>
                  </a:cubicBezTo>
                  <a:cubicBezTo>
                    <a:pt x="23" y="138"/>
                    <a:pt x="23" y="148"/>
                    <a:pt x="22" y="158"/>
                  </a:cubicBezTo>
                  <a:cubicBezTo>
                    <a:pt x="21" y="168"/>
                    <a:pt x="30" y="174"/>
                    <a:pt x="30" y="174"/>
                  </a:cubicBezTo>
                  <a:cubicBezTo>
                    <a:pt x="14" y="173"/>
                    <a:pt x="14" y="173"/>
                    <a:pt x="14" y="173"/>
                  </a:cubicBezTo>
                  <a:cubicBezTo>
                    <a:pt x="14" y="173"/>
                    <a:pt x="13" y="180"/>
                    <a:pt x="11" y="186"/>
                  </a:cubicBezTo>
                  <a:cubicBezTo>
                    <a:pt x="9" y="192"/>
                    <a:pt x="1" y="194"/>
                    <a:pt x="1" y="194"/>
                  </a:cubicBezTo>
                  <a:cubicBezTo>
                    <a:pt x="0" y="202"/>
                    <a:pt x="0" y="202"/>
                    <a:pt x="0" y="202"/>
                  </a:cubicBezTo>
                  <a:cubicBezTo>
                    <a:pt x="8" y="204"/>
                    <a:pt x="10" y="214"/>
                    <a:pt x="16" y="215"/>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3" name="Freeform 32">
              <a:extLst>
                <a:ext uri="{FF2B5EF4-FFF2-40B4-BE49-F238E27FC236}">
                  <a16:creationId xmlns:a16="http://schemas.microsoft.com/office/drawing/2014/main" id="{F35179FD-FC2A-4256-804C-A5A108C83199}"/>
                </a:ext>
              </a:extLst>
            </p:cNvPr>
            <p:cNvSpPr>
              <a:spLocks/>
            </p:cNvSpPr>
            <p:nvPr/>
          </p:nvSpPr>
          <p:spPr bwMode="auto">
            <a:xfrm>
              <a:off x="5520859" y="2366950"/>
              <a:ext cx="906810" cy="594152"/>
            </a:xfrm>
            <a:custGeom>
              <a:avLst/>
              <a:gdLst>
                <a:gd name="T0" fmla="*/ 19 w 382"/>
                <a:gd name="T1" fmla="*/ 225 h 250"/>
                <a:gd name="T2" fmla="*/ 42 w 382"/>
                <a:gd name="T3" fmla="*/ 236 h 250"/>
                <a:gd name="T4" fmla="*/ 77 w 382"/>
                <a:gd name="T5" fmla="*/ 221 h 250"/>
                <a:gd name="T6" fmla="*/ 121 w 382"/>
                <a:gd name="T7" fmla="*/ 214 h 250"/>
                <a:gd name="T8" fmla="*/ 146 w 382"/>
                <a:gd name="T9" fmla="*/ 222 h 250"/>
                <a:gd name="T10" fmla="*/ 176 w 382"/>
                <a:gd name="T11" fmla="*/ 234 h 250"/>
                <a:gd name="T12" fmla="*/ 193 w 382"/>
                <a:gd name="T13" fmla="*/ 239 h 250"/>
                <a:gd name="T14" fmla="*/ 205 w 382"/>
                <a:gd name="T15" fmla="*/ 237 h 250"/>
                <a:gd name="T16" fmla="*/ 221 w 382"/>
                <a:gd name="T17" fmla="*/ 240 h 250"/>
                <a:gd name="T18" fmla="*/ 236 w 382"/>
                <a:gd name="T19" fmla="*/ 242 h 250"/>
                <a:gd name="T20" fmla="*/ 259 w 382"/>
                <a:gd name="T21" fmla="*/ 245 h 250"/>
                <a:gd name="T22" fmla="*/ 301 w 382"/>
                <a:gd name="T23" fmla="*/ 247 h 250"/>
                <a:gd name="T24" fmla="*/ 323 w 382"/>
                <a:gd name="T25" fmla="*/ 206 h 250"/>
                <a:gd name="T26" fmla="*/ 344 w 382"/>
                <a:gd name="T27" fmla="*/ 191 h 250"/>
                <a:gd name="T28" fmla="*/ 328 w 382"/>
                <a:gd name="T29" fmla="*/ 151 h 250"/>
                <a:gd name="T30" fmla="*/ 365 w 382"/>
                <a:gd name="T31" fmla="*/ 155 h 250"/>
                <a:gd name="T32" fmla="*/ 368 w 382"/>
                <a:gd name="T33" fmla="*/ 131 h 250"/>
                <a:gd name="T34" fmla="*/ 340 w 382"/>
                <a:gd name="T35" fmla="*/ 118 h 250"/>
                <a:gd name="T36" fmla="*/ 318 w 382"/>
                <a:gd name="T37" fmla="*/ 96 h 250"/>
                <a:gd name="T38" fmla="*/ 294 w 382"/>
                <a:gd name="T39" fmla="*/ 66 h 250"/>
                <a:gd name="T40" fmla="*/ 290 w 382"/>
                <a:gd name="T41" fmla="*/ 44 h 250"/>
                <a:gd name="T42" fmla="*/ 260 w 382"/>
                <a:gd name="T43" fmla="*/ 9 h 250"/>
                <a:gd name="T44" fmla="*/ 236 w 382"/>
                <a:gd name="T45" fmla="*/ 11 h 250"/>
                <a:gd name="T46" fmla="*/ 204 w 382"/>
                <a:gd name="T47" fmla="*/ 11 h 250"/>
                <a:gd name="T48" fmla="*/ 176 w 382"/>
                <a:gd name="T49" fmla="*/ 0 h 250"/>
                <a:gd name="T50" fmla="*/ 157 w 382"/>
                <a:gd name="T51" fmla="*/ 19 h 250"/>
                <a:gd name="T52" fmla="*/ 119 w 382"/>
                <a:gd name="T53" fmla="*/ 31 h 250"/>
                <a:gd name="T54" fmla="*/ 120 w 382"/>
                <a:gd name="T55" fmla="*/ 52 h 250"/>
                <a:gd name="T56" fmla="*/ 111 w 382"/>
                <a:gd name="T57" fmla="*/ 60 h 250"/>
                <a:gd name="T58" fmla="*/ 98 w 382"/>
                <a:gd name="T59" fmla="*/ 77 h 250"/>
                <a:gd name="T60" fmla="*/ 96 w 382"/>
                <a:gd name="T61" fmla="*/ 104 h 250"/>
                <a:gd name="T62" fmla="*/ 72 w 382"/>
                <a:gd name="T63" fmla="*/ 103 h 250"/>
                <a:gd name="T64" fmla="*/ 60 w 382"/>
                <a:gd name="T65" fmla="*/ 103 h 250"/>
                <a:gd name="T66" fmla="*/ 40 w 382"/>
                <a:gd name="T67" fmla="*/ 113 h 250"/>
                <a:gd name="T68" fmla="*/ 6 w 382"/>
                <a:gd name="T69" fmla="*/ 113 h 250"/>
                <a:gd name="T70" fmla="*/ 25 w 382"/>
                <a:gd name="T71" fmla="*/ 145 h 250"/>
                <a:gd name="T72" fmla="*/ 27 w 382"/>
                <a:gd name="T73" fmla="*/ 173 h 250"/>
                <a:gd name="T74" fmla="*/ 12 w 382"/>
                <a:gd name="T75" fmla="*/ 190 h 250"/>
                <a:gd name="T76" fmla="*/ 20 w 382"/>
                <a:gd name="T77" fmla="*/ 20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2" h="250">
                  <a:moveTo>
                    <a:pt x="20" y="207"/>
                  </a:moveTo>
                  <a:cubicBezTo>
                    <a:pt x="22" y="211"/>
                    <a:pt x="19" y="225"/>
                    <a:pt x="19" y="225"/>
                  </a:cubicBezTo>
                  <a:cubicBezTo>
                    <a:pt x="22" y="234"/>
                    <a:pt x="22" y="234"/>
                    <a:pt x="22" y="234"/>
                  </a:cubicBezTo>
                  <a:cubicBezTo>
                    <a:pt x="26" y="236"/>
                    <a:pt x="35" y="240"/>
                    <a:pt x="42" y="236"/>
                  </a:cubicBezTo>
                  <a:cubicBezTo>
                    <a:pt x="50" y="231"/>
                    <a:pt x="51" y="221"/>
                    <a:pt x="51" y="221"/>
                  </a:cubicBezTo>
                  <a:cubicBezTo>
                    <a:pt x="77" y="221"/>
                    <a:pt x="77" y="221"/>
                    <a:pt x="77" y="221"/>
                  </a:cubicBezTo>
                  <a:cubicBezTo>
                    <a:pt x="77" y="221"/>
                    <a:pt x="88" y="215"/>
                    <a:pt x="91" y="214"/>
                  </a:cubicBezTo>
                  <a:cubicBezTo>
                    <a:pt x="94" y="213"/>
                    <a:pt x="121" y="214"/>
                    <a:pt x="121" y="214"/>
                  </a:cubicBezTo>
                  <a:cubicBezTo>
                    <a:pt x="121" y="214"/>
                    <a:pt x="121" y="222"/>
                    <a:pt x="131" y="222"/>
                  </a:cubicBezTo>
                  <a:cubicBezTo>
                    <a:pt x="141" y="222"/>
                    <a:pt x="146" y="222"/>
                    <a:pt x="146" y="222"/>
                  </a:cubicBezTo>
                  <a:cubicBezTo>
                    <a:pt x="165" y="225"/>
                    <a:pt x="165" y="225"/>
                    <a:pt x="165" y="225"/>
                  </a:cubicBezTo>
                  <a:cubicBezTo>
                    <a:pt x="176" y="234"/>
                    <a:pt x="176" y="234"/>
                    <a:pt x="176" y="234"/>
                  </a:cubicBezTo>
                  <a:cubicBezTo>
                    <a:pt x="181" y="231"/>
                    <a:pt x="181" y="231"/>
                    <a:pt x="181" y="231"/>
                  </a:cubicBezTo>
                  <a:cubicBezTo>
                    <a:pt x="193" y="239"/>
                    <a:pt x="193" y="239"/>
                    <a:pt x="193" y="239"/>
                  </a:cubicBezTo>
                  <a:cubicBezTo>
                    <a:pt x="198" y="232"/>
                    <a:pt x="198" y="232"/>
                    <a:pt x="198" y="232"/>
                  </a:cubicBezTo>
                  <a:cubicBezTo>
                    <a:pt x="205" y="237"/>
                    <a:pt x="205" y="237"/>
                    <a:pt x="205" y="237"/>
                  </a:cubicBezTo>
                  <a:cubicBezTo>
                    <a:pt x="215" y="235"/>
                    <a:pt x="215" y="235"/>
                    <a:pt x="215" y="235"/>
                  </a:cubicBezTo>
                  <a:cubicBezTo>
                    <a:pt x="221" y="240"/>
                    <a:pt x="221" y="240"/>
                    <a:pt x="221" y="240"/>
                  </a:cubicBezTo>
                  <a:cubicBezTo>
                    <a:pt x="226" y="234"/>
                    <a:pt x="226" y="234"/>
                    <a:pt x="226" y="234"/>
                  </a:cubicBezTo>
                  <a:cubicBezTo>
                    <a:pt x="236" y="242"/>
                    <a:pt x="236" y="242"/>
                    <a:pt x="236" y="242"/>
                  </a:cubicBezTo>
                  <a:cubicBezTo>
                    <a:pt x="236" y="242"/>
                    <a:pt x="235" y="232"/>
                    <a:pt x="247" y="233"/>
                  </a:cubicBezTo>
                  <a:cubicBezTo>
                    <a:pt x="259" y="234"/>
                    <a:pt x="251" y="246"/>
                    <a:pt x="259" y="245"/>
                  </a:cubicBezTo>
                  <a:cubicBezTo>
                    <a:pt x="267" y="244"/>
                    <a:pt x="278" y="241"/>
                    <a:pt x="278" y="241"/>
                  </a:cubicBezTo>
                  <a:cubicBezTo>
                    <a:pt x="278" y="241"/>
                    <a:pt x="292" y="250"/>
                    <a:pt x="301" y="247"/>
                  </a:cubicBezTo>
                  <a:cubicBezTo>
                    <a:pt x="310" y="244"/>
                    <a:pt x="300" y="231"/>
                    <a:pt x="300" y="231"/>
                  </a:cubicBezTo>
                  <a:cubicBezTo>
                    <a:pt x="300" y="231"/>
                    <a:pt x="316" y="206"/>
                    <a:pt x="323" y="206"/>
                  </a:cubicBezTo>
                  <a:cubicBezTo>
                    <a:pt x="326" y="206"/>
                    <a:pt x="337" y="208"/>
                    <a:pt x="347" y="209"/>
                  </a:cubicBezTo>
                  <a:cubicBezTo>
                    <a:pt x="346" y="201"/>
                    <a:pt x="346" y="191"/>
                    <a:pt x="344" y="191"/>
                  </a:cubicBezTo>
                  <a:cubicBezTo>
                    <a:pt x="341" y="190"/>
                    <a:pt x="341" y="176"/>
                    <a:pt x="341" y="176"/>
                  </a:cubicBezTo>
                  <a:cubicBezTo>
                    <a:pt x="341" y="176"/>
                    <a:pt x="314" y="154"/>
                    <a:pt x="328" y="151"/>
                  </a:cubicBezTo>
                  <a:cubicBezTo>
                    <a:pt x="342" y="148"/>
                    <a:pt x="344" y="154"/>
                    <a:pt x="344" y="154"/>
                  </a:cubicBezTo>
                  <a:cubicBezTo>
                    <a:pt x="344" y="154"/>
                    <a:pt x="357" y="162"/>
                    <a:pt x="365" y="155"/>
                  </a:cubicBezTo>
                  <a:cubicBezTo>
                    <a:pt x="373" y="148"/>
                    <a:pt x="382" y="139"/>
                    <a:pt x="382" y="139"/>
                  </a:cubicBezTo>
                  <a:cubicBezTo>
                    <a:pt x="368" y="131"/>
                    <a:pt x="368" y="131"/>
                    <a:pt x="368" y="131"/>
                  </a:cubicBezTo>
                  <a:cubicBezTo>
                    <a:pt x="368" y="131"/>
                    <a:pt x="376" y="122"/>
                    <a:pt x="363" y="119"/>
                  </a:cubicBezTo>
                  <a:cubicBezTo>
                    <a:pt x="350" y="116"/>
                    <a:pt x="340" y="118"/>
                    <a:pt x="340" y="118"/>
                  </a:cubicBezTo>
                  <a:cubicBezTo>
                    <a:pt x="338" y="103"/>
                    <a:pt x="338" y="103"/>
                    <a:pt x="338" y="103"/>
                  </a:cubicBezTo>
                  <a:cubicBezTo>
                    <a:pt x="318" y="96"/>
                    <a:pt x="318" y="96"/>
                    <a:pt x="318" y="96"/>
                  </a:cubicBezTo>
                  <a:cubicBezTo>
                    <a:pt x="318" y="96"/>
                    <a:pt x="315" y="75"/>
                    <a:pt x="307" y="73"/>
                  </a:cubicBezTo>
                  <a:cubicBezTo>
                    <a:pt x="299" y="71"/>
                    <a:pt x="294" y="66"/>
                    <a:pt x="294" y="66"/>
                  </a:cubicBezTo>
                  <a:cubicBezTo>
                    <a:pt x="298" y="54"/>
                    <a:pt x="298" y="54"/>
                    <a:pt x="298" y="54"/>
                  </a:cubicBezTo>
                  <a:cubicBezTo>
                    <a:pt x="290" y="44"/>
                    <a:pt x="290" y="44"/>
                    <a:pt x="290" y="44"/>
                  </a:cubicBezTo>
                  <a:cubicBezTo>
                    <a:pt x="290" y="44"/>
                    <a:pt x="304" y="30"/>
                    <a:pt x="293" y="25"/>
                  </a:cubicBezTo>
                  <a:cubicBezTo>
                    <a:pt x="282" y="20"/>
                    <a:pt x="260" y="9"/>
                    <a:pt x="260" y="9"/>
                  </a:cubicBezTo>
                  <a:cubicBezTo>
                    <a:pt x="238" y="21"/>
                    <a:pt x="238" y="21"/>
                    <a:pt x="238" y="21"/>
                  </a:cubicBezTo>
                  <a:cubicBezTo>
                    <a:pt x="236" y="11"/>
                    <a:pt x="236" y="11"/>
                    <a:pt x="236" y="11"/>
                  </a:cubicBezTo>
                  <a:cubicBezTo>
                    <a:pt x="210" y="5"/>
                    <a:pt x="210" y="5"/>
                    <a:pt x="210" y="5"/>
                  </a:cubicBezTo>
                  <a:cubicBezTo>
                    <a:pt x="204" y="11"/>
                    <a:pt x="204" y="11"/>
                    <a:pt x="204" y="11"/>
                  </a:cubicBezTo>
                  <a:cubicBezTo>
                    <a:pt x="204" y="11"/>
                    <a:pt x="203" y="4"/>
                    <a:pt x="195" y="3"/>
                  </a:cubicBezTo>
                  <a:cubicBezTo>
                    <a:pt x="187" y="2"/>
                    <a:pt x="176" y="0"/>
                    <a:pt x="176" y="0"/>
                  </a:cubicBezTo>
                  <a:cubicBezTo>
                    <a:pt x="176" y="0"/>
                    <a:pt x="162" y="16"/>
                    <a:pt x="162" y="13"/>
                  </a:cubicBezTo>
                  <a:cubicBezTo>
                    <a:pt x="162" y="10"/>
                    <a:pt x="157" y="19"/>
                    <a:pt x="157" y="19"/>
                  </a:cubicBezTo>
                  <a:cubicBezTo>
                    <a:pt x="157" y="19"/>
                    <a:pt x="146" y="13"/>
                    <a:pt x="141" y="13"/>
                  </a:cubicBezTo>
                  <a:cubicBezTo>
                    <a:pt x="136" y="13"/>
                    <a:pt x="121" y="26"/>
                    <a:pt x="119" y="31"/>
                  </a:cubicBezTo>
                  <a:cubicBezTo>
                    <a:pt x="117" y="36"/>
                    <a:pt x="133" y="46"/>
                    <a:pt x="133" y="46"/>
                  </a:cubicBezTo>
                  <a:cubicBezTo>
                    <a:pt x="133" y="46"/>
                    <a:pt x="126" y="52"/>
                    <a:pt x="120" y="52"/>
                  </a:cubicBezTo>
                  <a:cubicBezTo>
                    <a:pt x="114" y="52"/>
                    <a:pt x="107" y="47"/>
                    <a:pt x="107" y="47"/>
                  </a:cubicBezTo>
                  <a:cubicBezTo>
                    <a:pt x="111" y="60"/>
                    <a:pt x="111" y="60"/>
                    <a:pt x="111" y="60"/>
                  </a:cubicBezTo>
                  <a:cubicBezTo>
                    <a:pt x="111" y="60"/>
                    <a:pt x="98" y="55"/>
                    <a:pt x="96" y="62"/>
                  </a:cubicBezTo>
                  <a:cubicBezTo>
                    <a:pt x="94" y="69"/>
                    <a:pt x="98" y="77"/>
                    <a:pt x="98" y="77"/>
                  </a:cubicBezTo>
                  <a:cubicBezTo>
                    <a:pt x="98" y="77"/>
                    <a:pt x="86" y="76"/>
                    <a:pt x="91" y="84"/>
                  </a:cubicBezTo>
                  <a:cubicBezTo>
                    <a:pt x="96" y="92"/>
                    <a:pt x="103" y="103"/>
                    <a:pt x="96" y="104"/>
                  </a:cubicBezTo>
                  <a:cubicBezTo>
                    <a:pt x="89" y="105"/>
                    <a:pt x="100" y="96"/>
                    <a:pt x="90" y="96"/>
                  </a:cubicBezTo>
                  <a:cubicBezTo>
                    <a:pt x="80" y="96"/>
                    <a:pt x="72" y="103"/>
                    <a:pt x="72" y="103"/>
                  </a:cubicBezTo>
                  <a:cubicBezTo>
                    <a:pt x="68" y="111"/>
                    <a:pt x="68" y="111"/>
                    <a:pt x="68" y="111"/>
                  </a:cubicBezTo>
                  <a:cubicBezTo>
                    <a:pt x="60" y="103"/>
                    <a:pt x="60" y="103"/>
                    <a:pt x="60" y="103"/>
                  </a:cubicBezTo>
                  <a:cubicBezTo>
                    <a:pt x="58" y="113"/>
                    <a:pt x="58" y="113"/>
                    <a:pt x="58" y="113"/>
                  </a:cubicBezTo>
                  <a:cubicBezTo>
                    <a:pt x="40" y="113"/>
                    <a:pt x="40" y="113"/>
                    <a:pt x="40" y="113"/>
                  </a:cubicBezTo>
                  <a:cubicBezTo>
                    <a:pt x="40" y="113"/>
                    <a:pt x="38" y="107"/>
                    <a:pt x="30" y="108"/>
                  </a:cubicBezTo>
                  <a:cubicBezTo>
                    <a:pt x="22" y="109"/>
                    <a:pt x="6" y="113"/>
                    <a:pt x="6" y="113"/>
                  </a:cubicBezTo>
                  <a:cubicBezTo>
                    <a:pt x="6" y="113"/>
                    <a:pt x="14" y="126"/>
                    <a:pt x="14" y="131"/>
                  </a:cubicBezTo>
                  <a:cubicBezTo>
                    <a:pt x="14" y="136"/>
                    <a:pt x="25" y="145"/>
                    <a:pt x="25" y="145"/>
                  </a:cubicBezTo>
                  <a:cubicBezTo>
                    <a:pt x="25" y="145"/>
                    <a:pt x="33" y="157"/>
                    <a:pt x="31" y="161"/>
                  </a:cubicBezTo>
                  <a:cubicBezTo>
                    <a:pt x="29" y="165"/>
                    <a:pt x="27" y="173"/>
                    <a:pt x="27" y="173"/>
                  </a:cubicBezTo>
                  <a:cubicBezTo>
                    <a:pt x="13" y="178"/>
                    <a:pt x="13" y="178"/>
                    <a:pt x="13" y="178"/>
                  </a:cubicBezTo>
                  <a:cubicBezTo>
                    <a:pt x="13" y="178"/>
                    <a:pt x="15" y="190"/>
                    <a:pt x="12" y="190"/>
                  </a:cubicBezTo>
                  <a:cubicBezTo>
                    <a:pt x="9" y="190"/>
                    <a:pt x="0" y="188"/>
                    <a:pt x="2" y="194"/>
                  </a:cubicBezTo>
                  <a:cubicBezTo>
                    <a:pt x="4" y="200"/>
                    <a:pt x="18" y="203"/>
                    <a:pt x="20" y="207"/>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4" name="Freeform 33">
              <a:extLst>
                <a:ext uri="{FF2B5EF4-FFF2-40B4-BE49-F238E27FC236}">
                  <a16:creationId xmlns:a16="http://schemas.microsoft.com/office/drawing/2014/main" id="{AB45E8A1-E0EC-4B3C-ABDC-CB735D995D95}"/>
                </a:ext>
              </a:extLst>
            </p:cNvPr>
            <p:cNvSpPr>
              <a:spLocks/>
            </p:cNvSpPr>
            <p:nvPr/>
          </p:nvSpPr>
          <p:spPr bwMode="auto">
            <a:xfrm>
              <a:off x="5278574" y="2129692"/>
              <a:ext cx="678600" cy="291546"/>
            </a:xfrm>
            <a:custGeom>
              <a:avLst/>
              <a:gdLst>
                <a:gd name="T0" fmla="*/ 5 w 286"/>
                <a:gd name="T1" fmla="*/ 97 h 123"/>
                <a:gd name="T2" fmla="*/ 18 w 286"/>
                <a:gd name="T3" fmla="*/ 92 h 123"/>
                <a:gd name="T4" fmla="*/ 51 w 286"/>
                <a:gd name="T5" fmla="*/ 86 h 123"/>
                <a:gd name="T6" fmla="*/ 65 w 286"/>
                <a:gd name="T7" fmla="*/ 83 h 123"/>
                <a:gd name="T8" fmla="*/ 78 w 286"/>
                <a:gd name="T9" fmla="*/ 90 h 123"/>
                <a:gd name="T10" fmla="*/ 86 w 286"/>
                <a:gd name="T11" fmla="*/ 88 h 123"/>
                <a:gd name="T12" fmla="*/ 109 w 286"/>
                <a:gd name="T13" fmla="*/ 94 h 123"/>
                <a:gd name="T14" fmla="*/ 118 w 286"/>
                <a:gd name="T15" fmla="*/ 89 h 123"/>
                <a:gd name="T16" fmla="*/ 133 w 286"/>
                <a:gd name="T17" fmla="*/ 93 h 123"/>
                <a:gd name="T18" fmla="*/ 150 w 286"/>
                <a:gd name="T19" fmla="*/ 85 h 123"/>
                <a:gd name="T20" fmla="*/ 162 w 286"/>
                <a:gd name="T21" fmla="*/ 98 h 123"/>
                <a:gd name="T22" fmla="*/ 189 w 286"/>
                <a:gd name="T23" fmla="*/ 101 h 123"/>
                <a:gd name="T24" fmla="*/ 200 w 286"/>
                <a:gd name="T25" fmla="*/ 111 h 123"/>
                <a:gd name="T26" fmla="*/ 215 w 286"/>
                <a:gd name="T27" fmla="*/ 119 h 123"/>
                <a:gd name="T28" fmla="*/ 227 w 286"/>
                <a:gd name="T29" fmla="*/ 123 h 123"/>
                <a:gd name="T30" fmla="*/ 243 w 286"/>
                <a:gd name="T31" fmla="*/ 113 h 123"/>
                <a:gd name="T32" fmla="*/ 259 w 286"/>
                <a:gd name="T33" fmla="*/ 119 h 123"/>
                <a:gd name="T34" fmla="*/ 264 w 286"/>
                <a:gd name="T35" fmla="*/ 113 h 123"/>
                <a:gd name="T36" fmla="*/ 278 w 286"/>
                <a:gd name="T37" fmla="*/ 100 h 123"/>
                <a:gd name="T38" fmla="*/ 286 w 286"/>
                <a:gd name="T39" fmla="*/ 101 h 123"/>
                <a:gd name="T40" fmla="*/ 280 w 286"/>
                <a:gd name="T41" fmla="*/ 82 h 123"/>
                <a:gd name="T42" fmla="*/ 268 w 286"/>
                <a:gd name="T43" fmla="*/ 65 h 123"/>
                <a:gd name="T44" fmla="*/ 255 w 286"/>
                <a:gd name="T45" fmla="*/ 61 h 123"/>
                <a:gd name="T46" fmla="*/ 256 w 286"/>
                <a:gd name="T47" fmla="*/ 52 h 123"/>
                <a:gd name="T48" fmla="*/ 268 w 286"/>
                <a:gd name="T49" fmla="*/ 45 h 123"/>
                <a:gd name="T50" fmla="*/ 246 w 286"/>
                <a:gd name="T51" fmla="*/ 30 h 123"/>
                <a:gd name="T52" fmla="*/ 238 w 286"/>
                <a:gd name="T53" fmla="*/ 31 h 123"/>
                <a:gd name="T54" fmla="*/ 225 w 286"/>
                <a:gd name="T55" fmla="*/ 26 h 123"/>
                <a:gd name="T56" fmla="*/ 214 w 286"/>
                <a:gd name="T57" fmla="*/ 32 h 123"/>
                <a:gd name="T58" fmla="*/ 194 w 286"/>
                <a:gd name="T59" fmla="*/ 20 h 123"/>
                <a:gd name="T60" fmla="*/ 166 w 286"/>
                <a:gd name="T61" fmla="*/ 3 h 123"/>
                <a:gd name="T62" fmla="*/ 145 w 286"/>
                <a:gd name="T63" fmla="*/ 4 h 123"/>
                <a:gd name="T64" fmla="*/ 124 w 286"/>
                <a:gd name="T65" fmla="*/ 10 h 123"/>
                <a:gd name="T66" fmla="*/ 120 w 286"/>
                <a:gd name="T67" fmla="*/ 10 h 123"/>
                <a:gd name="T68" fmla="*/ 119 w 286"/>
                <a:gd name="T69" fmla="*/ 12 h 123"/>
                <a:gd name="T70" fmla="*/ 123 w 286"/>
                <a:gd name="T71" fmla="*/ 55 h 123"/>
                <a:gd name="T72" fmla="*/ 86 w 286"/>
                <a:gd name="T73" fmla="*/ 52 h 123"/>
                <a:gd name="T74" fmla="*/ 79 w 286"/>
                <a:gd name="T75" fmla="*/ 37 h 123"/>
                <a:gd name="T76" fmla="*/ 56 w 286"/>
                <a:gd name="T77" fmla="*/ 18 h 123"/>
                <a:gd name="T78" fmla="*/ 21 w 286"/>
                <a:gd name="T79" fmla="*/ 30 h 123"/>
                <a:gd name="T80" fmla="*/ 16 w 286"/>
                <a:gd name="T81" fmla="*/ 46 h 123"/>
                <a:gd name="T82" fmla="*/ 0 w 286"/>
                <a:gd name="T83" fmla="*/ 69 h 123"/>
                <a:gd name="T84" fmla="*/ 6 w 286"/>
                <a:gd name="T85" fmla="*/ 104 h 123"/>
                <a:gd name="T86" fmla="*/ 5 w 286"/>
                <a:gd name="T87" fmla="*/ 9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6" h="123">
                  <a:moveTo>
                    <a:pt x="5" y="97"/>
                  </a:moveTo>
                  <a:cubicBezTo>
                    <a:pt x="8" y="95"/>
                    <a:pt x="12" y="93"/>
                    <a:pt x="18" y="92"/>
                  </a:cubicBezTo>
                  <a:cubicBezTo>
                    <a:pt x="38" y="89"/>
                    <a:pt x="45" y="89"/>
                    <a:pt x="51" y="86"/>
                  </a:cubicBezTo>
                  <a:cubicBezTo>
                    <a:pt x="57" y="83"/>
                    <a:pt x="59" y="81"/>
                    <a:pt x="65" y="83"/>
                  </a:cubicBezTo>
                  <a:cubicBezTo>
                    <a:pt x="71" y="85"/>
                    <a:pt x="78" y="90"/>
                    <a:pt x="78" y="90"/>
                  </a:cubicBezTo>
                  <a:cubicBezTo>
                    <a:pt x="78" y="90"/>
                    <a:pt x="83" y="89"/>
                    <a:pt x="86" y="88"/>
                  </a:cubicBezTo>
                  <a:cubicBezTo>
                    <a:pt x="89" y="87"/>
                    <a:pt x="109" y="94"/>
                    <a:pt x="109" y="94"/>
                  </a:cubicBezTo>
                  <a:cubicBezTo>
                    <a:pt x="109" y="94"/>
                    <a:pt x="113" y="89"/>
                    <a:pt x="118" y="89"/>
                  </a:cubicBezTo>
                  <a:cubicBezTo>
                    <a:pt x="123" y="89"/>
                    <a:pt x="125" y="93"/>
                    <a:pt x="133" y="93"/>
                  </a:cubicBezTo>
                  <a:cubicBezTo>
                    <a:pt x="141" y="93"/>
                    <a:pt x="144" y="85"/>
                    <a:pt x="150" y="85"/>
                  </a:cubicBezTo>
                  <a:cubicBezTo>
                    <a:pt x="156" y="85"/>
                    <a:pt x="162" y="98"/>
                    <a:pt x="162" y="98"/>
                  </a:cubicBezTo>
                  <a:cubicBezTo>
                    <a:pt x="162" y="98"/>
                    <a:pt x="183" y="99"/>
                    <a:pt x="189" y="101"/>
                  </a:cubicBezTo>
                  <a:cubicBezTo>
                    <a:pt x="195" y="103"/>
                    <a:pt x="200" y="111"/>
                    <a:pt x="200" y="111"/>
                  </a:cubicBezTo>
                  <a:cubicBezTo>
                    <a:pt x="215" y="119"/>
                    <a:pt x="215" y="119"/>
                    <a:pt x="215" y="119"/>
                  </a:cubicBezTo>
                  <a:cubicBezTo>
                    <a:pt x="227" y="123"/>
                    <a:pt x="227" y="123"/>
                    <a:pt x="227" y="123"/>
                  </a:cubicBezTo>
                  <a:cubicBezTo>
                    <a:pt x="233" y="118"/>
                    <a:pt x="240" y="113"/>
                    <a:pt x="243" y="113"/>
                  </a:cubicBezTo>
                  <a:cubicBezTo>
                    <a:pt x="248" y="113"/>
                    <a:pt x="259" y="119"/>
                    <a:pt x="259" y="119"/>
                  </a:cubicBezTo>
                  <a:cubicBezTo>
                    <a:pt x="259" y="119"/>
                    <a:pt x="264" y="110"/>
                    <a:pt x="264" y="113"/>
                  </a:cubicBezTo>
                  <a:cubicBezTo>
                    <a:pt x="264" y="116"/>
                    <a:pt x="278" y="100"/>
                    <a:pt x="278" y="100"/>
                  </a:cubicBezTo>
                  <a:cubicBezTo>
                    <a:pt x="278" y="100"/>
                    <a:pt x="282" y="101"/>
                    <a:pt x="286" y="101"/>
                  </a:cubicBezTo>
                  <a:cubicBezTo>
                    <a:pt x="286" y="97"/>
                    <a:pt x="286" y="87"/>
                    <a:pt x="280" y="82"/>
                  </a:cubicBezTo>
                  <a:cubicBezTo>
                    <a:pt x="273" y="76"/>
                    <a:pt x="268" y="65"/>
                    <a:pt x="268" y="65"/>
                  </a:cubicBezTo>
                  <a:cubicBezTo>
                    <a:pt x="255" y="61"/>
                    <a:pt x="255" y="61"/>
                    <a:pt x="255" y="61"/>
                  </a:cubicBezTo>
                  <a:cubicBezTo>
                    <a:pt x="256" y="52"/>
                    <a:pt x="256" y="52"/>
                    <a:pt x="256" y="52"/>
                  </a:cubicBezTo>
                  <a:cubicBezTo>
                    <a:pt x="256" y="52"/>
                    <a:pt x="269" y="50"/>
                    <a:pt x="268" y="45"/>
                  </a:cubicBezTo>
                  <a:cubicBezTo>
                    <a:pt x="267" y="40"/>
                    <a:pt x="246" y="30"/>
                    <a:pt x="246" y="30"/>
                  </a:cubicBezTo>
                  <a:cubicBezTo>
                    <a:pt x="238" y="31"/>
                    <a:pt x="238" y="31"/>
                    <a:pt x="238" y="31"/>
                  </a:cubicBezTo>
                  <a:cubicBezTo>
                    <a:pt x="238" y="31"/>
                    <a:pt x="228" y="27"/>
                    <a:pt x="225" y="26"/>
                  </a:cubicBezTo>
                  <a:cubicBezTo>
                    <a:pt x="222" y="25"/>
                    <a:pt x="220" y="32"/>
                    <a:pt x="214" y="32"/>
                  </a:cubicBezTo>
                  <a:cubicBezTo>
                    <a:pt x="208" y="32"/>
                    <a:pt x="205" y="29"/>
                    <a:pt x="194" y="20"/>
                  </a:cubicBezTo>
                  <a:cubicBezTo>
                    <a:pt x="183" y="11"/>
                    <a:pt x="181" y="6"/>
                    <a:pt x="166" y="3"/>
                  </a:cubicBezTo>
                  <a:cubicBezTo>
                    <a:pt x="151" y="0"/>
                    <a:pt x="145" y="4"/>
                    <a:pt x="145" y="4"/>
                  </a:cubicBezTo>
                  <a:cubicBezTo>
                    <a:pt x="124" y="10"/>
                    <a:pt x="124" y="10"/>
                    <a:pt x="124" y="10"/>
                  </a:cubicBezTo>
                  <a:cubicBezTo>
                    <a:pt x="120" y="10"/>
                    <a:pt x="120" y="10"/>
                    <a:pt x="120" y="10"/>
                  </a:cubicBezTo>
                  <a:cubicBezTo>
                    <a:pt x="119" y="12"/>
                    <a:pt x="119" y="12"/>
                    <a:pt x="119" y="12"/>
                  </a:cubicBezTo>
                  <a:cubicBezTo>
                    <a:pt x="119" y="12"/>
                    <a:pt x="136" y="55"/>
                    <a:pt x="123" y="55"/>
                  </a:cubicBezTo>
                  <a:cubicBezTo>
                    <a:pt x="110" y="55"/>
                    <a:pt x="86" y="52"/>
                    <a:pt x="86" y="52"/>
                  </a:cubicBezTo>
                  <a:cubicBezTo>
                    <a:pt x="79" y="37"/>
                    <a:pt x="79" y="37"/>
                    <a:pt x="79" y="37"/>
                  </a:cubicBezTo>
                  <a:cubicBezTo>
                    <a:pt x="56" y="18"/>
                    <a:pt x="56" y="18"/>
                    <a:pt x="56" y="18"/>
                  </a:cubicBezTo>
                  <a:cubicBezTo>
                    <a:pt x="56" y="18"/>
                    <a:pt x="24" y="23"/>
                    <a:pt x="21" y="30"/>
                  </a:cubicBezTo>
                  <a:cubicBezTo>
                    <a:pt x="18" y="37"/>
                    <a:pt x="16" y="46"/>
                    <a:pt x="16" y="46"/>
                  </a:cubicBezTo>
                  <a:cubicBezTo>
                    <a:pt x="16" y="46"/>
                    <a:pt x="0" y="64"/>
                    <a:pt x="0" y="69"/>
                  </a:cubicBezTo>
                  <a:cubicBezTo>
                    <a:pt x="0" y="74"/>
                    <a:pt x="6" y="104"/>
                    <a:pt x="6" y="104"/>
                  </a:cubicBezTo>
                  <a:cubicBezTo>
                    <a:pt x="6" y="104"/>
                    <a:pt x="5" y="101"/>
                    <a:pt x="5" y="97"/>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5" name="Freeform 34">
              <a:extLst>
                <a:ext uri="{FF2B5EF4-FFF2-40B4-BE49-F238E27FC236}">
                  <a16:creationId xmlns:a16="http://schemas.microsoft.com/office/drawing/2014/main" id="{6E269B99-CCBE-4472-8A08-111E8988FFA6}"/>
                </a:ext>
              </a:extLst>
            </p:cNvPr>
            <p:cNvSpPr>
              <a:spLocks/>
            </p:cNvSpPr>
            <p:nvPr/>
          </p:nvSpPr>
          <p:spPr bwMode="auto">
            <a:xfrm>
              <a:off x="5140842" y="782547"/>
              <a:ext cx="1002316" cy="1140046"/>
            </a:xfrm>
            <a:custGeom>
              <a:avLst/>
              <a:gdLst>
                <a:gd name="T0" fmla="*/ 88 w 422"/>
                <a:gd name="T1" fmla="*/ 64 h 480"/>
                <a:gd name="T2" fmla="*/ 64 w 422"/>
                <a:gd name="T3" fmla="*/ 59 h 480"/>
                <a:gd name="T4" fmla="*/ 40 w 422"/>
                <a:gd name="T5" fmla="*/ 47 h 480"/>
                <a:gd name="T6" fmla="*/ 16 w 422"/>
                <a:gd name="T7" fmla="*/ 36 h 480"/>
                <a:gd name="T8" fmla="*/ 2 w 422"/>
                <a:gd name="T9" fmla="*/ 40 h 480"/>
                <a:gd name="T10" fmla="*/ 17 w 422"/>
                <a:gd name="T11" fmla="*/ 56 h 480"/>
                <a:gd name="T12" fmla="*/ 48 w 422"/>
                <a:gd name="T13" fmla="*/ 72 h 480"/>
                <a:gd name="T14" fmla="*/ 92 w 422"/>
                <a:gd name="T15" fmla="*/ 85 h 480"/>
                <a:gd name="T16" fmla="*/ 103 w 422"/>
                <a:gd name="T17" fmla="*/ 114 h 480"/>
                <a:gd name="T18" fmla="*/ 107 w 422"/>
                <a:gd name="T19" fmla="*/ 132 h 480"/>
                <a:gd name="T20" fmla="*/ 113 w 422"/>
                <a:gd name="T21" fmla="*/ 165 h 480"/>
                <a:gd name="T22" fmla="*/ 138 w 422"/>
                <a:gd name="T23" fmla="*/ 204 h 480"/>
                <a:gd name="T24" fmla="*/ 179 w 422"/>
                <a:gd name="T25" fmla="*/ 217 h 480"/>
                <a:gd name="T26" fmla="*/ 167 w 422"/>
                <a:gd name="T27" fmla="*/ 234 h 480"/>
                <a:gd name="T28" fmla="*/ 119 w 422"/>
                <a:gd name="T29" fmla="*/ 283 h 480"/>
                <a:gd name="T30" fmla="*/ 81 w 422"/>
                <a:gd name="T31" fmla="*/ 309 h 480"/>
                <a:gd name="T32" fmla="*/ 45 w 422"/>
                <a:gd name="T33" fmla="*/ 336 h 480"/>
                <a:gd name="T34" fmla="*/ 49 w 422"/>
                <a:gd name="T35" fmla="*/ 364 h 480"/>
                <a:gd name="T36" fmla="*/ 62 w 422"/>
                <a:gd name="T37" fmla="*/ 393 h 480"/>
                <a:gd name="T38" fmla="*/ 71 w 422"/>
                <a:gd name="T39" fmla="*/ 452 h 480"/>
                <a:gd name="T40" fmla="*/ 114 w 422"/>
                <a:gd name="T41" fmla="*/ 460 h 480"/>
                <a:gd name="T42" fmla="*/ 180 w 422"/>
                <a:gd name="T43" fmla="*/ 475 h 480"/>
                <a:gd name="T44" fmla="*/ 222 w 422"/>
                <a:gd name="T45" fmla="*/ 465 h 480"/>
                <a:gd name="T46" fmla="*/ 304 w 422"/>
                <a:gd name="T47" fmla="*/ 451 h 480"/>
                <a:gd name="T48" fmla="*/ 305 w 422"/>
                <a:gd name="T49" fmla="*/ 441 h 480"/>
                <a:gd name="T50" fmla="*/ 382 w 422"/>
                <a:gd name="T51" fmla="*/ 381 h 480"/>
                <a:gd name="T52" fmla="*/ 421 w 422"/>
                <a:gd name="T53" fmla="*/ 340 h 480"/>
                <a:gd name="T54" fmla="*/ 360 w 422"/>
                <a:gd name="T55" fmla="*/ 295 h 480"/>
                <a:gd name="T56" fmla="*/ 368 w 422"/>
                <a:gd name="T57" fmla="*/ 265 h 480"/>
                <a:gd name="T58" fmla="*/ 359 w 422"/>
                <a:gd name="T59" fmla="*/ 247 h 480"/>
                <a:gd name="T60" fmla="*/ 339 w 422"/>
                <a:gd name="T61" fmla="*/ 228 h 480"/>
                <a:gd name="T62" fmla="*/ 337 w 422"/>
                <a:gd name="T63" fmla="*/ 202 h 480"/>
                <a:gd name="T64" fmla="*/ 312 w 422"/>
                <a:gd name="T65" fmla="*/ 156 h 480"/>
                <a:gd name="T66" fmla="*/ 316 w 422"/>
                <a:gd name="T67" fmla="*/ 133 h 480"/>
                <a:gd name="T68" fmla="*/ 312 w 422"/>
                <a:gd name="T69" fmla="*/ 98 h 480"/>
                <a:gd name="T70" fmla="*/ 275 w 422"/>
                <a:gd name="T71" fmla="*/ 82 h 480"/>
                <a:gd name="T72" fmla="*/ 282 w 422"/>
                <a:gd name="T73" fmla="*/ 62 h 480"/>
                <a:gd name="T74" fmla="*/ 280 w 422"/>
                <a:gd name="T75" fmla="*/ 36 h 480"/>
                <a:gd name="T76" fmla="*/ 271 w 422"/>
                <a:gd name="T77" fmla="*/ 13 h 480"/>
                <a:gd name="T78" fmla="*/ 240 w 422"/>
                <a:gd name="T79" fmla="*/ 1 h 480"/>
                <a:gd name="T80" fmla="*/ 198 w 422"/>
                <a:gd name="T81" fmla="*/ 5 h 480"/>
                <a:gd name="T82" fmla="*/ 173 w 422"/>
                <a:gd name="T83" fmla="*/ 30 h 480"/>
                <a:gd name="T84" fmla="*/ 157 w 422"/>
                <a:gd name="T85" fmla="*/ 50 h 480"/>
                <a:gd name="T86" fmla="*/ 123 w 422"/>
                <a:gd name="T87" fmla="*/ 5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2" h="480">
                  <a:moveTo>
                    <a:pt x="107" y="59"/>
                  </a:moveTo>
                  <a:cubicBezTo>
                    <a:pt x="107" y="59"/>
                    <a:pt x="98" y="67"/>
                    <a:pt x="88" y="64"/>
                  </a:cubicBezTo>
                  <a:cubicBezTo>
                    <a:pt x="78" y="61"/>
                    <a:pt x="78" y="61"/>
                    <a:pt x="78" y="61"/>
                  </a:cubicBezTo>
                  <a:cubicBezTo>
                    <a:pt x="78" y="61"/>
                    <a:pt x="78" y="60"/>
                    <a:pt x="64" y="59"/>
                  </a:cubicBezTo>
                  <a:cubicBezTo>
                    <a:pt x="50" y="58"/>
                    <a:pt x="49" y="48"/>
                    <a:pt x="49" y="48"/>
                  </a:cubicBezTo>
                  <a:cubicBezTo>
                    <a:pt x="40" y="47"/>
                    <a:pt x="40" y="47"/>
                    <a:pt x="40" y="47"/>
                  </a:cubicBezTo>
                  <a:cubicBezTo>
                    <a:pt x="40" y="47"/>
                    <a:pt x="31" y="33"/>
                    <a:pt x="27" y="33"/>
                  </a:cubicBezTo>
                  <a:cubicBezTo>
                    <a:pt x="23" y="33"/>
                    <a:pt x="16" y="36"/>
                    <a:pt x="16" y="36"/>
                  </a:cubicBezTo>
                  <a:cubicBezTo>
                    <a:pt x="14" y="45"/>
                    <a:pt x="14" y="45"/>
                    <a:pt x="14" y="45"/>
                  </a:cubicBezTo>
                  <a:cubicBezTo>
                    <a:pt x="2" y="40"/>
                    <a:pt x="2" y="40"/>
                    <a:pt x="2" y="40"/>
                  </a:cubicBezTo>
                  <a:cubicBezTo>
                    <a:pt x="0" y="45"/>
                    <a:pt x="0" y="45"/>
                    <a:pt x="0" y="45"/>
                  </a:cubicBezTo>
                  <a:cubicBezTo>
                    <a:pt x="0" y="45"/>
                    <a:pt x="7" y="52"/>
                    <a:pt x="17" y="56"/>
                  </a:cubicBezTo>
                  <a:cubicBezTo>
                    <a:pt x="27" y="60"/>
                    <a:pt x="40" y="64"/>
                    <a:pt x="40" y="64"/>
                  </a:cubicBezTo>
                  <a:cubicBezTo>
                    <a:pt x="48" y="72"/>
                    <a:pt x="48" y="72"/>
                    <a:pt x="48" y="72"/>
                  </a:cubicBezTo>
                  <a:cubicBezTo>
                    <a:pt x="70" y="73"/>
                    <a:pt x="70" y="73"/>
                    <a:pt x="70" y="73"/>
                  </a:cubicBezTo>
                  <a:cubicBezTo>
                    <a:pt x="92" y="85"/>
                    <a:pt x="92" y="85"/>
                    <a:pt x="92" y="85"/>
                  </a:cubicBezTo>
                  <a:cubicBezTo>
                    <a:pt x="92" y="85"/>
                    <a:pt x="110" y="90"/>
                    <a:pt x="109" y="95"/>
                  </a:cubicBezTo>
                  <a:cubicBezTo>
                    <a:pt x="108" y="100"/>
                    <a:pt x="103" y="114"/>
                    <a:pt x="103" y="114"/>
                  </a:cubicBezTo>
                  <a:cubicBezTo>
                    <a:pt x="111" y="119"/>
                    <a:pt x="111" y="119"/>
                    <a:pt x="111" y="119"/>
                  </a:cubicBezTo>
                  <a:cubicBezTo>
                    <a:pt x="107" y="132"/>
                    <a:pt x="107" y="132"/>
                    <a:pt x="107" y="132"/>
                  </a:cubicBezTo>
                  <a:cubicBezTo>
                    <a:pt x="124" y="142"/>
                    <a:pt x="124" y="142"/>
                    <a:pt x="124" y="142"/>
                  </a:cubicBezTo>
                  <a:cubicBezTo>
                    <a:pt x="124" y="142"/>
                    <a:pt x="111" y="157"/>
                    <a:pt x="113" y="165"/>
                  </a:cubicBezTo>
                  <a:cubicBezTo>
                    <a:pt x="115" y="173"/>
                    <a:pt x="130" y="183"/>
                    <a:pt x="130" y="183"/>
                  </a:cubicBezTo>
                  <a:cubicBezTo>
                    <a:pt x="138" y="204"/>
                    <a:pt x="138" y="204"/>
                    <a:pt x="138" y="204"/>
                  </a:cubicBezTo>
                  <a:cubicBezTo>
                    <a:pt x="148" y="198"/>
                    <a:pt x="148" y="198"/>
                    <a:pt x="148" y="198"/>
                  </a:cubicBezTo>
                  <a:cubicBezTo>
                    <a:pt x="148" y="198"/>
                    <a:pt x="177" y="205"/>
                    <a:pt x="179" y="217"/>
                  </a:cubicBezTo>
                  <a:cubicBezTo>
                    <a:pt x="181" y="229"/>
                    <a:pt x="182" y="239"/>
                    <a:pt x="182" y="239"/>
                  </a:cubicBezTo>
                  <a:cubicBezTo>
                    <a:pt x="182" y="239"/>
                    <a:pt x="170" y="233"/>
                    <a:pt x="167" y="234"/>
                  </a:cubicBezTo>
                  <a:cubicBezTo>
                    <a:pt x="164" y="235"/>
                    <a:pt x="142" y="260"/>
                    <a:pt x="142" y="260"/>
                  </a:cubicBezTo>
                  <a:cubicBezTo>
                    <a:pt x="119" y="283"/>
                    <a:pt x="119" y="283"/>
                    <a:pt x="119" y="283"/>
                  </a:cubicBezTo>
                  <a:cubicBezTo>
                    <a:pt x="96" y="288"/>
                    <a:pt x="96" y="288"/>
                    <a:pt x="96" y="288"/>
                  </a:cubicBezTo>
                  <a:cubicBezTo>
                    <a:pt x="96" y="288"/>
                    <a:pt x="81" y="300"/>
                    <a:pt x="81" y="309"/>
                  </a:cubicBezTo>
                  <a:cubicBezTo>
                    <a:pt x="81" y="318"/>
                    <a:pt x="61" y="318"/>
                    <a:pt x="61" y="318"/>
                  </a:cubicBezTo>
                  <a:cubicBezTo>
                    <a:pt x="45" y="336"/>
                    <a:pt x="45" y="336"/>
                    <a:pt x="45" y="336"/>
                  </a:cubicBezTo>
                  <a:cubicBezTo>
                    <a:pt x="45" y="336"/>
                    <a:pt x="41" y="348"/>
                    <a:pt x="43" y="352"/>
                  </a:cubicBezTo>
                  <a:cubicBezTo>
                    <a:pt x="45" y="356"/>
                    <a:pt x="49" y="364"/>
                    <a:pt x="49" y="364"/>
                  </a:cubicBezTo>
                  <a:cubicBezTo>
                    <a:pt x="47" y="380"/>
                    <a:pt x="47" y="380"/>
                    <a:pt x="47" y="380"/>
                  </a:cubicBezTo>
                  <a:cubicBezTo>
                    <a:pt x="62" y="393"/>
                    <a:pt x="62" y="393"/>
                    <a:pt x="62" y="393"/>
                  </a:cubicBezTo>
                  <a:cubicBezTo>
                    <a:pt x="62" y="393"/>
                    <a:pt x="52" y="425"/>
                    <a:pt x="56" y="434"/>
                  </a:cubicBezTo>
                  <a:cubicBezTo>
                    <a:pt x="60" y="443"/>
                    <a:pt x="71" y="452"/>
                    <a:pt x="71" y="452"/>
                  </a:cubicBezTo>
                  <a:cubicBezTo>
                    <a:pt x="86" y="463"/>
                    <a:pt x="86" y="463"/>
                    <a:pt x="86" y="463"/>
                  </a:cubicBezTo>
                  <a:cubicBezTo>
                    <a:pt x="114" y="460"/>
                    <a:pt x="114" y="460"/>
                    <a:pt x="114" y="460"/>
                  </a:cubicBezTo>
                  <a:cubicBezTo>
                    <a:pt x="114" y="460"/>
                    <a:pt x="105" y="476"/>
                    <a:pt x="125" y="478"/>
                  </a:cubicBezTo>
                  <a:cubicBezTo>
                    <a:pt x="145" y="480"/>
                    <a:pt x="180" y="475"/>
                    <a:pt x="180" y="475"/>
                  </a:cubicBezTo>
                  <a:cubicBezTo>
                    <a:pt x="199" y="465"/>
                    <a:pt x="199" y="465"/>
                    <a:pt x="199" y="465"/>
                  </a:cubicBezTo>
                  <a:cubicBezTo>
                    <a:pt x="222" y="465"/>
                    <a:pt x="222" y="465"/>
                    <a:pt x="222" y="465"/>
                  </a:cubicBezTo>
                  <a:cubicBezTo>
                    <a:pt x="255" y="448"/>
                    <a:pt x="255" y="448"/>
                    <a:pt x="255" y="448"/>
                  </a:cubicBezTo>
                  <a:cubicBezTo>
                    <a:pt x="304" y="451"/>
                    <a:pt x="304" y="451"/>
                    <a:pt x="304" y="451"/>
                  </a:cubicBezTo>
                  <a:cubicBezTo>
                    <a:pt x="309" y="448"/>
                    <a:pt x="309" y="448"/>
                    <a:pt x="309" y="448"/>
                  </a:cubicBezTo>
                  <a:cubicBezTo>
                    <a:pt x="305" y="441"/>
                    <a:pt x="305" y="441"/>
                    <a:pt x="305" y="441"/>
                  </a:cubicBezTo>
                  <a:cubicBezTo>
                    <a:pt x="305" y="441"/>
                    <a:pt x="346" y="417"/>
                    <a:pt x="350" y="412"/>
                  </a:cubicBezTo>
                  <a:cubicBezTo>
                    <a:pt x="354" y="407"/>
                    <a:pt x="382" y="381"/>
                    <a:pt x="382" y="381"/>
                  </a:cubicBezTo>
                  <a:cubicBezTo>
                    <a:pt x="382" y="381"/>
                    <a:pt x="403" y="369"/>
                    <a:pt x="407" y="362"/>
                  </a:cubicBezTo>
                  <a:cubicBezTo>
                    <a:pt x="411" y="355"/>
                    <a:pt x="420" y="348"/>
                    <a:pt x="421" y="340"/>
                  </a:cubicBezTo>
                  <a:cubicBezTo>
                    <a:pt x="422" y="332"/>
                    <a:pt x="399" y="313"/>
                    <a:pt x="399" y="313"/>
                  </a:cubicBezTo>
                  <a:cubicBezTo>
                    <a:pt x="360" y="295"/>
                    <a:pt x="360" y="295"/>
                    <a:pt x="360" y="295"/>
                  </a:cubicBezTo>
                  <a:cubicBezTo>
                    <a:pt x="360" y="295"/>
                    <a:pt x="381" y="281"/>
                    <a:pt x="380" y="277"/>
                  </a:cubicBezTo>
                  <a:cubicBezTo>
                    <a:pt x="379" y="273"/>
                    <a:pt x="368" y="265"/>
                    <a:pt x="368" y="265"/>
                  </a:cubicBezTo>
                  <a:cubicBezTo>
                    <a:pt x="353" y="262"/>
                    <a:pt x="353" y="262"/>
                    <a:pt x="353" y="262"/>
                  </a:cubicBezTo>
                  <a:cubicBezTo>
                    <a:pt x="353" y="262"/>
                    <a:pt x="360" y="251"/>
                    <a:pt x="359" y="247"/>
                  </a:cubicBezTo>
                  <a:cubicBezTo>
                    <a:pt x="358" y="243"/>
                    <a:pt x="339" y="238"/>
                    <a:pt x="339" y="238"/>
                  </a:cubicBezTo>
                  <a:cubicBezTo>
                    <a:pt x="339" y="228"/>
                    <a:pt x="339" y="228"/>
                    <a:pt x="339" y="228"/>
                  </a:cubicBezTo>
                  <a:cubicBezTo>
                    <a:pt x="332" y="222"/>
                    <a:pt x="332" y="222"/>
                    <a:pt x="332" y="222"/>
                  </a:cubicBezTo>
                  <a:cubicBezTo>
                    <a:pt x="337" y="202"/>
                    <a:pt x="337" y="202"/>
                    <a:pt x="337" y="202"/>
                  </a:cubicBezTo>
                  <a:cubicBezTo>
                    <a:pt x="337" y="202"/>
                    <a:pt x="365" y="208"/>
                    <a:pt x="359" y="198"/>
                  </a:cubicBezTo>
                  <a:cubicBezTo>
                    <a:pt x="353" y="188"/>
                    <a:pt x="312" y="156"/>
                    <a:pt x="312" y="156"/>
                  </a:cubicBezTo>
                  <a:cubicBezTo>
                    <a:pt x="299" y="145"/>
                    <a:pt x="299" y="145"/>
                    <a:pt x="299" y="145"/>
                  </a:cubicBezTo>
                  <a:cubicBezTo>
                    <a:pt x="299" y="145"/>
                    <a:pt x="316" y="138"/>
                    <a:pt x="316" y="133"/>
                  </a:cubicBezTo>
                  <a:cubicBezTo>
                    <a:pt x="316" y="128"/>
                    <a:pt x="340" y="126"/>
                    <a:pt x="331" y="116"/>
                  </a:cubicBezTo>
                  <a:cubicBezTo>
                    <a:pt x="322" y="106"/>
                    <a:pt x="316" y="103"/>
                    <a:pt x="312" y="98"/>
                  </a:cubicBezTo>
                  <a:cubicBezTo>
                    <a:pt x="308" y="93"/>
                    <a:pt x="303" y="86"/>
                    <a:pt x="297" y="86"/>
                  </a:cubicBezTo>
                  <a:cubicBezTo>
                    <a:pt x="291" y="86"/>
                    <a:pt x="277" y="94"/>
                    <a:pt x="275" y="82"/>
                  </a:cubicBezTo>
                  <a:cubicBezTo>
                    <a:pt x="273" y="70"/>
                    <a:pt x="270" y="67"/>
                    <a:pt x="270" y="67"/>
                  </a:cubicBezTo>
                  <a:cubicBezTo>
                    <a:pt x="270" y="67"/>
                    <a:pt x="283" y="65"/>
                    <a:pt x="282" y="62"/>
                  </a:cubicBezTo>
                  <a:cubicBezTo>
                    <a:pt x="281" y="59"/>
                    <a:pt x="277" y="53"/>
                    <a:pt x="277" y="53"/>
                  </a:cubicBezTo>
                  <a:cubicBezTo>
                    <a:pt x="280" y="36"/>
                    <a:pt x="280" y="36"/>
                    <a:pt x="280" y="36"/>
                  </a:cubicBezTo>
                  <a:cubicBezTo>
                    <a:pt x="280" y="36"/>
                    <a:pt x="293" y="48"/>
                    <a:pt x="289" y="31"/>
                  </a:cubicBezTo>
                  <a:cubicBezTo>
                    <a:pt x="285" y="14"/>
                    <a:pt x="271" y="13"/>
                    <a:pt x="271" y="13"/>
                  </a:cubicBezTo>
                  <a:cubicBezTo>
                    <a:pt x="248" y="8"/>
                    <a:pt x="248" y="8"/>
                    <a:pt x="248" y="8"/>
                  </a:cubicBezTo>
                  <a:cubicBezTo>
                    <a:pt x="248" y="8"/>
                    <a:pt x="255" y="2"/>
                    <a:pt x="240" y="1"/>
                  </a:cubicBezTo>
                  <a:cubicBezTo>
                    <a:pt x="225" y="0"/>
                    <a:pt x="214" y="7"/>
                    <a:pt x="214" y="7"/>
                  </a:cubicBezTo>
                  <a:cubicBezTo>
                    <a:pt x="214" y="7"/>
                    <a:pt x="203" y="6"/>
                    <a:pt x="198" y="5"/>
                  </a:cubicBezTo>
                  <a:cubicBezTo>
                    <a:pt x="193" y="4"/>
                    <a:pt x="176" y="13"/>
                    <a:pt x="176" y="13"/>
                  </a:cubicBezTo>
                  <a:cubicBezTo>
                    <a:pt x="176" y="13"/>
                    <a:pt x="172" y="26"/>
                    <a:pt x="173" y="30"/>
                  </a:cubicBezTo>
                  <a:cubicBezTo>
                    <a:pt x="174" y="34"/>
                    <a:pt x="173" y="50"/>
                    <a:pt x="173" y="50"/>
                  </a:cubicBezTo>
                  <a:cubicBezTo>
                    <a:pt x="173" y="50"/>
                    <a:pt x="164" y="45"/>
                    <a:pt x="157" y="50"/>
                  </a:cubicBezTo>
                  <a:cubicBezTo>
                    <a:pt x="150" y="55"/>
                    <a:pt x="156" y="65"/>
                    <a:pt x="148" y="65"/>
                  </a:cubicBezTo>
                  <a:cubicBezTo>
                    <a:pt x="140" y="65"/>
                    <a:pt x="128" y="57"/>
                    <a:pt x="123" y="56"/>
                  </a:cubicBezTo>
                  <a:cubicBezTo>
                    <a:pt x="118" y="55"/>
                    <a:pt x="107" y="59"/>
                    <a:pt x="107" y="59"/>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6" name="Freeform 35">
              <a:extLst>
                <a:ext uri="{FF2B5EF4-FFF2-40B4-BE49-F238E27FC236}">
                  <a16:creationId xmlns:a16="http://schemas.microsoft.com/office/drawing/2014/main" id="{750C6016-222A-4A92-86D5-64E225168F56}"/>
                </a:ext>
              </a:extLst>
            </p:cNvPr>
            <p:cNvSpPr>
              <a:spLocks/>
            </p:cNvSpPr>
            <p:nvPr/>
          </p:nvSpPr>
          <p:spPr bwMode="auto">
            <a:xfrm>
              <a:off x="5179045" y="2473516"/>
              <a:ext cx="289536" cy="116619"/>
            </a:xfrm>
            <a:custGeom>
              <a:avLst/>
              <a:gdLst>
                <a:gd name="T0" fmla="*/ 111 w 122"/>
                <a:gd name="T1" fmla="*/ 7 h 49"/>
                <a:gd name="T2" fmla="*/ 79 w 122"/>
                <a:gd name="T3" fmla="*/ 11 h 49"/>
                <a:gd name="T4" fmla="*/ 77 w 122"/>
                <a:gd name="T5" fmla="*/ 5 h 49"/>
                <a:gd name="T6" fmla="*/ 69 w 122"/>
                <a:gd name="T7" fmla="*/ 6 h 49"/>
                <a:gd name="T8" fmla="*/ 66 w 122"/>
                <a:gd name="T9" fmla="*/ 0 h 49"/>
                <a:gd name="T10" fmla="*/ 61 w 122"/>
                <a:gd name="T11" fmla="*/ 0 h 49"/>
                <a:gd name="T12" fmla="*/ 53 w 122"/>
                <a:gd name="T13" fmla="*/ 14 h 49"/>
                <a:gd name="T14" fmla="*/ 6 w 122"/>
                <a:gd name="T15" fmla="*/ 16 h 49"/>
                <a:gd name="T16" fmla="*/ 13 w 122"/>
                <a:gd name="T17" fmla="*/ 32 h 49"/>
                <a:gd name="T18" fmla="*/ 8 w 122"/>
                <a:gd name="T19" fmla="*/ 41 h 49"/>
                <a:gd name="T20" fmla="*/ 8 w 122"/>
                <a:gd name="T21" fmla="*/ 40 h 49"/>
                <a:gd name="T22" fmla="*/ 13 w 122"/>
                <a:gd name="T23" fmla="*/ 45 h 49"/>
                <a:gd name="T24" fmla="*/ 34 w 122"/>
                <a:gd name="T25" fmla="*/ 42 h 49"/>
                <a:gd name="T26" fmla="*/ 51 w 122"/>
                <a:gd name="T27" fmla="*/ 49 h 49"/>
                <a:gd name="T28" fmla="*/ 90 w 122"/>
                <a:gd name="T29" fmla="*/ 48 h 49"/>
                <a:gd name="T30" fmla="*/ 113 w 122"/>
                <a:gd name="T31" fmla="*/ 49 h 49"/>
                <a:gd name="T32" fmla="*/ 117 w 122"/>
                <a:gd name="T33" fmla="*/ 44 h 49"/>
                <a:gd name="T34" fmla="*/ 112 w 122"/>
                <a:gd name="T35" fmla="*/ 34 h 49"/>
                <a:gd name="T36" fmla="*/ 121 w 122"/>
                <a:gd name="T37" fmla="*/ 22 h 49"/>
                <a:gd name="T38" fmla="*/ 111 w 122"/>
                <a:gd name="T39" fmla="*/ 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2" h="49">
                  <a:moveTo>
                    <a:pt x="111" y="7"/>
                  </a:moveTo>
                  <a:cubicBezTo>
                    <a:pt x="103" y="8"/>
                    <a:pt x="79" y="11"/>
                    <a:pt x="79" y="11"/>
                  </a:cubicBezTo>
                  <a:cubicBezTo>
                    <a:pt x="77" y="5"/>
                    <a:pt x="77" y="5"/>
                    <a:pt x="77" y="5"/>
                  </a:cubicBezTo>
                  <a:cubicBezTo>
                    <a:pt x="69" y="6"/>
                    <a:pt x="69" y="6"/>
                    <a:pt x="69" y="6"/>
                  </a:cubicBezTo>
                  <a:cubicBezTo>
                    <a:pt x="66" y="0"/>
                    <a:pt x="66" y="0"/>
                    <a:pt x="66" y="0"/>
                  </a:cubicBezTo>
                  <a:cubicBezTo>
                    <a:pt x="61" y="0"/>
                    <a:pt x="61" y="0"/>
                    <a:pt x="61" y="0"/>
                  </a:cubicBezTo>
                  <a:cubicBezTo>
                    <a:pt x="61" y="5"/>
                    <a:pt x="53" y="14"/>
                    <a:pt x="53" y="14"/>
                  </a:cubicBezTo>
                  <a:cubicBezTo>
                    <a:pt x="53" y="14"/>
                    <a:pt x="12" y="9"/>
                    <a:pt x="6" y="16"/>
                  </a:cubicBezTo>
                  <a:cubicBezTo>
                    <a:pt x="0" y="23"/>
                    <a:pt x="13" y="32"/>
                    <a:pt x="13" y="32"/>
                  </a:cubicBezTo>
                  <a:cubicBezTo>
                    <a:pt x="8" y="41"/>
                    <a:pt x="8" y="41"/>
                    <a:pt x="8" y="41"/>
                  </a:cubicBezTo>
                  <a:cubicBezTo>
                    <a:pt x="8" y="40"/>
                    <a:pt x="8" y="40"/>
                    <a:pt x="8" y="40"/>
                  </a:cubicBezTo>
                  <a:cubicBezTo>
                    <a:pt x="13" y="45"/>
                    <a:pt x="13" y="45"/>
                    <a:pt x="13" y="45"/>
                  </a:cubicBezTo>
                  <a:cubicBezTo>
                    <a:pt x="13" y="45"/>
                    <a:pt x="25" y="40"/>
                    <a:pt x="34" y="42"/>
                  </a:cubicBezTo>
                  <a:cubicBezTo>
                    <a:pt x="43" y="44"/>
                    <a:pt x="51" y="49"/>
                    <a:pt x="51" y="49"/>
                  </a:cubicBezTo>
                  <a:cubicBezTo>
                    <a:pt x="51" y="49"/>
                    <a:pt x="82" y="47"/>
                    <a:pt x="90" y="48"/>
                  </a:cubicBezTo>
                  <a:cubicBezTo>
                    <a:pt x="98" y="49"/>
                    <a:pt x="113" y="49"/>
                    <a:pt x="113" y="49"/>
                  </a:cubicBezTo>
                  <a:cubicBezTo>
                    <a:pt x="113" y="49"/>
                    <a:pt x="109" y="43"/>
                    <a:pt x="117" y="44"/>
                  </a:cubicBezTo>
                  <a:cubicBezTo>
                    <a:pt x="112" y="34"/>
                    <a:pt x="112" y="34"/>
                    <a:pt x="112" y="34"/>
                  </a:cubicBezTo>
                  <a:cubicBezTo>
                    <a:pt x="112" y="34"/>
                    <a:pt x="120" y="27"/>
                    <a:pt x="121" y="22"/>
                  </a:cubicBezTo>
                  <a:cubicBezTo>
                    <a:pt x="122" y="17"/>
                    <a:pt x="119" y="6"/>
                    <a:pt x="111" y="7"/>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8" name="Freeform 37">
              <a:extLst>
                <a:ext uri="{FF2B5EF4-FFF2-40B4-BE49-F238E27FC236}">
                  <a16:creationId xmlns:a16="http://schemas.microsoft.com/office/drawing/2014/main" id="{D784121C-5524-47E3-A835-499ECB2DF535}"/>
                </a:ext>
              </a:extLst>
            </p:cNvPr>
            <p:cNvSpPr>
              <a:spLocks noEditPoints="1"/>
            </p:cNvSpPr>
            <p:nvPr/>
          </p:nvSpPr>
          <p:spPr bwMode="auto">
            <a:xfrm>
              <a:off x="3824863" y="661907"/>
              <a:ext cx="2149400" cy="1490908"/>
            </a:xfrm>
            <a:custGeom>
              <a:avLst/>
              <a:gdLst>
                <a:gd name="T0" fmla="*/ 425 w 905"/>
                <a:gd name="T1" fmla="*/ 95 h 628"/>
                <a:gd name="T2" fmla="*/ 363 w 905"/>
                <a:gd name="T3" fmla="*/ 100 h 628"/>
                <a:gd name="T4" fmla="*/ 631 w 905"/>
                <a:gd name="T5" fmla="*/ 20 h 628"/>
                <a:gd name="T6" fmla="*/ 315 w 905"/>
                <a:gd name="T7" fmla="*/ 138 h 628"/>
                <a:gd name="T8" fmla="*/ 856 w 905"/>
                <a:gd name="T9" fmla="*/ 62 h 628"/>
                <a:gd name="T10" fmla="*/ 827 w 905"/>
                <a:gd name="T11" fmla="*/ 13 h 628"/>
                <a:gd name="T12" fmla="*/ 746 w 905"/>
                <a:gd name="T13" fmla="*/ 11 h 628"/>
                <a:gd name="T14" fmla="*/ 683 w 905"/>
                <a:gd name="T15" fmla="*/ 11 h 628"/>
                <a:gd name="T16" fmla="*/ 585 w 905"/>
                <a:gd name="T17" fmla="*/ 46 h 628"/>
                <a:gd name="T18" fmla="*/ 524 w 905"/>
                <a:gd name="T19" fmla="*/ 83 h 628"/>
                <a:gd name="T20" fmla="*/ 499 w 905"/>
                <a:gd name="T21" fmla="*/ 85 h 628"/>
                <a:gd name="T22" fmla="*/ 468 w 905"/>
                <a:gd name="T23" fmla="*/ 81 h 628"/>
                <a:gd name="T24" fmla="*/ 418 w 905"/>
                <a:gd name="T25" fmla="*/ 110 h 628"/>
                <a:gd name="T26" fmla="*/ 399 w 905"/>
                <a:gd name="T27" fmla="*/ 123 h 628"/>
                <a:gd name="T28" fmla="*/ 383 w 905"/>
                <a:gd name="T29" fmla="*/ 143 h 628"/>
                <a:gd name="T30" fmla="*/ 350 w 905"/>
                <a:gd name="T31" fmla="*/ 164 h 628"/>
                <a:gd name="T32" fmla="*/ 313 w 905"/>
                <a:gd name="T33" fmla="*/ 191 h 628"/>
                <a:gd name="T34" fmla="*/ 309 w 905"/>
                <a:gd name="T35" fmla="*/ 234 h 628"/>
                <a:gd name="T36" fmla="*/ 257 w 905"/>
                <a:gd name="T37" fmla="*/ 268 h 628"/>
                <a:gd name="T38" fmla="*/ 237 w 905"/>
                <a:gd name="T39" fmla="*/ 307 h 628"/>
                <a:gd name="T40" fmla="*/ 187 w 905"/>
                <a:gd name="T41" fmla="*/ 326 h 628"/>
                <a:gd name="T42" fmla="*/ 144 w 905"/>
                <a:gd name="T43" fmla="*/ 345 h 628"/>
                <a:gd name="T44" fmla="*/ 108 w 905"/>
                <a:gd name="T45" fmla="*/ 368 h 628"/>
                <a:gd name="T46" fmla="*/ 88 w 905"/>
                <a:gd name="T47" fmla="*/ 390 h 628"/>
                <a:gd name="T48" fmla="*/ 66 w 905"/>
                <a:gd name="T49" fmla="*/ 415 h 628"/>
                <a:gd name="T50" fmla="*/ 20 w 905"/>
                <a:gd name="T51" fmla="*/ 422 h 628"/>
                <a:gd name="T52" fmla="*/ 3 w 905"/>
                <a:gd name="T53" fmla="*/ 445 h 628"/>
                <a:gd name="T54" fmla="*/ 52 w 905"/>
                <a:gd name="T55" fmla="*/ 472 h 628"/>
                <a:gd name="T56" fmla="*/ 62 w 905"/>
                <a:gd name="T57" fmla="*/ 475 h 628"/>
                <a:gd name="T58" fmla="*/ 20 w 905"/>
                <a:gd name="T59" fmla="*/ 492 h 628"/>
                <a:gd name="T60" fmla="*/ 59 w 905"/>
                <a:gd name="T61" fmla="*/ 516 h 628"/>
                <a:gd name="T62" fmla="*/ 14 w 905"/>
                <a:gd name="T63" fmla="*/ 544 h 628"/>
                <a:gd name="T64" fmla="*/ 41 w 905"/>
                <a:gd name="T65" fmla="*/ 573 h 628"/>
                <a:gd name="T66" fmla="*/ 55 w 905"/>
                <a:gd name="T67" fmla="*/ 621 h 628"/>
                <a:gd name="T68" fmla="*/ 193 w 905"/>
                <a:gd name="T69" fmla="*/ 568 h 628"/>
                <a:gd name="T70" fmla="*/ 247 w 905"/>
                <a:gd name="T71" fmla="*/ 580 h 628"/>
                <a:gd name="T72" fmla="*/ 269 w 905"/>
                <a:gd name="T73" fmla="*/ 529 h 628"/>
                <a:gd name="T74" fmla="*/ 268 w 905"/>
                <a:gd name="T75" fmla="*/ 475 h 628"/>
                <a:gd name="T76" fmla="*/ 272 w 905"/>
                <a:gd name="T77" fmla="*/ 413 h 628"/>
                <a:gd name="T78" fmla="*/ 261 w 905"/>
                <a:gd name="T79" fmla="*/ 358 h 628"/>
                <a:gd name="T80" fmla="*/ 315 w 905"/>
                <a:gd name="T81" fmla="*/ 302 h 628"/>
                <a:gd name="T82" fmla="*/ 349 w 905"/>
                <a:gd name="T83" fmla="*/ 226 h 628"/>
                <a:gd name="T84" fmla="*/ 394 w 905"/>
                <a:gd name="T85" fmla="*/ 197 h 628"/>
                <a:gd name="T86" fmla="*/ 423 w 905"/>
                <a:gd name="T87" fmla="*/ 147 h 628"/>
                <a:gd name="T88" fmla="*/ 495 w 905"/>
                <a:gd name="T89" fmla="*/ 119 h 628"/>
                <a:gd name="T90" fmla="*/ 538 w 905"/>
                <a:gd name="T91" fmla="*/ 112 h 628"/>
                <a:gd name="T92" fmla="*/ 568 w 905"/>
                <a:gd name="T93" fmla="*/ 96 h 628"/>
                <a:gd name="T94" fmla="*/ 618 w 905"/>
                <a:gd name="T95" fmla="*/ 110 h 628"/>
                <a:gd name="T96" fmla="*/ 702 w 905"/>
                <a:gd name="T97" fmla="*/ 116 h 628"/>
                <a:gd name="T98" fmla="*/ 752 w 905"/>
                <a:gd name="T99" fmla="*/ 56 h 628"/>
                <a:gd name="T100" fmla="*/ 843 w 905"/>
                <a:gd name="T101" fmla="*/ 82 h 628"/>
                <a:gd name="T102" fmla="*/ 870 w 905"/>
                <a:gd name="T103" fmla="*/ 82 h 628"/>
                <a:gd name="T104" fmla="*/ 372 w 905"/>
                <a:gd name="T105" fmla="*/ 107 h 628"/>
                <a:gd name="T106" fmla="*/ 372 w 905"/>
                <a:gd name="T107" fmla="*/ 107 h 628"/>
                <a:gd name="T108" fmla="*/ 403 w 905"/>
                <a:gd name="T109" fmla="*/ 116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5" h="628">
                  <a:moveTo>
                    <a:pt x="425" y="95"/>
                  </a:moveTo>
                  <a:cubicBezTo>
                    <a:pt x="441" y="92"/>
                    <a:pt x="440" y="82"/>
                    <a:pt x="447" y="82"/>
                  </a:cubicBezTo>
                  <a:cubicBezTo>
                    <a:pt x="453" y="82"/>
                    <a:pt x="447" y="71"/>
                    <a:pt x="447" y="71"/>
                  </a:cubicBezTo>
                  <a:cubicBezTo>
                    <a:pt x="417" y="85"/>
                    <a:pt x="417" y="85"/>
                    <a:pt x="417" y="85"/>
                  </a:cubicBezTo>
                  <a:lnTo>
                    <a:pt x="425" y="95"/>
                  </a:lnTo>
                  <a:close/>
                  <a:moveTo>
                    <a:pt x="513" y="55"/>
                  </a:moveTo>
                  <a:cubicBezTo>
                    <a:pt x="522" y="52"/>
                    <a:pt x="535" y="42"/>
                    <a:pt x="517" y="41"/>
                  </a:cubicBezTo>
                  <a:cubicBezTo>
                    <a:pt x="500" y="40"/>
                    <a:pt x="513" y="55"/>
                    <a:pt x="513" y="55"/>
                  </a:cubicBezTo>
                  <a:close/>
                  <a:moveTo>
                    <a:pt x="392" y="88"/>
                  </a:moveTo>
                  <a:cubicBezTo>
                    <a:pt x="373" y="83"/>
                    <a:pt x="363" y="100"/>
                    <a:pt x="363" y="100"/>
                  </a:cubicBezTo>
                  <a:cubicBezTo>
                    <a:pt x="379" y="104"/>
                    <a:pt x="379" y="104"/>
                    <a:pt x="379" y="104"/>
                  </a:cubicBezTo>
                  <a:cubicBezTo>
                    <a:pt x="385" y="100"/>
                    <a:pt x="411" y="92"/>
                    <a:pt x="392" y="88"/>
                  </a:cubicBezTo>
                  <a:close/>
                  <a:moveTo>
                    <a:pt x="610" y="32"/>
                  </a:moveTo>
                  <a:cubicBezTo>
                    <a:pt x="623" y="35"/>
                    <a:pt x="623" y="35"/>
                    <a:pt x="623" y="35"/>
                  </a:cubicBezTo>
                  <a:cubicBezTo>
                    <a:pt x="631" y="26"/>
                    <a:pt x="631" y="20"/>
                    <a:pt x="631" y="20"/>
                  </a:cubicBezTo>
                  <a:cubicBezTo>
                    <a:pt x="611" y="22"/>
                    <a:pt x="611" y="22"/>
                    <a:pt x="611" y="22"/>
                  </a:cubicBezTo>
                  <a:lnTo>
                    <a:pt x="610" y="32"/>
                  </a:lnTo>
                  <a:close/>
                  <a:moveTo>
                    <a:pt x="320" y="127"/>
                  </a:moveTo>
                  <a:cubicBezTo>
                    <a:pt x="304" y="127"/>
                    <a:pt x="279" y="146"/>
                    <a:pt x="285" y="150"/>
                  </a:cubicBezTo>
                  <a:cubicBezTo>
                    <a:pt x="290" y="153"/>
                    <a:pt x="315" y="138"/>
                    <a:pt x="315" y="138"/>
                  </a:cubicBezTo>
                  <a:cubicBezTo>
                    <a:pt x="338" y="134"/>
                    <a:pt x="338" y="134"/>
                    <a:pt x="338" y="134"/>
                  </a:cubicBezTo>
                  <a:cubicBezTo>
                    <a:pt x="335" y="134"/>
                    <a:pt x="336" y="127"/>
                    <a:pt x="320" y="127"/>
                  </a:cubicBezTo>
                  <a:close/>
                  <a:moveTo>
                    <a:pt x="901" y="66"/>
                  </a:moveTo>
                  <a:cubicBezTo>
                    <a:pt x="884" y="69"/>
                    <a:pt x="884" y="69"/>
                    <a:pt x="884" y="69"/>
                  </a:cubicBezTo>
                  <a:cubicBezTo>
                    <a:pt x="856" y="62"/>
                    <a:pt x="856" y="62"/>
                    <a:pt x="856" y="62"/>
                  </a:cubicBezTo>
                  <a:cubicBezTo>
                    <a:pt x="836" y="51"/>
                    <a:pt x="836" y="51"/>
                    <a:pt x="836" y="51"/>
                  </a:cubicBezTo>
                  <a:cubicBezTo>
                    <a:pt x="836" y="51"/>
                    <a:pt x="862" y="55"/>
                    <a:pt x="873" y="50"/>
                  </a:cubicBezTo>
                  <a:cubicBezTo>
                    <a:pt x="884" y="45"/>
                    <a:pt x="902" y="39"/>
                    <a:pt x="902" y="39"/>
                  </a:cubicBezTo>
                  <a:cubicBezTo>
                    <a:pt x="902" y="39"/>
                    <a:pt x="876" y="24"/>
                    <a:pt x="862" y="24"/>
                  </a:cubicBezTo>
                  <a:cubicBezTo>
                    <a:pt x="848" y="24"/>
                    <a:pt x="827" y="13"/>
                    <a:pt x="827" y="13"/>
                  </a:cubicBezTo>
                  <a:cubicBezTo>
                    <a:pt x="827" y="13"/>
                    <a:pt x="819" y="39"/>
                    <a:pt x="803" y="36"/>
                  </a:cubicBezTo>
                  <a:cubicBezTo>
                    <a:pt x="787" y="33"/>
                    <a:pt x="815" y="15"/>
                    <a:pt x="815" y="15"/>
                  </a:cubicBezTo>
                  <a:cubicBezTo>
                    <a:pt x="771" y="0"/>
                    <a:pt x="771" y="0"/>
                    <a:pt x="771" y="0"/>
                  </a:cubicBezTo>
                  <a:cubicBezTo>
                    <a:pt x="771" y="0"/>
                    <a:pt x="763" y="49"/>
                    <a:pt x="749" y="43"/>
                  </a:cubicBezTo>
                  <a:cubicBezTo>
                    <a:pt x="735" y="37"/>
                    <a:pt x="746" y="11"/>
                    <a:pt x="746" y="11"/>
                  </a:cubicBezTo>
                  <a:cubicBezTo>
                    <a:pt x="746" y="11"/>
                    <a:pt x="708" y="55"/>
                    <a:pt x="698" y="48"/>
                  </a:cubicBezTo>
                  <a:cubicBezTo>
                    <a:pt x="688" y="41"/>
                    <a:pt x="734" y="5"/>
                    <a:pt x="734" y="5"/>
                  </a:cubicBezTo>
                  <a:cubicBezTo>
                    <a:pt x="711" y="3"/>
                    <a:pt x="711" y="3"/>
                    <a:pt x="711" y="3"/>
                  </a:cubicBezTo>
                  <a:cubicBezTo>
                    <a:pt x="699" y="13"/>
                    <a:pt x="699" y="13"/>
                    <a:pt x="699" y="13"/>
                  </a:cubicBezTo>
                  <a:cubicBezTo>
                    <a:pt x="683" y="11"/>
                    <a:pt x="683" y="11"/>
                    <a:pt x="683" y="11"/>
                  </a:cubicBezTo>
                  <a:cubicBezTo>
                    <a:pt x="653" y="29"/>
                    <a:pt x="653" y="29"/>
                    <a:pt x="653" y="29"/>
                  </a:cubicBezTo>
                  <a:cubicBezTo>
                    <a:pt x="637" y="30"/>
                    <a:pt x="637" y="30"/>
                    <a:pt x="637" y="30"/>
                  </a:cubicBezTo>
                  <a:cubicBezTo>
                    <a:pt x="635" y="50"/>
                    <a:pt x="635" y="50"/>
                    <a:pt x="635" y="50"/>
                  </a:cubicBezTo>
                  <a:cubicBezTo>
                    <a:pt x="611" y="41"/>
                    <a:pt x="611" y="41"/>
                    <a:pt x="611" y="41"/>
                  </a:cubicBezTo>
                  <a:cubicBezTo>
                    <a:pt x="585" y="46"/>
                    <a:pt x="585" y="46"/>
                    <a:pt x="585" y="46"/>
                  </a:cubicBezTo>
                  <a:cubicBezTo>
                    <a:pt x="593" y="64"/>
                    <a:pt x="593" y="64"/>
                    <a:pt x="593" y="64"/>
                  </a:cubicBezTo>
                  <a:cubicBezTo>
                    <a:pt x="562" y="55"/>
                    <a:pt x="562" y="55"/>
                    <a:pt x="562" y="55"/>
                  </a:cubicBezTo>
                  <a:cubicBezTo>
                    <a:pt x="551" y="61"/>
                    <a:pt x="551" y="61"/>
                    <a:pt x="551" y="61"/>
                  </a:cubicBezTo>
                  <a:cubicBezTo>
                    <a:pt x="554" y="77"/>
                    <a:pt x="554" y="77"/>
                    <a:pt x="554" y="77"/>
                  </a:cubicBezTo>
                  <a:cubicBezTo>
                    <a:pt x="524" y="83"/>
                    <a:pt x="524" y="83"/>
                    <a:pt x="524" y="83"/>
                  </a:cubicBezTo>
                  <a:cubicBezTo>
                    <a:pt x="527" y="62"/>
                    <a:pt x="527" y="62"/>
                    <a:pt x="527" y="62"/>
                  </a:cubicBezTo>
                  <a:cubicBezTo>
                    <a:pt x="507" y="62"/>
                    <a:pt x="507" y="62"/>
                    <a:pt x="507" y="62"/>
                  </a:cubicBezTo>
                  <a:cubicBezTo>
                    <a:pt x="513" y="75"/>
                    <a:pt x="513" y="75"/>
                    <a:pt x="513" y="75"/>
                  </a:cubicBezTo>
                  <a:cubicBezTo>
                    <a:pt x="497" y="65"/>
                    <a:pt x="497" y="65"/>
                    <a:pt x="497" y="65"/>
                  </a:cubicBezTo>
                  <a:cubicBezTo>
                    <a:pt x="499" y="85"/>
                    <a:pt x="499" y="85"/>
                    <a:pt x="499" y="85"/>
                  </a:cubicBezTo>
                  <a:cubicBezTo>
                    <a:pt x="482" y="84"/>
                    <a:pt x="482" y="84"/>
                    <a:pt x="482" y="84"/>
                  </a:cubicBezTo>
                  <a:cubicBezTo>
                    <a:pt x="482" y="84"/>
                    <a:pt x="479" y="71"/>
                    <a:pt x="481" y="68"/>
                  </a:cubicBezTo>
                  <a:cubicBezTo>
                    <a:pt x="483" y="65"/>
                    <a:pt x="494" y="55"/>
                    <a:pt x="494" y="55"/>
                  </a:cubicBezTo>
                  <a:cubicBezTo>
                    <a:pt x="471" y="52"/>
                    <a:pt x="471" y="52"/>
                    <a:pt x="471" y="52"/>
                  </a:cubicBezTo>
                  <a:cubicBezTo>
                    <a:pt x="468" y="81"/>
                    <a:pt x="468" y="81"/>
                    <a:pt x="468" y="81"/>
                  </a:cubicBezTo>
                  <a:cubicBezTo>
                    <a:pt x="450" y="90"/>
                    <a:pt x="450" y="90"/>
                    <a:pt x="450" y="90"/>
                  </a:cubicBezTo>
                  <a:cubicBezTo>
                    <a:pt x="460" y="98"/>
                    <a:pt x="460" y="98"/>
                    <a:pt x="460" y="98"/>
                  </a:cubicBezTo>
                  <a:cubicBezTo>
                    <a:pt x="438" y="101"/>
                    <a:pt x="438" y="101"/>
                    <a:pt x="438" y="101"/>
                  </a:cubicBezTo>
                  <a:cubicBezTo>
                    <a:pt x="446" y="109"/>
                    <a:pt x="446" y="109"/>
                    <a:pt x="446" y="109"/>
                  </a:cubicBezTo>
                  <a:cubicBezTo>
                    <a:pt x="418" y="110"/>
                    <a:pt x="418" y="110"/>
                    <a:pt x="418" y="110"/>
                  </a:cubicBezTo>
                  <a:cubicBezTo>
                    <a:pt x="418" y="118"/>
                    <a:pt x="418" y="118"/>
                    <a:pt x="418" y="118"/>
                  </a:cubicBezTo>
                  <a:cubicBezTo>
                    <a:pt x="439" y="123"/>
                    <a:pt x="439" y="123"/>
                    <a:pt x="439" y="123"/>
                  </a:cubicBezTo>
                  <a:cubicBezTo>
                    <a:pt x="432" y="132"/>
                    <a:pt x="432" y="132"/>
                    <a:pt x="432" y="132"/>
                  </a:cubicBezTo>
                  <a:cubicBezTo>
                    <a:pt x="408" y="122"/>
                    <a:pt x="408" y="122"/>
                    <a:pt x="408" y="122"/>
                  </a:cubicBezTo>
                  <a:cubicBezTo>
                    <a:pt x="399" y="123"/>
                    <a:pt x="399" y="123"/>
                    <a:pt x="399" y="123"/>
                  </a:cubicBezTo>
                  <a:cubicBezTo>
                    <a:pt x="415" y="134"/>
                    <a:pt x="415" y="134"/>
                    <a:pt x="415" y="134"/>
                  </a:cubicBezTo>
                  <a:cubicBezTo>
                    <a:pt x="400" y="145"/>
                    <a:pt x="400" y="145"/>
                    <a:pt x="400" y="145"/>
                  </a:cubicBezTo>
                  <a:cubicBezTo>
                    <a:pt x="392" y="132"/>
                    <a:pt x="392" y="132"/>
                    <a:pt x="392" y="132"/>
                  </a:cubicBezTo>
                  <a:cubicBezTo>
                    <a:pt x="382" y="138"/>
                    <a:pt x="382" y="138"/>
                    <a:pt x="382" y="138"/>
                  </a:cubicBezTo>
                  <a:cubicBezTo>
                    <a:pt x="383" y="143"/>
                    <a:pt x="383" y="143"/>
                    <a:pt x="383" y="143"/>
                  </a:cubicBezTo>
                  <a:cubicBezTo>
                    <a:pt x="360" y="144"/>
                    <a:pt x="360" y="144"/>
                    <a:pt x="360" y="144"/>
                  </a:cubicBezTo>
                  <a:cubicBezTo>
                    <a:pt x="357" y="153"/>
                    <a:pt x="357" y="153"/>
                    <a:pt x="357" y="153"/>
                  </a:cubicBezTo>
                  <a:cubicBezTo>
                    <a:pt x="374" y="162"/>
                    <a:pt x="374" y="162"/>
                    <a:pt x="374" y="162"/>
                  </a:cubicBezTo>
                  <a:cubicBezTo>
                    <a:pt x="372" y="172"/>
                    <a:pt x="372" y="172"/>
                    <a:pt x="372" y="172"/>
                  </a:cubicBezTo>
                  <a:cubicBezTo>
                    <a:pt x="350" y="164"/>
                    <a:pt x="350" y="164"/>
                    <a:pt x="350" y="164"/>
                  </a:cubicBezTo>
                  <a:cubicBezTo>
                    <a:pt x="347" y="174"/>
                    <a:pt x="347" y="174"/>
                    <a:pt x="347" y="174"/>
                  </a:cubicBezTo>
                  <a:cubicBezTo>
                    <a:pt x="365" y="179"/>
                    <a:pt x="365" y="179"/>
                    <a:pt x="365" y="179"/>
                  </a:cubicBezTo>
                  <a:cubicBezTo>
                    <a:pt x="365" y="179"/>
                    <a:pt x="344" y="180"/>
                    <a:pt x="337" y="181"/>
                  </a:cubicBezTo>
                  <a:cubicBezTo>
                    <a:pt x="330" y="182"/>
                    <a:pt x="334" y="192"/>
                    <a:pt x="334" y="192"/>
                  </a:cubicBezTo>
                  <a:cubicBezTo>
                    <a:pt x="334" y="192"/>
                    <a:pt x="321" y="185"/>
                    <a:pt x="313" y="191"/>
                  </a:cubicBezTo>
                  <a:cubicBezTo>
                    <a:pt x="305" y="197"/>
                    <a:pt x="298" y="202"/>
                    <a:pt x="303" y="205"/>
                  </a:cubicBezTo>
                  <a:cubicBezTo>
                    <a:pt x="308" y="208"/>
                    <a:pt x="297" y="214"/>
                    <a:pt x="297" y="214"/>
                  </a:cubicBezTo>
                  <a:cubicBezTo>
                    <a:pt x="297" y="214"/>
                    <a:pt x="290" y="223"/>
                    <a:pt x="293" y="224"/>
                  </a:cubicBezTo>
                  <a:cubicBezTo>
                    <a:pt x="296" y="225"/>
                    <a:pt x="316" y="226"/>
                    <a:pt x="316" y="226"/>
                  </a:cubicBezTo>
                  <a:cubicBezTo>
                    <a:pt x="309" y="234"/>
                    <a:pt x="309" y="234"/>
                    <a:pt x="309" y="234"/>
                  </a:cubicBezTo>
                  <a:cubicBezTo>
                    <a:pt x="286" y="230"/>
                    <a:pt x="286" y="230"/>
                    <a:pt x="286" y="230"/>
                  </a:cubicBezTo>
                  <a:cubicBezTo>
                    <a:pt x="286" y="230"/>
                    <a:pt x="273" y="232"/>
                    <a:pt x="273" y="240"/>
                  </a:cubicBezTo>
                  <a:cubicBezTo>
                    <a:pt x="273" y="248"/>
                    <a:pt x="283" y="254"/>
                    <a:pt x="279" y="257"/>
                  </a:cubicBezTo>
                  <a:cubicBezTo>
                    <a:pt x="275" y="260"/>
                    <a:pt x="271" y="260"/>
                    <a:pt x="266" y="260"/>
                  </a:cubicBezTo>
                  <a:cubicBezTo>
                    <a:pt x="261" y="260"/>
                    <a:pt x="255" y="261"/>
                    <a:pt x="257" y="268"/>
                  </a:cubicBezTo>
                  <a:cubicBezTo>
                    <a:pt x="259" y="275"/>
                    <a:pt x="267" y="279"/>
                    <a:pt x="267" y="279"/>
                  </a:cubicBezTo>
                  <a:cubicBezTo>
                    <a:pt x="267" y="279"/>
                    <a:pt x="273" y="290"/>
                    <a:pt x="266" y="291"/>
                  </a:cubicBezTo>
                  <a:cubicBezTo>
                    <a:pt x="259" y="292"/>
                    <a:pt x="252" y="291"/>
                    <a:pt x="249" y="291"/>
                  </a:cubicBezTo>
                  <a:cubicBezTo>
                    <a:pt x="246" y="291"/>
                    <a:pt x="243" y="292"/>
                    <a:pt x="240" y="296"/>
                  </a:cubicBezTo>
                  <a:cubicBezTo>
                    <a:pt x="237" y="300"/>
                    <a:pt x="237" y="307"/>
                    <a:pt x="237" y="307"/>
                  </a:cubicBezTo>
                  <a:cubicBezTo>
                    <a:pt x="237" y="307"/>
                    <a:pt x="239" y="314"/>
                    <a:pt x="232" y="314"/>
                  </a:cubicBezTo>
                  <a:cubicBezTo>
                    <a:pt x="225" y="314"/>
                    <a:pt x="222" y="307"/>
                    <a:pt x="216" y="308"/>
                  </a:cubicBezTo>
                  <a:cubicBezTo>
                    <a:pt x="210" y="309"/>
                    <a:pt x="212" y="309"/>
                    <a:pt x="207" y="313"/>
                  </a:cubicBezTo>
                  <a:cubicBezTo>
                    <a:pt x="202" y="317"/>
                    <a:pt x="202" y="318"/>
                    <a:pt x="199" y="322"/>
                  </a:cubicBezTo>
                  <a:cubicBezTo>
                    <a:pt x="196" y="326"/>
                    <a:pt x="187" y="326"/>
                    <a:pt x="187" y="326"/>
                  </a:cubicBezTo>
                  <a:cubicBezTo>
                    <a:pt x="187" y="326"/>
                    <a:pt x="183" y="327"/>
                    <a:pt x="180" y="333"/>
                  </a:cubicBezTo>
                  <a:cubicBezTo>
                    <a:pt x="177" y="339"/>
                    <a:pt x="186" y="343"/>
                    <a:pt x="181" y="346"/>
                  </a:cubicBezTo>
                  <a:cubicBezTo>
                    <a:pt x="176" y="349"/>
                    <a:pt x="175" y="351"/>
                    <a:pt x="170" y="351"/>
                  </a:cubicBezTo>
                  <a:cubicBezTo>
                    <a:pt x="165" y="351"/>
                    <a:pt x="156" y="346"/>
                    <a:pt x="153" y="346"/>
                  </a:cubicBezTo>
                  <a:cubicBezTo>
                    <a:pt x="150" y="346"/>
                    <a:pt x="157" y="338"/>
                    <a:pt x="144" y="345"/>
                  </a:cubicBezTo>
                  <a:cubicBezTo>
                    <a:pt x="131" y="352"/>
                    <a:pt x="130" y="353"/>
                    <a:pt x="126" y="352"/>
                  </a:cubicBezTo>
                  <a:cubicBezTo>
                    <a:pt x="122" y="351"/>
                    <a:pt x="117" y="349"/>
                    <a:pt x="118" y="359"/>
                  </a:cubicBezTo>
                  <a:cubicBezTo>
                    <a:pt x="119" y="369"/>
                    <a:pt x="125" y="368"/>
                    <a:pt x="126" y="371"/>
                  </a:cubicBezTo>
                  <a:cubicBezTo>
                    <a:pt x="127" y="374"/>
                    <a:pt x="130" y="382"/>
                    <a:pt x="122" y="378"/>
                  </a:cubicBezTo>
                  <a:cubicBezTo>
                    <a:pt x="114" y="374"/>
                    <a:pt x="113" y="365"/>
                    <a:pt x="108" y="368"/>
                  </a:cubicBezTo>
                  <a:cubicBezTo>
                    <a:pt x="103" y="371"/>
                    <a:pt x="97" y="378"/>
                    <a:pt x="102" y="381"/>
                  </a:cubicBezTo>
                  <a:cubicBezTo>
                    <a:pt x="107" y="384"/>
                    <a:pt x="122" y="380"/>
                    <a:pt x="119" y="386"/>
                  </a:cubicBezTo>
                  <a:cubicBezTo>
                    <a:pt x="116" y="392"/>
                    <a:pt x="126" y="395"/>
                    <a:pt x="111" y="393"/>
                  </a:cubicBezTo>
                  <a:cubicBezTo>
                    <a:pt x="96" y="391"/>
                    <a:pt x="92" y="391"/>
                    <a:pt x="92" y="391"/>
                  </a:cubicBezTo>
                  <a:cubicBezTo>
                    <a:pt x="92" y="391"/>
                    <a:pt x="94" y="385"/>
                    <a:pt x="88" y="390"/>
                  </a:cubicBezTo>
                  <a:cubicBezTo>
                    <a:pt x="82" y="395"/>
                    <a:pt x="84" y="404"/>
                    <a:pt x="84" y="404"/>
                  </a:cubicBezTo>
                  <a:cubicBezTo>
                    <a:pt x="84" y="404"/>
                    <a:pt x="55" y="391"/>
                    <a:pt x="59" y="399"/>
                  </a:cubicBezTo>
                  <a:cubicBezTo>
                    <a:pt x="63" y="407"/>
                    <a:pt x="85" y="412"/>
                    <a:pt x="85" y="412"/>
                  </a:cubicBezTo>
                  <a:cubicBezTo>
                    <a:pt x="72" y="426"/>
                    <a:pt x="72" y="426"/>
                    <a:pt x="72" y="426"/>
                  </a:cubicBezTo>
                  <a:cubicBezTo>
                    <a:pt x="72" y="426"/>
                    <a:pt x="73" y="416"/>
                    <a:pt x="66" y="415"/>
                  </a:cubicBezTo>
                  <a:cubicBezTo>
                    <a:pt x="59" y="414"/>
                    <a:pt x="53" y="422"/>
                    <a:pt x="53" y="422"/>
                  </a:cubicBezTo>
                  <a:cubicBezTo>
                    <a:pt x="40" y="411"/>
                    <a:pt x="40" y="411"/>
                    <a:pt x="40" y="411"/>
                  </a:cubicBezTo>
                  <a:cubicBezTo>
                    <a:pt x="34" y="420"/>
                    <a:pt x="34" y="420"/>
                    <a:pt x="34" y="420"/>
                  </a:cubicBezTo>
                  <a:cubicBezTo>
                    <a:pt x="43" y="423"/>
                    <a:pt x="43" y="423"/>
                    <a:pt x="43" y="423"/>
                  </a:cubicBezTo>
                  <a:cubicBezTo>
                    <a:pt x="20" y="422"/>
                    <a:pt x="20" y="422"/>
                    <a:pt x="20" y="422"/>
                  </a:cubicBezTo>
                  <a:cubicBezTo>
                    <a:pt x="19" y="431"/>
                    <a:pt x="19" y="431"/>
                    <a:pt x="19" y="431"/>
                  </a:cubicBezTo>
                  <a:cubicBezTo>
                    <a:pt x="52" y="433"/>
                    <a:pt x="52" y="433"/>
                    <a:pt x="52" y="433"/>
                  </a:cubicBezTo>
                  <a:cubicBezTo>
                    <a:pt x="35" y="438"/>
                    <a:pt x="35" y="438"/>
                    <a:pt x="35" y="438"/>
                  </a:cubicBezTo>
                  <a:cubicBezTo>
                    <a:pt x="11" y="432"/>
                    <a:pt x="11" y="432"/>
                    <a:pt x="11" y="432"/>
                  </a:cubicBezTo>
                  <a:cubicBezTo>
                    <a:pt x="11" y="432"/>
                    <a:pt x="3" y="439"/>
                    <a:pt x="3" y="445"/>
                  </a:cubicBezTo>
                  <a:cubicBezTo>
                    <a:pt x="3" y="451"/>
                    <a:pt x="21" y="452"/>
                    <a:pt x="21" y="452"/>
                  </a:cubicBezTo>
                  <a:cubicBezTo>
                    <a:pt x="10" y="457"/>
                    <a:pt x="10" y="457"/>
                    <a:pt x="10" y="457"/>
                  </a:cubicBezTo>
                  <a:cubicBezTo>
                    <a:pt x="10" y="457"/>
                    <a:pt x="1" y="464"/>
                    <a:pt x="10" y="465"/>
                  </a:cubicBezTo>
                  <a:cubicBezTo>
                    <a:pt x="19" y="466"/>
                    <a:pt x="42" y="466"/>
                    <a:pt x="42" y="466"/>
                  </a:cubicBezTo>
                  <a:cubicBezTo>
                    <a:pt x="52" y="472"/>
                    <a:pt x="52" y="472"/>
                    <a:pt x="52" y="472"/>
                  </a:cubicBezTo>
                  <a:cubicBezTo>
                    <a:pt x="63" y="464"/>
                    <a:pt x="63" y="464"/>
                    <a:pt x="63" y="464"/>
                  </a:cubicBezTo>
                  <a:cubicBezTo>
                    <a:pt x="71" y="472"/>
                    <a:pt x="71" y="472"/>
                    <a:pt x="71" y="472"/>
                  </a:cubicBezTo>
                  <a:cubicBezTo>
                    <a:pt x="89" y="463"/>
                    <a:pt x="89" y="463"/>
                    <a:pt x="89" y="463"/>
                  </a:cubicBezTo>
                  <a:cubicBezTo>
                    <a:pt x="89" y="463"/>
                    <a:pt x="86" y="476"/>
                    <a:pt x="80" y="476"/>
                  </a:cubicBezTo>
                  <a:cubicBezTo>
                    <a:pt x="74" y="476"/>
                    <a:pt x="62" y="475"/>
                    <a:pt x="62" y="475"/>
                  </a:cubicBezTo>
                  <a:cubicBezTo>
                    <a:pt x="44" y="476"/>
                    <a:pt x="44" y="476"/>
                    <a:pt x="44" y="476"/>
                  </a:cubicBezTo>
                  <a:cubicBezTo>
                    <a:pt x="44" y="476"/>
                    <a:pt x="28" y="474"/>
                    <a:pt x="25" y="474"/>
                  </a:cubicBezTo>
                  <a:cubicBezTo>
                    <a:pt x="22" y="474"/>
                    <a:pt x="0" y="476"/>
                    <a:pt x="0" y="476"/>
                  </a:cubicBezTo>
                  <a:cubicBezTo>
                    <a:pt x="0" y="476"/>
                    <a:pt x="2" y="488"/>
                    <a:pt x="7" y="490"/>
                  </a:cubicBezTo>
                  <a:cubicBezTo>
                    <a:pt x="12" y="492"/>
                    <a:pt x="20" y="492"/>
                    <a:pt x="20" y="492"/>
                  </a:cubicBezTo>
                  <a:cubicBezTo>
                    <a:pt x="20" y="492"/>
                    <a:pt x="7" y="502"/>
                    <a:pt x="13" y="509"/>
                  </a:cubicBezTo>
                  <a:cubicBezTo>
                    <a:pt x="19" y="516"/>
                    <a:pt x="29" y="517"/>
                    <a:pt x="29" y="517"/>
                  </a:cubicBezTo>
                  <a:cubicBezTo>
                    <a:pt x="47" y="506"/>
                    <a:pt x="47" y="506"/>
                    <a:pt x="47" y="506"/>
                  </a:cubicBezTo>
                  <a:cubicBezTo>
                    <a:pt x="65" y="502"/>
                    <a:pt x="65" y="502"/>
                    <a:pt x="65" y="502"/>
                  </a:cubicBezTo>
                  <a:cubicBezTo>
                    <a:pt x="59" y="516"/>
                    <a:pt x="59" y="516"/>
                    <a:pt x="59" y="516"/>
                  </a:cubicBezTo>
                  <a:cubicBezTo>
                    <a:pt x="49" y="513"/>
                    <a:pt x="49" y="513"/>
                    <a:pt x="49" y="513"/>
                  </a:cubicBezTo>
                  <a:cubicBezTo>
                    <a:pt x="43" y="525"/>
                    <a:pt x="43" y="525"/>
                    <a:pt x="43" y="525"/>
                  </a:cubicBezTo>
                  <a:cubicBezTo>
                    <a:pt x="43" y="525"/>
                    <a:pt x="13" y="519"/>
                    <a:pt x="17" y="526"/>
                  </a:cubicBezTo>
                  <a:cubicBezTo>
                    <a:pt x="21" y="533"/>
                    <a:pt x="30" y="536"/>
                    <a:pt x="30" y="536"/>
                  </a:cubicBezTo>
                  <a:cubicBezTo>
                    <a:pt x="14" y="544"/>
                    <a:pt x="14" y="544"/>
                    <a:pt x="14" y="544"/>
                  </a:cubicBezTo>
                  <a:cubicBezTo>
                    <a:pt x="2" y="544"/>
                    <a:pt x="2" y="544"/>
                    <a:pt x="2" y="544"/>
                  </a:cubicBezTo>
                  <a:cubicBezTo>
                    <a:pt x="2" y="544"/>
                    <a:pt x="4" y="556"/>
                    <a:pt x="7" y="556"/>
                  </a:cubicBezTo>
                  <a:cubicBezTo>
                    <a:pt x="10" y="556"/>
                    <a:pt x="42" y="557"/>
                    <a:pt x="42" y="557"/>
                  </a:cubicBezTo>
                  <a:cubicBezTo>
                    <a:pt x="33" y="571"/>
                    <a:pt x="33" y="571"/>
                    <a:pt x="33" y="571"/>
                  </a:cubicBezTo>
                  <a:cubicBezTo>
                    <a:pt x="41" y="573"/>
                    <a:pt x="41" y="573"/>
                    <a:pt x="41" y="573"/>
                  </a:cubicBezTo>
                  <a:cubicBezTo>
                    <a:pt x="36" y="585"/>
                    <a:pt x="36" y="585"/>
                    <a:pt x="36" y="585"/>
                  </a:cubicBezTo>
                  <a:cubicBezTo>
                    <a:pt x="36" y="585"/>
                    <a:pt x="10" y="572"/>
                    <a:pt x="11" y="580"/>
                  </a:cubicBezTo>
                  <a:cubicBezTo>
                    <a:pt x="12" y="588"/>
                    <a:pt x="23" y="599"/>
                    <a:pt x="23" y="599"/>
                  </a:cubicBezTo>
                  <a:cubicBezTo>
                    <a:pt x="55" y="613"/>
                    <a:pt x="55" y="613"/>
                    <a:pt x="55" y="613"/>
                  </a:cubicBezTo>
                  <a:cubicBezTo>
                    <a:pt x="55" y="613"/>
                    <a:pt x="48" y="618"/>
                    <a:pt x="55" y="621"/>
                  </a:cubicBezTo>
                  <a:cubicBezTo>
                    <a:pt x="62" y="624"/>
                    <a:pt x="83" y="619"/>
                    <a:pt x="83" y="619"/>
                  </a:cubicBezTo>
                  <a:cubicBezTo>
                    <a:pt x="83" y="619"/>
                    <a:pt x="86" y="628"/>
                    <a:pt x="103" y="622"/>
                  </a:cubicBezTo>
                  <a:cubicBezTo>
                    <a:pt x="120" y="616"/>
                    <a:pt x="148" y="591"/>
                    <a:pt x="148" y="591"/>
                  </a:cubicBezTo>
                  <a:cubicBezTo>
                    <a:pt x="172" y="572"/>
                    <a:pt x="172" y="572"/>
                    <a:pt x="172" y="572"/>
                  </a:cubicBezTo>
                  <a:cubicBezTo>
                    <a:pt x="172" y="572"/>
                    <a:pt x="183" y="577"/>
                    <a:pt x="193" y="568"/>
                  </a:cubicBezTo>
                  <a:cubicBezTo>
                    <a:pt x="203" y="559"/>
                    <a:pt x="193" y="540"/>
                    <a:pt x="193" y="540"/>
                  </a:cubicBezTo>
                  <a:cubicBezTo>
                    <a:pt x="205" y="538"/>
                    <a:pt x="205" y="538"/>
                    <a:pt x="205" y="538"/>
                  </a:cubicBezTo>
                  <a:cubicBezTo>
                    <a:pt x="205" y="538"/>
                    <a:pt x="192" y="555"/>
                    <a:pt x="207" y="560"/>
                  </a:cubicBezTo>
                  <a:cubicBezTo>
                    <a:pt x="222" y="565"/>
                    <a:pt x="233" y="567"/>
                    <a:pt x="233" y="567"/>
                  </a:cubicBezTo>
                  <a:cubicBezTo>
                    <a:pt x="247" y="580"/>
                    <a:pt x="247" y="580"/>
                    <a:pt x="247" y="580"/>
                  </a:cubicBezTo>
                  <a:cubicBezTo>
                    <a:pt x="247" y="580"/>
                    <a:pt x="253" y="569"/>
                    <a:pt x="255" y="564"/>
                  </a:cubicBezTo>
                  <a:cubicBezTo>
                    <a:pt x="257" y="559"/>
                    <a:pt x="251" y="558"/>
                    <a:pt x="248" y="550"/>
                  </a:cubicBezTo>
                  <a:cubicBezTo>
                    <a:pt x="245" y="542"/>
                    <a:pt x="254" y="539"/>
                    <a:pt x="254" y="539"/>
                  </a:cubicBezTo>
                  <a:cubicBezTo>
                    <a:pt x="254" y="539"/>
                    <a:pt x="254" y="535"/>
                    <a:pt x="252" y="529"/>
                  </a:cubicBezTo>
                  <a:cubicBezTo>
                    <a:pt x="250" y="523"/>
                    <a:pt x="264" y="529"/>
                    <a:pt x="269" y="529"/>
                  </a:cubicBezTo>
                  <a:cubicBezTo>
                    <a:pt x="274" y="529"/>
                    <a:pt x="277" y="524"/>
                    <a:pt x="277" y="524"/>
                  </a:cubicBezTo>
                  <a:cubicBezTo>
                    <a:pt x="277" y="507"/>
                    <a:pt x="277" y="507"/>
                    <a:pt x="277" y="507"/>
                  </a:cubicBezTo>
                  <a:cubicBezTo>
                    <a:pt x="284" y="507"/>
                    <a:pt x="284" y="507"/>
                    <a:pt x="284" y="507"/>
                  </a:cubicBezTo>
                  <a:cubicBezTo>
                    <a:pt x="284" y="507"/>
                    <a:pt x="280" y="498"/>
                    <a:pt x="277" y="495"/>
                  </a:cubicBezTo>
                  <a:cubicBezTo>
                    <a:pt x="274" y="492"/>
                    <a:pt x="268" y="475"/>
                    <a:pt x="268" y="475"/>
                  </a:cubicBezTo>
                  <a:cubicBezTo>
                    <a:pt x="283" y="472"/>
                    <a:pt x="283" y="472"/>
                    <a:pt x="283" y="472"/>
                  </a:cubicBezTo>
                  <a:cubicBezTo>
                    <a:pt x="283" y="472"/>
                    <a:pt x="290" y="466"/>
                    <a:pt x="292" y="459"/>
                  </a:cubicBezTo>
                  <a:cubicBezTo>
                    <a:pt x="294" y="452"/>
                    <a:pt x="275" y="446"/>
                    <a:pt x="275" y="446"/>
                  </a:cubicBezTo>
                  <a:cubicBezTo>
                    <a:pt x="275" y="446"/>
                    <a:pt x="267" y="439"/>
                    <a:pt x="266" y="432"/>
                  </a:cubicBezTo>
                  <a:cubicBezTo>
                    <a:pt x="265" y="425"/>
                    <a:pt x="271" y="418"/>
                    <a:pt x="272" y="413"/>
                  </a:cubicBezTo>
                  <a:cubicBezTo>
                    <a:pt x="273" y="408"/>
                    <a:pt x="262" y="401"/>
                    <a:pt x="262" y="401"/>
                  </a:cubicBezTo>
                  <a:cubicBezTo>
                    <a:pt x="262" y="401"/>
                    <a:pt x="256" y="393"/>
                    <a:pt x="254" y="388"/>
                  </a:cubicBezTo>
                  <a:cubicBezTo>
                    <a:pt x="252" y="383"/>
                    <a:pt x="261" y="381"/>
                    <a:pt x="267" y="375"/>
                  </a:cubicBezTo>
                  <a:cubicBezTo>
                    <a:pt x="273" y="369"/>
                    <a:pt x="255" y="369"/>
                    <a:pt x="255" y="366"/>
                  </a:cubicBezTo>
                  <a:cubicBezTo>
                    <a:pt x="255" y="363"/>
                    <a:pt x="261" y="358"/>
                    <a:pt x="261" y="358"/>
                  </a:cubicBezTo>
                  <a:cubicBezTo>
                    <a:pt x="266" y="352"/>
                    <a:pt x="266" y="352"/>
                    <a:pt x="266" y="352"/>
                  </a:cubicBezTo>
                  <a:cubicBezTo>
                    <a:pt x="266" y="352"/>
                    <a:pt x="272" y="347"/>
                    <a:pt x="279" y="342"/>
                  </a:cubicBezTo>
                  <a:cubicBezTo>
                    <a:pt x="286" y="337"/>
                    <a:pt x="301" y="325"/>
                    <a:pt x="301" y="325"/>
                  </a:cubicBezTo>
                  <a:cubicBezTo>
                    <a:pt x="301" y="325"/>
                    <a:pt x="328" y="330"/>
                    <a:pt x="332" y="321"/>
                  </a:cubicBezTo>
                  <a:cubicBezTo>
                    <a:pt x="336" y="312"/>
                    <a:pt x="315" y="302"/>
                    <a:pt x="315" y="302"/>
                  </a:cubicBezTo>
                  <a:cubicBezTo>
                    <a:pt x="315" y="302"/>
                    <a:pt x="324" y="296"/>
                    <a:pt x="329" y="292"/>
                  </a:cubicBezTo>
                  <a:cubicBezTo>
                    <a:pt x="334" y="288"/>
                    <a:pt x="344" y="276"/>
                    <a:pt x="344" y="276"/>
                  </a:cubicBezTo>
                  <a:cubicBezTo>
                    <a:pt x="348" y="247"/>
                    <a:pt x="348" y="247"/>
                    <a:pt x="348" y="247"/>
                  </a:cubicBezTo>
                  <a:cubicBezTo>
                    <a:pt x="351" y="242"/>
                    <a:pt x="351" y="242"/>
                    <a:pt x="351" y="242"/>
                  </a:cubicBezTo>
                  <a:cubicBezTo>
                    <a:pt x="349" y="226"/>
                    <a:pt x="349" y="226"/>
                    <a:pt x="349" y="226"/>
                  </a:cubicBezTo>
                  <a:cubicBezTo>
                    <a:pt x="363" y="233"/>
                    <a:pt x="363" y="233"/>
                    <a:pt x="363" y="233"/>
                  </a:cubicBezTo>
                  <a:cubicBezTo>
                    <a:pt x="363" y="233"/>
                    <a:pt x="372" y="228"/>
                    <a:pt x="379" y="226"/>
                  </a:cubicBezTo>
                  <a:cubicBezTo>
                    <a:pt x="386" y="224"/>
                    <a:pt x="372" y="210"/>
                    <a:pt x="372" y="210"/>
                  </a:cubicBezTo>
                  <a:cubicBezTo>
                    <a:pt x="386" y="209"/>
                    <a:pt x="386" y="209"/>
                    <a:pt x="386" y="209"/>
                  </a:cubicBezTo>
                  <a:cubicBezTo>
                    <a:pt x="386" y="209"/>
                    <a:pt x="388" y="202"/>
                    <a:pt x="394" y="197"/>
                  </a:cubicBezTo>
                  <a:cubicBezTo>
                    <a:pt x="400" y="192"/>
                    <a:pt x="405" y="191"/>
                    <a:pt x="405" y="191"/>
                  </a:cubicBezTo>
                  <a:cubicBezTo>
                    <a:pt x="410" y="181"/>
                    <a:pt x="410" y="181"/>
                    <a:pt x="410" y="181"/>
                  </a:cubicBezTo>
                  <a:cubicBezTo>
                    <a:pt x="410" y="181"/>
                    <a:pt x="399" y="173"/>
                    <a:pt x="398" y="169"/>
                  </a:cubicBezTo>
                  <a:cubicBezTo>
                    <a:pt x="397" y="165"/>
                    <a:pt x="414" y="157"/>
                    <a:pt x="414" y="157"/>
                  </a:cubicBezTo>
                  <a:cubicBezTo>
                    <a:pt x="423" y="147"/>
                    <a:pt x="423" y="147"/>
                    <a:pt x="423" y="147"/>
                  </a:cubicBezTo>
                  <a:cubicBezTo>
                    <a:pt x="449" y="143"/>
                    <a:pt x="449" y="143"/>
                    <a:pt x="449" y="143"/>
                  </a:cubicBezTo>
                  <a:cubicBezTo>
                    <a:pt x="449" y="143"/>
                    <a:pt x="464" y="143"/>
                    <a:pt x="467" y="138"/>
                  </a:cubicBezTo>
                  <a:cubicBezTo>
                    <a:pt x="470" y="133"/>
                    <a:pt x="460" y="122"/>
                    <a:pt x="468" y="116"/>
                  </a:cubicBezTo>
                  <a:cubicBezTo>
                    <a:pt x="476" y="110"/>
                    <a:pt x="476" y="123"/>
                    <a:pt x="476" y="123"/>
                  </a:cubicBezTo>
                  <a:cubicBezTo>
                    <a:pt x="495" y="119"/>
                    <a:pt x="495" y="119"/>
                    <a:pt x="495" y="119"/>
                  </a:cubicBezTo>
                  <a:cubicBezTo>
                    <a:pt x="508" y="123"/>
                    <a:pt x="508" y="123"/>
                    <a:pt x="508" y="123"/>
                  </a:cubicBezTo>
                  <a:cubicBezTo>
                    <a:pt x="517" y="123"/>
                    <a:pt x="517" y="123"/>
                    <a:pt x="517" y="123"/>
                  </a:cubicBezTo>
                  <a:cubicBezTo>
                    <a:pt x="517" y="123"/>
                    <a:pt x="528" y="129"/>
                    <a:pt x="536" y="127"/>
                  </a:cubicBezTo>
                  <a:cubicBezTo>
                    <a:pt x="544" y="125"/>
                    <a:pt x="531" y="119"/>
                    <a:pt x="531" y="114"/>
                  </a:cubicBezTo>
                  <a:cubicBezTo>
                    <a:pt x="531" y="109"/>
                    <a:pt x="538" y="112"/>
                    <a:pt x="538" y="112"/>
                  </a:cubicBezTo>
                  <a:cubicBezTo>
                    <a:pt x="537" y="98"/>
                    <a:pt x="537" y="98"/>
                    <a:pt x="537" y="98"/>
                  </a:cubicBezTo>
                  <a:cubicBezTo>
                    <a:pt x="557" y="99"/>
                    <a:pt x="557" y="99"/>
                    <a:pt x="557" y="99"/>
                  </a:cubicBezTo>
                  <a:cubicBezTo>
                    <a:pt x="555" y="97"/>
                    <a:pt x="554" y="96"/>
                    <a:pt x="554" y="96"/>
                  </a:cubicBezTo>
                  <a:cubicBezTo>
                    <a:pt x="556" y="91"/>
                    <a:pt x="556" y="91"/>
                    <a:pt x="556" y="91"/>
                  </a:cubicBezTo>
                  <a:cubicBezTo>
                    <a:pt x="568" y="96"/>
                    <a:pt x="568" y="96"/>
                    <a:pt x="568" y="96"/>
                  </a:cubicBezTo>
                  <a:cubicBezTo>
                    <a:pt x="570" y="87"/>
                    <a:pt x="570" y="87"/>
                    <a:pt x="570" y="87"/>
                  </a:cubicBezTo>
                  <a:cubicBezTo>
                    <a:pt x="570" y="87"/>
                    <a:pt x="577" y="84"/>
                    <a:pt x="581" y="84"/>
                  </a:cubicBezTo>
                  <a:cubicBezTo>
                    <a:pt x="585" y="84"/>
                    <a:pt x="594" y="98"/>
                    <a:pt x="594" y="98"/>
                  </a:cubicBezTo>
                  <a:cubicBezTo>
                    <a:pt x="603" y="99"/>
                    <a:pt x="603" y="99"/>
                    <a:pt x="603" y="99"/>
                  </a:cubicBezTo>
                  <a:cubicBezTo>
                    <a:pt x="603" y="99"/>
                    <a:pt x="604" y="109"/>
                    <a:pt x="618" y="110"/>
                  </a:cubicBezTo>
                  <a:cubicBezTo>
                    <a:pt x="632" y="111"/>
                    <a:pt x="632" y="112"/>
                    <a:pt x="632" y="112"/>
                  </a:cubicBezTo>
                  <a:cubicBezTo>
                    <a:pt x="632" y="112"/>
                    <a:pt x="632" y="112"/>
                    <a:pt x="642" y="115"/>
                  </a:cubicBezTo>
                  <a:cubicBezTo>
                    <a:pt x="652" y="118"/>
                    <a:pt x="661" y="110"/>
                    <a:pt x="661" y="110"/>
                  </a:cubicBezTo>
                  <a:cubicBezTo>
                    <a:pt x="661" y="110"/>
                    <a:pt x="672" y="106"/>
                    <a:pt x="677" y="107"/>
                  </a:cubicBezTo>
                  <a:cubicBezTo>
                    <a:pt x="682" y="108"/>
                    <a:pt x="694" y="116"/>
                    <a:pt x="702" y="116"/>
                  </a:cubicBezTo>
                  <a:cubicBezTo>
                    <a:pt x="710" y="116"/>
                    <a:pt x="704" y="106"/>
                    <a:pt x="711" y="101"/>
                  </a:cubicBezTo>
                  <a:cubicBezTo>
                    <a:pt x="718" y="96"/>
                    <a:pt x="727" y="101"/>
                    <a:pt x="727" y="101"/>
                  </a:cubicBezTo>
                  <a:cubicBezTo>
                    <a:pt x="727" y="101"/>
                    <a:pt x="728" y="85"/>
                    <a:pt x="727" y="81"/>
                  </a:cubicBezTo>
                  <a:cubicBezTo>
                    <a:pt x="726" y="77"/>
                    <a:pt x="730" y="64"/>
                    <a:pt x="730" y="64"/>
                  </a:cubicBezTo>
                  <a:cubicBezTo>
                    <a:pt x="730" y="64"/>
                    <a:pt x="747" y="55"/>
                    <a:pt x="752" y="56"/>
                  </a:cubicBezTo>
                  <a:cubicBezTo>
                    <a:pt x="757" y="57"/>
                    <a:pt x="768" y="58"/>
                    <a:pt x="768" y="58"/>
                  </a:cubicBezTo>
                  <a:cubicBezTo>
                    <a:pt x="768" y="58"/>
                    <a:pt x="779" y="51"/>
                    <a:pt x="794" y="52"/>
                  </a:cubicBezTo>
                  <a:cubicBezTo>
                    <a:pt x="809" y="53"/>
                    <a:pt x="802" y="59"/>
                    <a:pt x="802" y="59"/>
                  </a:cubicBezTo>
                  <a:cubicBezTo>
                    <a:pt x="825" y="64"/>
                    <a:pt x="825" y="64"/>
                    <a:pt x="825" y="64"/>
                  </a:cubicBezTo>
                  <a:cubicBezTo>
                    <a:pt x="825" y="64"/>
                    <a:pt x="839" y="65"/>
                    <a:pt x="843" y="82"/>
                  </a:cubicBezTo>
                  <a:cubicBezTo>
                    <a:pt x="847" y="99"/>
                    <a:pt x="834" y="87"/>
                    <a:pt x="834" y="87"/>
                  </a:cubicBezTo>
                  <a:cubicBezTo>
                    <a:pt x="833" y="95"/>
                    <a:pt x="833" y="95"/>
                    <a:pt x="833" y="95"/>
                  </a:cubicBezTo>
                  <a:cubicBezTo>
                    <a:pt x="836" y="97"/>
                    <a:pt x="840" y="98"/>
                    <a:pt x="845" y="98"/>
                  </a:cubicBezTo>
                  <a:cubicBezTo>
                    <a:pt x="854" y="97"/>
                    <a:pt x="855" y="83"/>
                    <a:pt x="855" y="83"/>
                  </a:cubicBezTo>
                  <a:cubicBezTo>
                    <a:pt x="870" y="82"/>
                    <a:pt x="870" y="82"/>
                    <a:pt x="870" y="82"/>
                  </a:cubicBezTo>
                  <a:cubicBezTo>
                    <a:pt x="874" y="74"/>
                    <a:pt x="874" y="74"/>
                    <a:pt x="874" y="74"/>
                  </a:cubicBezTo>
                  <a:cubicBezTo>
                    <a:pt x="874" y="74"/>
                    <a:pt x="873" y="77"/>
                    <a:pt x="891" y="74"/>
                  </a:cubicBezTo>
                  <a:cubicBezTo>
                    <a:pt x="899" y="73"/>
                    <a:pt x="903" y="69"/>
                    <a:pt x="905" y="66"/>
                  </a:cubicBezTo>
                  <a:lnTo>
                    <a:pt x="901" y="66"/>
                  </a:lnTo>
                  <a:close/>
                  <a:moveTo>
                    <a:pt x="372" y="107"/>
                  </a:moveTo>
                  <a:cubicBezTo>
                    <a:pt x="357" y="116"/>
                    <a:pt x="357" y="116"/>
                    <a:pt x="357" y="116"/>
                  </a:cubicBezTo>
                  <a:cubicBezTo>
                    <a:pt x="362" y="129"/>
                    <a:pt x="362" y="129"/>
                    <a:pt x="362" y="129"/>
                  </a:cubicBezTo>
                  <a:cubicBezTo>
                    <a:pt x="380" y="130"/>
                    <a:pt x="380" y="130"/>
                    <a:pt x="380" y="130"/>
                  </a:cubicBezTo>
                  <a:cubicBezTo>
                    <a:pt x="376" y="117"/>
                    <a:pt x="376" y="117"/>
                    <a:pt x="376" y="117"/>
                  </a:cubicBezTo>
                  <a:lnTo>
                    <a:pt x="372" y="107"/>
                  </a:lnTo>
                  <a:close/>
                  <a:moveTo>
                    <a:pt x="346" y="101"/>
                  </a:moveTo>
                  <a:cubicBezTo>
                    <a:pt x="335" y="105"/>
                    <a:pt x="339" y="122"/>
                    <a:pt x="339" y="122"/>
                  </a:cubicBezTo>
                  <a:cubicBezTo>
                    <a:pt x="351" y="134"/>
                    <a:pt x="351" y="134"/>
                    <a:pt x="351" y="134"/>
                  </a:cubicBezTo>
                  <a:cubicBezTo>
                    <a:pt x="351" y="134"/>
                    <a:pt x="357" y="97"/>
                    <a:pt x="346" y="101"/>
                  </a:cubicBezTo>
                  <a:close/>
                  <a:moveTo>
                    <a:pt x="403" y="116"/>
                  </a:moveTo>
                  <a:cubicBezTo>
                    <a:pt x="412" y="111"/>
                    <a:pt x="427" y="108"/>
                    <a:pt x="408" y="104"/>
                  </a:cubicBezTo>
                  <a:cubicBezTo>
                    <a:pt x="389" y="101"/>
                    <a:pt x="380" y="112"/>
                    <a:pt x="380" y="112"/>
                  </a:cubicBezTo>
                  <a:cubicBezTo>
                    <a:pt x="386" y="119"/>
                    <a:pt x="386" y="119"/>
                    <a:pt x="386" y="119"/>
                  </a:cubicBezTo>
                  <a:lnTo>
                    <a:pt x="403" y="116"/>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9" name="Freeform 38">
              <a:extLst>
                <a:ext uri="{FF2B5EF4-FFF2-40B4-BE49-F238E27FC236}">
                  <a16:creationId xmlns:a16="http://schemas.microsoft.com/office/drawing/2014/main" id="{72A96BD8-423D-4E27-A172-941D2E35AECE}"/>
                </a:ext>
              </a:extLst>
            </p:cNvPr>
            <p:cNvSpPr>
              <a:spLocks noEditPoints="1"/>
            </p:cNvSpPr>
            <p:nvPr/>
          </p:nvSpPr>
          <p:spPr bwMode="auto">
            <a:xfrm>
              <a:off x="2281678" y="3894050"/>
              <a:ext cx="1403444" cy="981204"/>
            </a:xfrm>
            <a:custGeom>
              <a:avLst/>
              <a:gdLst>
                <a:gd name="T0" fmla="*/ 527 w 591"/>
                <a:gd name="T1" fmla="*/ 205 h 413"/>
                <a:gd name="T2" fmla="*/ 511 w 591"/>
                <a:gd name="T3" fmla="*/ 226 h 413"/>
                <a:gd name="T4" fmla="*/ 531 w 591"/>
                <a:gd name="T5" fmla="*/ 237 h 413"/>
                <a:gd name="T6" fmla="*/ 536 w 591"/>
                <a:gd name="T7" fmla="*/ 212 h 413"/>
                <a:gd name="T8" fmla="*/ 461 w 591"/>
                <a:gd name="T9" fmla="*/ 249 h 413"/>
                <a:gd name="T10" fmla="*/ 560 w 591"/>
                <a:gd name="T11" fmla="*/ 198 h 413"/>
                <a:gd name="T12" fmla="*/ 560 w 591"/>
                <a:gd name="T13" fmla="*/ 198 h 413"/>
                <a:gd name="T14" fmla="*/ 534 w 591"/>
                <a:gd name="T15" fmla="*/ 86 h 413"/>
                <a:gd name="T16" fmla="*/ 528 w 591"/>
                <a:gd name="T17" fmla="*/ 67 h 413"/>
                <a:gd name="T18" fmla="*/ 514 w 591"/>
                <a:gd name="T19" fmla="*/ 77 h 413"/>
                <a:gd name="T20" fmla="*/ 496 w 591"/>
                <a:gd name="T21" fmla="*/ 70 h 413"/>
                <a:gd name="T22" fmla="*/ 479 w 591"/>
                <a:gd name="T23" fmla="*/ 68 h 413"/>
                <a:gd name="T24" fmla="*/ 459 w 591"/>
                <a:gd name="T25" fmla="*/ 56 h 413"/>
                <a:gd name="T26" fmla="*/ 437 w 591"/>
                <a:gd name="T27" fmla="*/ 48 h 413"/>
                <a:gd name="T28" fmla="*/ 417 w 591"/>
                <a:gd name="T29" fmla="*/ 63 h 413"/>
                <a:gd name="T30" fmla="*/ 395 w 591"/>
                <a:gd name="T31" fmla="*/ 54 h 413"/>
                <a:gd name="T32" fmla="*/ 376 w 591"/>
                <a:gd name="T33" fmla="*/ 51 h 413"/>
                <a:gd name="T34" fmla="*/ 342 w 591"/>
                <a:gd name="T35" fmla="*/ 38 h 413"/>
                <a:gd name="T36" fmla="*/ 327 w 591"/>
                <a:gd name="T37" fmla="*/ 29 h 413"/>
                <a:gd name="T38" fmla="*/ 320 w 591"/>
                <a:gd name="T39" fmla="*/ 23 h 413"/>
                <a:gd name="T40" fmla="*/ 234 w 591"/>
                <a:gd name="T41" fmla="*/ 22 h 413"/>
                <a:gd name="T42" fmla="*/ 156 w 591"/>
                <a:gd name="T43" fmla="*/ 7 h 413"/>
                <a:gd name="T44" fmla="*/ 91 w 591"/>
                <a:gd name="T45" fmla="*/ 8 h 413"/>
                <a:gd name="T46" fmla="*/ 49 w 591"/>
                <a:gd name="T47" fmla="*/ 18 h 413"/>
                <a:gd name="T48" fmla="*/ 21 w 591"/>
                <a:gd name="T49" fmla="*/ 67 h 413"/>
                <a:gd name="T50" fmla="*/ 16 w 591"/>
                <a:gd name="T51" fmla="*/ 101 h 413"/>
                <a:gd name="T52" fmla="*/ 50 w 591"/>
                <a:gd name="T53" fmla="*/ 94 h 413"/>
                <a:gd name="T54" fmla="*/ 61 w 591"/>
                <a:gd name="T55" fmla="*/ 99 h 413"/>
                <a:gd name="T56" fmla="*/ 85 w 591"/>
                <a:gd name="T57" fmla="*/ 96 h 413"/>
                <a:gd name="T58" fmla="*/ 115 w 591"/>
                <a:gd name="T59" fmla="*/ 108 h 413"/>
                <a:gd name="T60" fmla="*/ 94 w 591"/>
                <a:gd name="T61" fmla="*/ 144 h 413"/>
                <a:gd name="T62" fmla="*/ 96 w 591"/>
                <a:gd name="T63" fmla="*/ 181 h 413"/>
                <a:gd name="T64" fmla="*/ 94 w 591"/>
                <a:gd name="T65" fmla="*/ 205 h 413"/>
                <a:gd name="T66" fmla="*/ 61 w 591"/>
                <a:gd name="T67" fmla="*/ 217 h 413"/>
                <a:gd name="T68" fmla="*/ 77 w 591"/>
                <a:gd name="T69" fmla="*/ 240 h 413"/>
                <a:gd name="T70" fmla="*/ 66 w 591"/>
                <a:gd name="T71" fmla="*/ 276 h 413"/>
                <a:gd name="T72" fmla="*/ 84 w 591"/>
                <a:gd name="T73" fmla="*/ 301 h 413"/>
                <a:gd name="T74" fmla="*/ 60 w 591"/>
                <a:gd name="T75" fmla="*/ 325 h 413"/>
                <a:gd name="T76" fmla="*/ 61 w 591"/>
                <a:gd name="T77" fmla="*/ 351 h 413"/>
                <a:gd name="T78" fmla="*/ 81 w 591"/>
                <a:gd name="T79" fmla="*/ 350 h 413"/>
                <a:gd name="T80" fmla="*/ 109 w 591"/>
                <a:gd name="T81" fmla="*/ 365 h 413"/>
                <a:gd name="T82" fmla="*/ 110 w 591"/>
                <a:gd name="T83" fmla="*/ 383 h 413"/>
                <a:gd name="T84" fmla="*/ 136 w 591"/>
                <a:gd name="T85" fmla="*/ 413 h 413"/>
                <a:gd name="T86" fmla="*/ 177 w 591"/>
                <a:gd name="T87" fmla="*/ 389 h 413"/>
                <a:gd name="T88" fmla="*/ 235 w 591"/>
                <a:gd name="T89" fmla="*/ 377 h 413"/>
                <a:gd name="T90" fmla="*/ 265 w 591"/>
                <a:gd name="T91" fmla="*/ 378 h 413"/>
                <a:gd name="T92" fmla="*/ 297 w 591"/>
                <a:gd name="T93" fmla="*/ 374 h 413"/>
                <a:gd name="T94" fmla="*/ 331 w 591"/>
                <a:gd name="T95" fmla="*/ 329 h 413"/>
                <a:gd name="T96" fmla="*/ 356 w 591"/>
                <a:gd name="T97" fmla="*/ 315 h 413"/>
                <a:gd name="T98" fmla="*/ 401 w 591"/>
                <a:gd name="T99" fmla="*/ 270 h 413"/>
                <a:gd name="T100" fmla="*/ 385 w 591"/>
                <a:gd name="T101" fmla="*/ 215 h 413"/>
                <a:gd name="T102" fmla="*/ 424 w 591"/>
                <a:gd name="T103" fmla="*/ 172 h 413"/>
                <a:gd name="T104" fmla="*/ 438 w 591"/>
                <a:gd name="T105" fmla="*/ 146 h 413"/>
                <a:gd name="T106" fmla="*/ 514 w 591"/>
                <a:gd name="T107" fmla="*/ 1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1" h="413">
                  <a:moveTo>
                    <a:pt x="536" y="212"/>
                  </a:moveTo>
                  <a:cubicBezTo>
                    <a:pt x="536" y="212"/>
                    <a:pt x="533" y="205"/>
                    <a:pt x="527" y="205"/>
                  </a:cubicBezTo>
                  <a:cubicBezTo>
                    <a:pt x="521" y="205"/>
                    <a:pt x="498" y="218"/>
                    <a:pt x="501" y="223"/>
                  </a:cubicBezTo>
                  <a:cubicBezTo>
                    <a:pt x="504" y="228"/>
                    <a:pt x="511" y="226"/>
                    <a:pt x="511" y="226"/>
                  </a:cubicBezTo>
                  <a:cubicBezTo>
                    <a:pt x="511" y="226"/>
                    <a:pt x="515" y="235"/>
                    <a:pt x="519" y="236"/>
                  </a:cubicBezTo>
                  <a:cubicBezTo>
                    <a:pt x="523" y="237"/>
                    <a:pt x="531" y="237"/>
                    <a:pt x="531" y="237"/>
                  </a:cubicBezTo>
                  <a:cubicBezTo>
                    <a:pt x="537" y="235"/>
                    <a:pt x="547" y="225"/>
                    <a:pt x="546" y="218"/>
                  </a:cubicBezTo>
                  <a:cubicBezTo>
                    <a:pt x="545" y="211"/>
                    <a:pt x="536" y="212"/>
                    <a:pt x="536" y="212"/>
                  </a:cubicBezTo>
                  <a:close/>
                  <a:moveTo>
                    <a:pt x="447" y="261"/>
                  </a:moveTo>
                  <a:cubicBezTo>
                    <a:pt x="456" y="270"/>
                    <a:pt x="466" y="259"/>
                    <a:pt x="461" y="249"/>
                  </a:cubicBezTo>
                  <a:cubicBezTo>
                    <a:pt x="456" y="239"/>
                    <a:pt x="447" y="261"/>
                    <a:pt x="447" y="261"/>
                  </a:cubicBezTo>
                  <a:close/>
                  <a:moveTo>
                    <a:pt x="560" y="198"/>
                  </a:moveTo>
                  <a:cubicBezTo>
                    <a:pt x="560" y="198"/>
                    <a:pt x="573" y="218"/>
                    <a:pt x="582" y="213"/>
                  </a:cubicBezTo>
                  <a:cubicBezTo>
                    <a:pt x="591" y="208"/>
                    <a:pt x="570" y="191"/>
                    <a:pt x="560" y="198"/>
                  </a:cubicBezTo>
                  <a:close/>
                  <a:moveTo>
                    <a:pt x="535" y="101"/>
                  </a:moveTo>
                  <a:cubicBezTo>
                    <a:pt x="536" y="98"/>
                    <a:pt x="534" y="86"/>
                    <a:pt x="534" y="86"/>
                  </a:cubicBezTo>
                  <a:cubicBezTo>
                    <a:pt x="542" y="81"/>
                    <a:pt x="542" y="81"/>
                    <a:pt x="542" y="81"/>
                  </a:cubicBezTo>
                  <a:cubicBezTo>
                    <a:pt x="542" y="81"/>
                    <a:pt x="530" y="75"/>
                    <a:pt x="528" y="67"/>
                  </a:cubicBezTo>
                  <a:cubicBezTo>
                    <a:pt x="521" y="67"/>
                    <a:pt x="521" y="67"/>
                    <a:pt x="521" y="67"/>
                  </a:cubicBezTo>
                  <a:cubicBezTo>
                    <a:pt x="521" y="67"/>
                    <a:pt x="521" y="77"/>
                    <a:pt x="514" y="77"/>
                  </a:cubicBezTo>
                  <a:cubicBezTo>
                    <a:pt x="507" y="77"/>
                    <a:pt x="506" y="77"/>
                    <a:pt x="506" y="77"/>
                  </a:cubicBezTo>
                  <a:cubicBezTo>
                    <a:pt x="506" y="77"/>
                    <a:pt x="499" y="69"/>
                    <a:pt x="496" y="70"/>
                  </a:cubicBezTo>
                  <a:cubicBezTo>
                    <a:pt x="493" y="71"/>
                    <a:pt x="486" y="73"/>
                    <a:pt x="486" y="73"/>
                  </a:cubicBezTo>
                  <a:cubicBezTo>
                    <a:pt x="486" y="73"/>
                    <a:pt x="483" y="67"/>
                    <a:pt x="479" y="68"/>
                  </a:cubicBezTo>
                  <a:cubicBezTo>
                    <a:pt x="475" y="69"/>
                    <a:pt x="466" y="71"/>
                    <a:pt x="466" y="71"/>
                  </a:cubicBezTo>
                  <a:cubicBezTo>
                    <a:pt x="459" y="56"/>
                    <a:pt x="459" y="56"/>
                    <a:pt x="459" y="56"/>
                  </a:cubicBezTo>
                  <a:cubicBezTo>
                    <a:pt x="450" y="55"/>
                    <a:pt x="450" y="55"/>
                    <a:pt x="450" y="55"/>
                  </a:cubicBezTo>
                  <a:cubicBezTo>
                    <a:pt x="450" y="55"/>
                    <a:pt x="450" y="48"/>
                    <a:pt x="437" y="48"/>
                  </a:cubicBezTo>
                  <a:cubicBezTo>
                    <a:pt x="424" y="48"/>
                    <a:pt x="430" y="60"/>
                    <a:pt x="430" y="60"/>
                  </a:cubicBezTo>
                  <a:cubicBezTo>
                    <a:pt x="417" y="63"/>
                    <a:pt x="417" y="63"/>
                    <a:pt x="417" y="63"/>
                  </a:cubicBezTo>
                  <a:cubicBezTo>
                    <a:pt x="415" y="55"/>
                    <a:pt x="415" y="55"/>
                    <a:pt x="415" y="55"/>
                  </a:cubicBezTo>
                  <a:cubicBezTo>
                    <a:pt x="395" y="54"/>
                    <a:pt x="395" y="54"/>
                    <a:pt x="395" y="54"/>
                  </a:cubicBezTo>
                  <a:cubicBezTo>
                    <a:pt x="395" y="54"/>
                    <a:pt x="394" y="51"/>
                    <a:pt x="390" y="49"/>
                  </a:cubicBezTo>
                  <a:cubicBezTo>
                    <a:pt x="386" y="47"/>
                    <a:pt x="376" y="51"/>
                    <a:pt x="376" y="51"/>
                  </a:cubicBezTo>
                  <a:cubicBezTo>
                    <a:pt x="376" y="51"/>
                    <a:pt x="370" y="42"/>
                    <a:pt x="363" y="41"/>
                  </a:cubicBezTo>
                  <a:cubicBezTo>
                    <a:pt x="356" y="40"/>
                    <a:pt x="342" y="38"/>
                    <a:pt x="342" y="38"/>
                  </a:cubicBezTo>
                  <a:cubicBezTo>
                    <a:pt x="342" y="38"/>
                    <a:pt x="348" y="35"/>
                    <a:pt x="342" y="28"/>
                  </a:cubicBezTo>
                  <a:cubicBezTo>
                    <a:pt x="336" y="21"/>
                    <a:pt x="327" y="29"/>
                    <a:pt x="327" y="29"/>
                  </a:cubicBezTo>
                  <a:cubicBezTo>
                    <a:pt x="326" y="23"/>
                    <a:pt x="326" y="23"/>
                    <a:pt x="326" y="23"/>
                  </a:cubicBezTo>
                  <a:cubicBezTo>
                    <a:pt x="324" y="23"/>
                    <a:pt x="322" y="23"/>
                    <a:pt x="320" y="23"/>
                  </a:cubicBezTo>
                  <a:cubicBezTo>
                    <a:pt x="301" y="23"/>
                    <a:pt x="254" y="14"/>
                    <a:pt x="254" y="14"/>
                  </a:cubicBezTo>
                  <a:cubicBezTo>
                    <a:pt x="234" y="22"/>
                    <a:pt x="234" y="22"/>
                    <a:pt x="234" y="22"/>
                  </a:cubicBezTo>
                  <a:cubicBezTo>
                    <a:pt x="196" y="18"/>
                    <a:pt x="196" y="18"/>
                    <a:pt x="196" y="18"/>
                  </a:cubicBezTo>
                  <a:cubicBezTo>
                    <a:pt x="196" y="18"/>
                    <a:pt x="171" y="4"/>
                    <a:pt x="156" y="7"/>
                  </a:cubicBezTo>
                  <a:cubicBezTo>
                    <a:pt x="141" y="10"/>
                    <a:pt x="120" y="11"/>
                    <a:pt x="115" y="11"/>
                  </a:cubicBezTo>
                  <a:cubicBezTo>
                    <a:pt x="110" y="11"/>
                    <a:pt x="91" y="8"/>
                    <a:pt x="91" y="8"/>
                  </a:cubicBezTo>
                  <a:cubicBezTo>
                    <a:pt x="91" y="8"/>
                    <a:pt x="81" y="0"/>
                    <a:pt x="75" y="0"/>
                  </a:cubicBezTo>
                  <a:cubicBezTo>
                    <a:pt x="69" y="0"/>
                    <a:pt x="49" y="18"/>
                    <a:pt x="49" y="18"/>
                  </a:cubicBezTo>
                  <a:cubicBezTo>
                    <a:pt x="49" y="18"/>
                    <a:pt x="4" y="25"/>
                    <a:pt x="2" y="38"/>
                  </a:cubicBezTo>
                  <a:cubicBezTo>
                    <a:pt x="0" y="51"/>
                    <a:pt x="21" y="67"/>
                    <a:pt x="21" y="67"/>
                  </a:cubicBezTo>
                  <a:cubicBezTo>
                    <a:pt x="13" y="90"/>
                    <a:pt x="13" y="90"/>
                    <a:pt x="13" y="90"/>
                  </a:cubicBezTo>
                  <a:cubicBezTo>
                    <a:pt x="13" y="90"/>
                    <a:pt x="14" y="94"/>
                    <a:pt x="16" y="101"/>
                  </a:cubicBezTo>
                  <a:cubicBezTo>
                    <a:pt x="20" y="95"/>
                    <a:pt x="27" y="88"/>
                    <a:pt x="36" y="88"/>
                  </a:cubicBezTo>
                  <a:cubicBezTo>
                    <a:pt x="50" y="88"/>
                    <a:pt x="55" y="89"/>
                    <a:pt x="50" y="94"/>
                  </a:cubicBezTo>
                  <a:cubicBezTo>
                    <a:pt x="45" y="99"/>
                    <a:pt x="38" y="103"/>
                    <a:pt x="44" y="103"/>
                  </a:cubicBezTo>
                  <a:cubicBezTo>
                    <a:pt x="50" y="103"/>
                    <a:pt x="54" y="99"/>
                    <a:pt x="61" y="99"/>
                  </a:cubicBezTo>
                  <a:cubicBezTo>
                    <a:pt x="68" y="99"/>
                    <a:pt x="70" y="108"/>
                    <a:pt x="78" y="104"/>
                  </a:cubicBezTo>
                  <a:cubicBezTo>
                    <a:pt x="86" y="100"/>
                    <a:pt x="76" y="96"/>
                    <a:pt x="85" y="96"/>
                  </a:cubicBezTo>
                  <a:cubicBezTo>
                    <a:pt x="94" y="96"/>
                    <a:pt x="110" y="93"/>
                    <a:pt x="114" y="95"/>
                  </a:cubicBezTo>
                  <a:cubicBezTo>
                    <a:pt x="118" y="97"/>
                    <a:pt x="115" y="108"/>
                    <a:pt x="115" y="108"/>
                  </a:cubicBezTo>
                  <a:cubicBezTo>
                    <a:pt x="115" y="108"/>
                    <a:pt x="129" y="109"/>
                    <a:pt x="128" y="117"/>
                  </a:cubicBezTo>
                  <a:cubicBezTo>
                    <a:pt x="127" y="125"/>
                    <a:pt x="95" y="140"/>
                    <a:pt x="94" y="144"/>
                  </a:cubicBezTo>
                  <a:cubicBezTo>
                    <a:pt x="93" y="148"/>
                    <a:pt x="102" y="153"/>
                    <a:pt x="102" y="153"/>
                  </a:cubicBezTo>
                  <a:cubicBezTo>
                    <a:pt x="102" y="153"/>
                    <a:pt x="97" y="178"/>
                    <a:pt x="96" y="181"/>
                  </a:cubicBezTo>
                  <a:cubicBezTo>
                    <a:pt x="95" y="184"/>
                    <a:pt x="90" y="188"/>
                    <a:pt x="90" y="188"/>
                  </a:cubicBezTo>
                  <a:cubicBezTo>
                    <a:pt x="90" y="188"/>
                    <a:pt x="94" y="202"/>
                    <a:pt x="94" y="205"/>
                  </a:cubicBezTo>
                  <a:cubicBezTo>
                    <a:pt x="94" y="208"/>
                    <a:pt x="86" y="215"/>
                    <a:pt x="82" y="216"/>
                  </a:cubicBezTo>
                  <a:cubicBezTo>
                    <a:pt x="78" y="217"/>
                    <a:pt x="61" y="217"/>
                    <a:pt x="61" y="217"/>
                  </a:cubicBezTo>
                  <a:cubicBezTo>
                    <a:pt x="77" y="231"/>
                    <a:pt x="77" y="231"/>
                    <a:pt x="77" y="231"/>
                  </a:cubicBezTo>
                  <a:cubicBezTo>
                    <a:pt x="77" y="240"/>
                    <a:pt x="77" y="240"/>
                    <a:pt x="77" y="240"/>
                  </a:cubicBezTo>
                  <a:cubicBezTo>
                    <a:pt x="77" y="240"/>
                    <a:pt x="90" y="242"/>
                    <a:pt x="88" y="250"/>
                  </a:cubicBezTo>
                  <a:cubicBezTo>
                    <a:pt x="86" y="258"/>
                    <a:pt x="62" y="272"/>
                    <a:pt x="66" y="276"/>
                  </a:cubicBezTo>
                  <a:cubicBezTo>
                    <a:pt x="70" y="280"/>
                    <a:pt x="75" y="294"/>
                    <a:pt x="75" y="294"/>
                  </a:cubicBezTo>
                  <a:cubicBezTo>
                    <a:pt x="75" y="294"/>
                    <a:pt x="88" y="295"/>
                    <a:pt x="84" y="301"/>
                  </a:cubicBezTo>
                  <a:cubicBezTo>
                    <a:pt x="80" y="307"/>
                    <a:pt x="70" y="308"/>
                    <a:pt x="70" y="308"/>
                  </a:cubicBezTo>
                  <a:cubicBezTo>
                    <a:pt x="70" y="308"/>
                    <a:pt x="62" y="318"/>
                    <a:pt x="60" y="325"/>
                  </a:cubicBezTo>
                  <a:cubicBezTo>
                    <a:pt x="58" y="332"/>
                    <a:pt x="59" y="340"/>
                    <a:pt x="59" y="340"/>
                  </a:cubicBezTo>
                  <a:cubicBezTo>
                    <a:pt x="61" y="351"/>
                    <a:pt x="61" y="351"/>
                    <a:pt x="61" y="351"/>
                  </a:cubicBezTo>
                  <a:cubicBezTo>
                    <a:pt x="62" y="351"/>
                    <a:pt x="62" y="351"/>
                    <a:pt x="62" y="351"/>
                  </a:cubicBezTo>
                  <a:cubicBezTo>
                    <a:pt x="81" y="350"/>
                    <a:pt x="81" y="350"/>
                    <a:pt x="81" y="350"/>
                  </a:cubicBezTo>
                  <a:cubicBezTo>
                    <a:pt x="97" y="365"/>
                    <a:pt x="97" y="365"/>
                    <a:pt x="97" y="365"/>
                  </a:cubicBezTo>
                  <a:cubicBezTo>
                    <a:pt x="109" y="365"/>
                    <a:pt x="109" y="365"/>
                    <a:pt x="109" y="365"/>
                  </a:cubicBezTo>
                  <a:cubicBezTo>
                    <a:pt x="103" y="382"/>
                    <a:pt x="103" y="382"/>
                    <a:pt x="103" y="382"/>
                  </a:cubicBezTo>
                  <a:cubicBezTo>
                    <a:pt x="110" y="383"/>
                    <a:pt x="110" y="383"/>
                    <a:pt x="110" y="383"/>
                  </a:cubicBezTo>
                  <a:cubicBezTo>
                    <a:pt x="110" y="383"/>
                    <a:pt x="110" y="403"/>
                    <a:pt x="117" y="406"/>
                  </a:cubicBezTo>
                  <a:cubicBezTo>
                    <a:pt x="124" y="409"/>
                    <a:pt x="136" y="413"/>
                    <a:pt x="136" y="413"/>
                  </a:cubicBezTo>
                  <a:cubicBezTo>
                    <a:pt x="136" y="413"/>
                    <a:pt x="153" y="401"/>
                    <a:pt x="156" y="395"/>
                  </a:cubicBezTo>
                  <a:cubicBezTo>
                    <a:pt x="159" y="389"/>
                    <a:pt x="177" y="389"/>
                    <a:pt x="177" y="389"/>
                  </a:cubicBezTo>
                  <a:cubicBezTo>
                    <a:pt x="196" y="377"/>
                    <a:pt x="196" y="377"/>
                    <a:pt x="196" y="377"/>
                  </a:cubicBezTo>
                  <a:cubicBezTo>
                    <a:pt x="196" y="377"/>
                    <a:pt x="229" y="379"/>
                    <a:pt x="235" y="377"/>
                  </a:cubicBezTo>
                  <a:cubicBezTo>
                    <a:pt x="241" y="375"/>
                    <a:pt x="251" y="371"/>
                    <a:pt x="251" y="371"/>
                  </a:cubicBezTo>
                  <a:cubicBezTo>
                    <a:pt x="251" y="371"/>
                    <a:pt x="259" y="379"/>
                    <a:pt x="265" y="378"/>
                  </a:cubicBezTo>
                  <a:cubicBezTo>
                    <a:pt x="271" y="377"/>
                    <a:pt x="287" y="370"/>
                    <a:pt x="287" y="370"/>
                  </a:cubicBezTo>
                  <a:cubicBezTo>
                    <a:pt x="287" y="370"/>
                    <a:pt x="286" y="382"/>
                    <a:pt x="297" y="374"/>
                  </a:cubicBezTo>
                  <a:cubicBezTo>
                    <a:pt x="308" y="366"/>
                    <a:pt x="310" y="347"/>
                    <a:pt x="310" y="347"/>
                  </a:cubicBezTo>
                  <a:cubicBezTo>
                    <a:pt x="331" y="329"/>
                    <a:pt x="331" y="329"/>
                    <a:pt x="331" y="329"/>
                  </a:cubicBezTo>
                  <a:cubicBezTo>
                    <a:pt x="354" y="328"/>
                    <a:pt x="354" y="328"/>
                    <a:pt x="354" y="328"/>
                  </a:cubicBezTo>
                  <a:cubicBezTo>
                    <a:pt x="356" y="315"/>
                    <a:pt x="356" y="315"/>
                    <a:pt x="356" y="315"/>
                  </a:cubicBezTo>
                  <a:cubicBezTo>
                    <a:pt x="356" y="315"/>
                    <a:pt x="367" y="286"/>
                    <a:pt x="370" y="284"/>
                  </a:cubicBezTo>
                  <a:cubicBezTo>
                    <a:pt x="373" y="282"/>
                    <a:pt x="400" y="279"/>
                    <a:pt x="401" y="270"/>
                  </a:cubicBezTo>
                  <a:cubicBezTo>
                    <a:pt x="402" y="261"/>
                    <a:pt x="379" y="249"/>
                    <a:pt x="379" y="249"/>
                  </a:cubicBezTo>
                  <a:cubicBezTo>
                    <a:pt x="379" y="249"/>
                    <a:pt x="377" y="226"/>
                    <a:pt x="385" y="215"/>
                  </a:cubicBezTo>
                  <a:cubicBezTo>
                    <a:pt x="393" y="204"/>
                    <a:pt x="404" y="191"/>
                    <a:pt x="404" y="191"/>
                  </a:cubicBezTo>
                  <a:cubicBezTo>
                    <a:pt x="404" y="191"/>
                    <a:pt x="421" y="173"/>
                    <a:pt x="424" y="172"/>
                  </a:cubicBezTo>
                  <a:cubicBezTo>
                    <a:pt x="427" y="171"/>
                    <a:pt x="439" y="163"/>
                    <a:pt x="436" y="161"/>
                  </a:cubicBezTo>
                  <a:cubicBezTo>
                    <a:pt x="433" y="159"/>
                    <a:pt x="428" y="151"/>
                    <a:pt x="438" y="146"/>
                  </a:cubicBezTo>
                  <a:cubicBezTo>
                    <a:pt x="448" y="141"/>
                    <a:pt x="472" y="136"/>
                    <a:pt x="485" y="131"/>
                  </a:cubicBezTo>
                  <a:cubicBezTo>
                    <a:pt x="498" y="126"/>
                    <a:pt x="514" y="113"/>
                    <a:pt x="514" y="113"/>
                  </a:cubicBezTo>
                  <a:cubicBezTo>
                    <a:pt x="514" y="113"/>
                    <a:pt x="534" y="104"/>
                    <a:pt x="535" y="10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0" name="Freeform 39">
              <a:extLst>
                <a:ext uri="{FF2B5EF4-FFF2-40B4-BE49-F238E27FC236}">
                  <a16:creationId xmlns:a16="http://schemas.microsoft.com/office/drawing/2014/main" id="{B8EDDF4E-8EBD-4CB0-A6EF-C406D5F68F24}"/>
                </a:ext>
              </a:extLst>
            </p:cNvPr>
            <p:cNvSpPr>
              <a:spLocks/>
            </p:cNvSpPr>
            <p:nvPr/>
          </p:nvSpPr>
          <p:spPr bwMode="auto">
            <a:xfrm>
              <a:off x="2219347" y="4103159"/>
              <a:ext cx="367951" cy="657487"/>
            </a:xfrm>
            <a:custGeom>
              <a:avLst/>
              <a:gdLst>
                <a:gd name="T0" fmla="*/ 141 w 155"/>
                <a:gd name="T1" fmla="*/ 20 h 277"/>
                <a:gd name="T2" fmla="*/ 140 w 155"/>
                <a:gd name="T3" fmla="*/ 7 h 277"/>
                <a:gd name="T4" fmla="*/ 111 w 155"/>
                <a:gd name="T5" fmla="*/ 8 h 277"/>
                <a:gd name="T6" fmla="*/ 104 w 155"/>
                <a:gd name="T7" fmla="*/ 16 h 277"/>
                <a:gd name="T8" fmla="*/ 87 w 155"/>
                <a:gd name="T9" fmla="*/ 11 h 277"/>
                <a:gd name="T10" fmla="*/ 70 w 155"/>
                <a:gd name="T11" fmla="*/ 15 h 277"/>
                <a:gd name="T12" fmla="*/ 76 w 155"/>
                <a:gd name="T13" fmla="*/ 6 h 277"/>
                <a:gd name="T14" fmla="*/ 62 w 155"/>
                <a:gd name="T15" fmla="*/ 0 h 277"/>
                <a:gd name="T16" fmla="*/ 42 w 155"/>
                <a:gd name="T17" fmla="*/ 13 h 277"/>
                <a:gd name="T18" fmla="*/ 46 w 155"/>
                <a:gd name="T19" fmla="*/ 53 h 277"/>
                <a:gd name="T20" fmla="*/ 23 w 155"/>
                <a:gd name="T21" fmla="*/ 114 h 277"/>
                <a:gd name="T22" fmla="*/ 9 w 155"/>
                <a:gd name="T23" fmla="*/ 146 h 277"/>
                <a:gd name="T24" fmla="*/ 6 w 155"/>
                <a:gd name="T25" fmla="*/ 180 h 277"/>
                <a:gd name="T26" fmla="*/ 23 w 155"/>
                <a:gd name="T27" fmla="*/ 191 h 277"/>
                <a:gd name="T28" fmla="*/ 30 w 155"/>
                <a:gd name="T29" fmla="*/ 228 h 277"/>
                <a:gd name="T30" fmla="*/ 20 w 155"/>
                <a:gd name="T31" fmla="*/ 271 h 277"/>
                <a:gd name="T32" fmla="*/ 52 w 155"/>
                <a:gd name="T33" fmla="*/ 268 h 277"/>
                <a:gd name="T34" fmla="*/ 62 w 155"/>
                <a:gd name="T35" fmla="*/ 276 h 277"/>
                <a:gd name="T36" fmla="*/ 87 w 155"/>
                <a:gd name="T37" fmla="*/ 263 h 277"/>
                <a:gd name="T38" fmla="*/ 85 w 155"/>
                <a:gd name="T39" fmla="*/ 252 h 277"/>
                <a:gd name="T40" fmla="*/ 86 w 155"/>
                <a:gd name="T41" fmla="*/ 237 h 277"/>
                <a:gd name="T42" fmla="*/ 96 w 155"/>
                <a:gd name="T43" fmla="*/ 220 h 277"/>
                <a:gd name="T44" fmla="*/ 110 w 155"/>
                <a:gd name="T45" fmla="*/ 213 h 277"/>
                <a:gd name="T46" fmla="*/ 101 w 155"/>
                <a:gd name="T47" fmla="*/ 206 h 277"/>
                <a:gd name="T48" fmla="*/ 92 w 155"/>
                <a:gd name="T49" fmla="*/ 188 h 277"/>
                <a:gd name="T50" fmla="*/ 114 w 155"/>
                <a:gd name="T51" fmla="*/ 162 h 277"/>
                <a:gd name="T52" fmla="*/ 103 w 155"/>
                <a:gd name="T53" fmla="*/ 152 h 277"/>
                <a:gd name="T54" fmla="*/ 103 w 155"/>
                <a:gd name="T55" fmla="*/ 143 h 277"/>
                <a:gd name="T56" fmla="*/ 87 w 155"/>
                <a:gd name="T57" fmla="*/ 129 h 277"/>
                <a:gd name="T58" fmla="*/ 108 w 155"/>
                <a:gd name="T59" fmla="*/ 128 h 277"/>
                <a:gd name="T60" fmla="*/ 120 w 155"/>
                <a:gd name="T61" fmla="*/ 117 h 277"/>
                <a:gd name="T62" fmla="*/ 116 w 155"/>
                <a:gd name="T63" fmla="*/ 100 h 277"/>
                <a:gd name="T64" fmla="*/ 122 w 155"/>
                <a:gd name="T65" fmla="*/ 93 h 277"/>
                <a:gd name="T66" fmla="*/ 128 w 155"/>
                <a:gd name="T67" fmla="*/ 65 h 277"/>
                <a:gd name="T68" fmla="*/ 120 w 155"/>
                <a:gd name="T69" fmla="*/ 56 h 277"/>
                <a:gd name="T70" fmla="*/ 154 w 155"/>
                <a:gd name="T71" fmla="*/ 29 h 277"/>
                <a:gd name="T72" fmla="*/ 141 w 155"/>
                <a:gd name="T73" fmla="*/ 2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277">
                  <a:moveTo>
                    <a:pt x="141" y="20"/>
                  </a:moveTo>
                  <a:cubicBezTo>
                    <a:pt x="141" y="20"/>
                    <a:pt x="144" y="9"/>
                    <a:pt x="140" y="7"/>
                  </a:cubicBezTo>
                  <a:cubicBezTo>
                    <a:pt x="136" y="5"/>
                    <a:pt x="120" y="8"/>
                    <a:pt x="111" y="8"/>
                  </a:cubicBezTo>
                  <a:cubicBezTo>
                    <a:pt x="102" y="8"/>
                    <a:pt x="112" y="12"/>
                    <a:pt x="104" y="16"/>
                  </a:cubicBezTo>
                  <a:cubicBezTo>
                    <a:pt x="96" y="20"/>
                    <a:pt x="94" y="11"/>
                    <a:pt x="87" y="11"/>
                  </a:cubicBezTo>
                  <a:cubicBezTo>
                    <a:pt x="80" y="11"/>
                    <a:pt x="76" y="15"/>
                    <a:pt x="70" y="15"/>
                  </a:cubicBezTo>
                  <a:cubicBezTo>
                    <a:pt x="64" y="15"/>
                    <a:pt x="71" y="11"/>
                    <a:pt x="76" y="6"/>
                  </a:cubicBezTo>
                  <a:cubicBezTo>
                    <a:pt x="81" y="1"/>
                    <a:pt x="76" y="0"/>
                    <a:pt x="62" y="0"/>
                  </a:cubicBezTo>
                  <a:cubicBezTo>
                    <a:pt x="53" y="0"/>
                    <a:pt x="46" y="7"/>
                    <a:pt x="42" y="13"/>
                  </a:cubicBezTo>
                  <a:cubicBezTo>
                    <a:pt x="44" y="23"/>
                    <a:pt x="47" y="40"/>
                    <a:pt x="46" y="53"/>
                  </a:cubicBezTo>
                  <a:cubicBezTo>
                    <a:pt x="45" y="74"/>
                    <a:pt x="23" y="114"/>
                    <a:pt x="23" y="114"/>
                  </a:cubicBezTo>
                  <a:cubicBezTo>
                    <a:pt x="9" y="146"/>
                    <a:pt x="9" y="146"/>
                    <a:pt x="9" y="146"/>
                  </a:cubicBezTo>
                  <a:cubicBezTo>
                    <a:pt x="9" y="146"/>
                    <a:pt x="0" y="173"/>
                    <a:pt x="6" y="180"/>
                  </a:cubicBezTo>
                  <a:cubicBezTo>
                    <a:pt x="12" y="187"/>
                    <a:pt x="23" y="191"/>
                    <a:pt x="23" y="191"/>
                  </a:cubicBezTo>
                  <a:cubicBezTo>
                    <a:pt x="30" y="228"/>
                    <a:pt x="30" y="228"/>
                    <a:pt x="30" y="228"/>
                  </a:cubicBezTo>
                  <a:cubicBezTo>
                    <a:pt x="30" y="228"/>
                    <a:pt x="14" y="270"/>
                    <a:pt x="20" y="271"/>
                  </a:cubicBezTo>
                  <a:cubicBezTo>
                    <a:pt x="26" y="272"/>
                    <a:pt x="52" y="268"/>
                    <a:pt x="52" y="268"/>
                  </a:cubicBezTo>
                  <a:cubicBezTo>
                    <a:pt x="52" y="268"/>
                    <a:pt x="56" y="277"/>
                    <a:pt x="62" y="276"/>
                  </a:cubicBezTo>
                  <a:cubicBezTo>
                    <a:pt x="67" y="275"/>
                    <a:pt x="84" y="265"/>
                    <a:pt x="87" y="263"/>
                  </a:cubicBezTo>
                  <a:cubicBezTo>
                    <a:pt x="85" y="252"/>
                    <a:pt x="85" y="252"/>
                    <a:pt x="85" y="252"/>
                  </a:cubicBezTo>
                  <a:cubicBezTo>
                    <a:pt x="85" y="252"/>
                    <a:pt x="84" y="244"/>
                    <a:pt x="86" y="237"/>
                  </a:cubicBezTo>
                  <a:cubicBezTo>
                    <a:pt x="88" y="230"/>
                    <a:pt x="96" y="220"/>
                    <a:pt x="96" y="220"/>
                  </a:cubicBezTo>
                  <a:cubicBezTo>
                    <a:pt x="96" y="220"/>
                    <a:pt x="106" y="219"/>
                    <a:pt x="110" y="213"/>
                  </a:cubicBezTo>
                  <a:cubicBezTo>
                    <a:pt x="114" y="207"/>
                    <a:pt x="101" y="206"/>
                    <a:pt x="101" y="206"/>
                  </a:cubicBezTo>
                  <a:cubicBezTo>
                    <a:pt x="101" y="206"/>
                    <a:pt x="96" y="192"/>
                    <a:pt x="92" y="188"/>
                  </a:cubicBezTo>
                  <a:cubicBezTo>
                    <a:pt x="88" y="184"/>
                    <a:pt x="112" y="170"/>
                    <a:pt x="114" y="162"/>
                  </a:cubicBezTo>
                  <a:cubicBezTo>
                    <a:pt x="116" y="154"/>
                    <a:pt x="103" y="152"/>
                    <a:pt x="103" y="152"/>
                  </a:cubicBezTo>
                  <a:cubicBezTo>
                    <a:pt x="103" y="143"/>
                    <a:pt x="103" y="143"/>
                    <a:pt x="103" y="143"/>
                  </a:cubicBezTo>
                  <a:cubicBezTo>
                    <a:pt x="87" y="129"/>
                    <a:pt x="87" y="129"/>
                    <a:pt x="87" y="129"/>
                  </a:cubicBezTo>
                  <a:cubicBezTo>
                    <a:pt x="87" y="129"/>
                    <a:pt x="104" y="129"/>
                    <a:pt x="108" y="128"/>
                  </a:cubicBezTo>
                  <a:cubicBezTo>
                    <a:pt x="112" y="127"/>
                    <a:pt x="120" y="120"/>
                    <a:pt x="120" y="117"/>
                  </a:cubicBezTo>
                  <a:cubicBezTo>
                    <a:pt x="120" y="114"/>
                    <a:pt x="116" y="100"/>
                    <a:pt x="116" y="100"/>
                  </a:cubicBezTo>
                  <a:cubicBezTo>
                    <a:pt x="116" y="100"/>
                    <a:pt x="121" y="96"/>
                    <a:pt x="122" y="93"/>
                  </a:cubicBezTo>
                  <a:cubicBezTo>
                    <a:pt x="123" y="90"/>
                    <a:pt x="128" y="65"/>
                    <a:pt x="128" y="65"/>
                  </a:cubicBezTo>
                  <a:cubicBezTo>
                    <a:pt x="128" y="65"/>
                    <a:pt x="119" y="60"/>
                    <a:pt x="120" y="56"/>
                  </a:cubicBezTo>
                  <a:cubicBezTo>
                    <a:pt x="121" y="52"/>
                    <a:pt x="153" y="37"/>
                    <a:pt x="154" y="29"/>
                  </a:cubicBezTo>
                  <a:cubicBezTo>
                    <a:pt x="155" y="21"/>
                    <a:pt x="141" y="20"/>
                    <a:pt x="141" y="2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1" name="Freeform 40">
              <a:extLst>
                <a:ext uri="{FF2B5EF4-FFF2-40B4-BE49-F238E27FC236}">
                  <a16:creationId xmlns:a16="http://schemas.microsoft.com/office/drawing/2014/main" id="{8FF50943-9C37-481D-B3A1-5FD09A45C463}"/>
                </a:ext>
              </a:extLst>
            </p:cNvPr>
            <p:cNvSpPr>
              <a:spLocks/>
            </p:cNvSpPr>
            <p:nvPr/>
          </p:nvSpPr>
          <p:spPr bwMode="auto">
            <a:xfrm>
              <a:off x="4105351" y="3979503"/>
              <a:ext cx="109581" cy="216147"/>
            </a:xfrm>
            <a:custGeom>
              <a:avLst/>
              <a:gdLst>
                <a:gd name="T0" fmla="*/ 44 w 46"/>
                <a:gd name="T1" fmla="*/ 24 h 91"/>
                <a:gd name="T2" fmla="*/ 39 w 46"/>
                <a:gd name="T3" fmla="*/ 22 h 91"/>
                <a:gd name="T4" fmla="*/ 41 w 46"/>
                <a:gd name="T5" fmla="*/ 7 h 91"/>
                <a:gd name="T6" fmla="*/ 29 w 46"/>
                <a:gd name="T7" fmla="*/ 18 h 91"/>
                <a:gd name="T8" fmla="*/ 3 w 46"/>
                <a:gd name="T9" fmla="*/ 45 h 91"/>
                <a:gd name="T10" fmla="*/ 13 w 46"/>
                <a:gd name="T11" fmla="*/ 65 h 91"/>
                <a:gd name="T12" fmla="*/ 12 w 46"/>
                <a:gd name="T13" fmla="*/ 83 h 91"/>
                <a:gd name="T14" fmla="*/ 29 w 46"/>
                <a:gd name="T15" fmla="*/ 91 h 91"/>
                <a:gd name="T16" fmla="*/ 39 w 46"/>
                <a:gd name="T17" fmla="*/ 73 h 91"/>
                <a:gd name="T18" fmla="*/ 38 w 46"/>
                <a:gd name="T19" fmla="*/ 59 h 91"/>
                <a:gd name="T20" fmla="*/ 46 w 46"/>
                <a:gd name="T21" fmla="*/ 55 h 91"/>
                <a:gd name="T22" fmla="*/ 44 w 46"/>
                <a:gd name="T23" fmla="*/ 2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91">
                  <a:moveTo>
                    <a:pt x="44" y="24"/>
                  </a:moveTo>
                  <a:cubicBezTo>
                    <a:pt x="39" y="22"/>
                    <a:pt x="39" y="22"/>
                    <a:pt x="39" y="22"/>
                  </a:cubicBezTo>
                  <a:cubicBezTo>
                    <a:pt x="39" y="22"/>
                    <a:pt x="45" y="14"/>
                    <a:pt x="41" y="7"/>
                  </a:cubicBezTo>
                  <a:cubicBezTo>
                    <a:pt x="37" y="0"/>
                    <a:pt x="29" y="18"/>
                    <a:pt x="29" y="18"/>
                  </a:cubicBezTo>
                  <a:cubicBezTo>
                    <a:pt x="29" y="18"/>
                    <a:pt x="0" y="31"/>
                    <a:pt x="3" y="45"/>
                  </a:cubicBezTo>
                  <a:cubicBezTo>
                    <a:pt x="6" y="59"/>
                    <a:pt x="13" y="65"/>
                    <a:pt x="13" y="65"/>
                  </a:cubicBezTo>
                  <a:cubicBezTo>
                    <a:pt x="13" y="65"/>
                    <a:pt x="4" y="76"/>
                    <a:pt x="12" y="83"/>
                  </a:cubicBezTo>
                  <a:cubicBezTo>
                    <a:pt x="20" y="90"/>
                    <a:pt x="29" y="91"/>
                    <a:pt x="29" y="91"/>
                  </a:cubicBezTo>
                  <a:cubicBezTo>
                    <a:pt x="29" y="91"/>
                    <a:pt x="39" y="84"/>
                    <a:pt x="39" y="73"/>
                  </a:cubicBezTo>
                  <a:cubicBezTo>
                    <a:pt x="39" y="62"/>
                    <a:pt x="38" y="59"/>
                    <a:pt x="38" y="59"/>
                  </a:cubicBezTo>
                  <a:cubicBezTo>
                    <a:pt x="46" y="55"/>
                    <a:pt x="46" y="55"/>
                    <a:pt x="46" y="55"/>
                  </a:cubicBezTo>
                  <a:lnTo>
                    <a:pt x="44" y="24"/>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2" name="Freeform 41">
              <a:extLst>
                <a:ext uri="{FF2B5EF4-FFF2-40B4-BE49-F238E27FC236}">
                  <a16:creationId xmlns:a16="http://schemas.microsoft.com/office/drawing/2014/main" id="{DA2B4461-4549-4807-B520-EC2A50FB9D81}"/>
                </a:ext>
              </a:extLst>
            </p:cNvPr>
            <p:cNvSpPr>
              <a:spLocks/>
            </p:cNvSpPr>
            <p:nvPr/>
          </p:nvSpPr>
          <p:spPr bwMode="auto">
            <a:xfrm>
              <a:off x="2775296" y="2977187"/>
              <a:ext cx="1301905" cy="1099834"/>
            </a:xfrm>
            <a:custGeom>
              <a:avLst/>
              <a:gdLst>
                <a:gd name="T0" fmla="*/ 520 w 548"/>
                <a:gd name="T1" fmla="*/ 103 h 463"/>
                <a:gd name="T2" fmla="*/ 496 w 548"/>
                <a:gd name="T3" fmla="*/ 100 h 463"/>
                <a:gd name="T4" fmla="*/ 480 w 548"/>
                <a:gd name="T5" fmla="*/ 87 h 463"/>
                <a:gd name="T6" fmla="*/ 464 w 548"/>
                <a:gd name="T7" fmla="*/ 78 h 463"/>
                <a:gd name="T8" fmla="*/ 450 w 548"/>
                <a:gd name="T9" fmla="*/ 81 h 463"/>
                <a:gd name="T10" fmla="*/ 433 w 548"/>
                <a:gd name="T11" fmla="*/ 77 h 463"/>
                <a:gd name="T12" fmla="*/ 409 w 548"/>
                <a:gd name="T13" fmla="*/ 54 h 463"/>
                <a:gd name="T14" fmla="*/ 384 w 548"/>
                <a:gd name="T15" fmla="*/ 61 h 463"/>
                <a:gd name="T16" fmla="*/ 356 w 548"/>
                <a:gd name="T17" fmla="*/ 37 h 463"/>
                <a:gd name="T18" fmla="*/ 333 w 548"/>
                <a:gd name="T19" fmla="*/ 26 h 463"/>
                <a:gd name="T20" fmla="*/ 328 w 548"/>
                <a:gd name="T21" fmla="*/ 3 h 463"/>
                <a:gd name="T22" fmla="*/ 271 w 548"/>
                <a:gd name="T23" fmla="*/ 12 h 463"/>
                <a:gd name="T24" fmla="*/ 275 w 548"/>
                <a:gd name="T25" fmla="*/ 52 h 463"/>
                <a:gd name="T26" fmla="*/ 217 w 548"/>
                <a:gd name="T27" fmla="*/ 80 h 463"/>
                <a:gd name="T28" fmla="*/ 191 w 548"/>
                <a:gd name="T29" fmla="*/ 97 h 463"/>
                <a:gd name="T30" fmla="*/ 156 w 548"/>
                <a:gd name="T31" fmla="*/ 76 h 463"/>
                <a:gd name="T32" fmla="*/ 148 w 548"/>
                <a:gd name="T33" fmla="*/ 96 h 463"/>
                <a:gd name="T34" fmla="*/ 106 w 548"/>
                <a:gd name="T35" fmla="*/ 125 h 463"/>
                <a:gd name="T36" fmla="*/ 77 w 548"/>
                <a:gd name="T37" fmla="*/ 117 h 463"/>
                <a:gd name="T38" fmla="*/ 12 w 548"/>
                <a:gd name="T39" fmla="*/ 136 h 463"/>
                <a:gd name="T40" fmla="*/ 6 w 548"/>
                <a:gd name="T41" fmla="*/ 161 h 463"/>
                <a:gd name="T42" fmla="*/ 38 w 548"/>
                <a:gd name="T43" fmla="*/ 166 h 463"/>
                <a:gd name="T44" fmla="*/ 90 w 548"/>
                <a:gd name="T45" fmla="*/ 184 h 463"/>
                <a:gd name="T46" fmla="*/ 128 w 548"/>
                <a:gd name="T47" fmla="*/ 199 h 463"/>
                <a:gd name="T48" fmla="*/ 132 w 548"/>
                <a:gd name="T49" fmla="*/ 244 h 463"/>
                <a:gd name="T50" fmla="*/ 151 w 548"/>
                <a:gd name="T51" fmla="*/ 277 h 463"/>
                <a:gd name="T52" fmla="*/ 173 w 548"/>
                <a:gd name="T53" fmla="*/ 320 h 463"/>
                <a:gd name="T54" fmla="*/ 149 w 548"/>
                <a:gd name="T55" fmla="*/ 333 h 463"/>
                <a:gd name="T56" fmla="*/ 118 w 548"/>
                <a:gd name="T57" fmla="*/ 409 h 463"/>
                <a:gd name="T58" fmla="*/ 134 w 548"/>
                <a:gd name="T59" fmla="*/ 414 h 463"/>
                <a:gd name="T60" fmla="*/ 155 w 548"/>
                <a:gd name="T61" fmla="*/ 427 h 463"/>
                <a:gd name="T62" fmla="*/ 182 w 548"/>
                <a:gd name="T63" fmla="*/ 435 h 463"/>
                <a:gd name="T64" fmla="*/ 207 w 548"/>
                <a:gd name="T65" fmla="*/ 441 h 463"/>
                <a:gd name="T66" fmla="*/ 222 w 548"/>
                <a:gd name="T67" fmla="*/ 446 h 463"/>
                <a:gd name="T68" fmla="*/ 242 w 548"/>
                <a:gd name="T69" fmla="*/ 441 h 463"/>
                <a:gd name="T70" fmla="*/ 253 w 548"/>
                <a:gd name="T71" fmla="*/ 446 h 463"/>
                <a:gd name="T72" fmla="*/ 272 w 548"/>
                <a:gd name="T73" fmla="*/ 445 h 463"/>
                <a:gd name="T74" fmla="*/ 278 w 548"/>
                <a:gd name="T75" fmla="*/ 459 h 463"/>
                <a:gd name="T76" fmla="*/ 298 w 548"/>
                <a:gd name="T77" fmla="*/ 463 h 463"/>
                <a:gd name="T78" fmla="*/ 313 w 548"/>
                <a:gd name="T79" fmla="*/ 453 h 463"/>
                <a:gd name="T80" fmla="*/ 319 w 548"/>
                <a:gd name="T81" fmla="*/ 450 h 463"/>
                <a:gd name="T82" fmla="*/ 378 w 548"/>
                <a:gd name="T83" fmla="*/ 397 h 463"/>
                <a:gd name="T84" fmla="*/ 423 w 548"/>
                <a:gd name="T85" fmla="*/ 406 h 463"/>
                <a:gd name="T86" fmla="*/ 476 w 548"/>
                <a:gd name="T87" fmla="*/ 421 h 463"/>
                <a:gd name="T88" fmla="*/ 513 w 548"/>
                <a:gd name="T89" fmla="*/ 388 h 463"/>
                <a:gd name="T90" fmla="*/ 523 w 548"/>
                <a:gd name="T91" fmla="*/ 369 h 463"/>
                <a:gd name="T92" fmla="*/ 503 w 548"/>
                <a:gd name="T93" fmla="*/ 361 h 463"/>
                <a:gd name="T94" fmla="*/ 496 w 548"/>
                <a:gd name="T95" fmla="*/ 335 h 463"/>
                <a:gd name="T96" fmla="*/ 484 w 548"/>
                <a:gd name="T97" fmla="*/ 327 h 463"/>
                <a:gd name="T98" fmla="*/ 487 w 548"/>
                <a:gd name="T99" fmla="*/ 312 h 463"/>
                <a:gd name="T100" fmla="*/ 495 w 548"/>
                <a:gd name="T101" fmla="*/ 289 h 463"/>
                <a:gd name="T102" fmla="*/ 497 w 548"/>
                <a:gd name="T103" fmla="*/ 273 h 463"/>
                <a:gd name="T104" fmla="*/ 491 w 548"/>
                <a:gd name="T105" fmla="*/ 245 h 463"/>
                <a:gd name="T106" fmla="*/ 458 w 548"/>
                <a:gd name="T107" fmla="*/ 259 h 463"/>
                <a:gd name="T108" fmla="*/ 456 w 548"/>
                <a:gd name="T109" fmla="*/ 242 h 463"/>
                <a:gd name="T110" fmla="*/ 477 w 548"/>
                <a:gd name="T111" fmla="*/ 213 h 463"/>
                <a:gd name="T112" fmla="*/ 499 w 548"/>
                <a:gd name="T113" fmla="*/ 198 h 463"/>
                <a:gd name="T114" fmla="*/ 517 w 548"/>
                <a:gd name="T115" fmla="*/ 196 h 463"/>
                <a:gd name="T116" fmla="*/ 520 w 548"/>
                <a:gd name="T117" fmla="*/ 166 h 463"/>
                <a:gd name="T118" fmla="*/ 532 w 548"/>
                <a:gd name="T119" fmla="*/ 128 h 463"/>
                <a:gd name="T120" fmla="*/ 548 w 548"/>
                <a:gd name="T121" fmla="*/ 111 h 463"/>
                <a:gd name="T122" fmla="*/ 520 w 548"/>
                <a:gd name="T123" fmla="*/ 107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8" h="463">
                  <a:moveTo>
                    <a:pt x="520" y="107"/>
                  </a:moveTo>
                  <a:cubicBezTo>
                    <a:pt x="520" y="103"/>
                    <a:pt x="520" y="103"/>
                    <a:pt x="520" y="103"/>
                  </a:cubicBezTo>
                  <a:cubicBezTo>
                    <a:pt x="520" y="103"/>
                    <a:pt x="506" y="107"/>
                    <a:pt x="500" y="106"/>
                  </a:cubicBezTo>
                  <a:cubicBezTo>
                    <a:pt x="494" y="105"/>
                    <a:pt x="496" y="100"/>
                    <a:pt x="496" y="100"/>
                  </a:cubicBezTo>
                  <a:cubicBezTo>
                    <a:pt x="479" y="100"/>
                    <a:pt x="479" y="100"/>
                    <a:pt x="479" y="100"/>
                  </a:cubicBezTo>
                  <a:cubicBezTo>
                    <a:pt x="479" y="100"/>
                    <a:pt x="483" y="90"/>
                    <a:pt x="480" y="87"/>
                  </a:cubicBezTo>
                  <a:cubicBezTo>
                    <a:pt x="477" y="84"/>
                    <a:pt x="475" y="80"/>
                    <a:pt x="475" y="80"/>
                  </a:cubicBezTo>
                  <a:cubicBezTo>
                    <a:pt x="464" y="78"/>
                    <a:pt x="464" y="78"/>
                    <a:pt x="464" y="78"/>
                  </a:cubicBezTo>
                  <a:cubicBezTo>
                    <a:pt x="455" y="85"/>
                    <a:pt x="455" y="85"/>
                    <a:pt x="455" y="85"/>
                  </a:cubicBezTo>
                  <a:cubicBezTo>
                    <a:pt x="450" y="81"/>
                    <a:pt x="450" y="81"/>
                    <a:pt x="450" y="81"/>
                  </a:cubicBezTo>
                  <a:cubicBezTo>
                    <a:pt x="436" y="81"/>
                    <a:pt x="436" y="81"/>
                    <a:pt x="436" y="81"/>
                  </a:cubicBezTo>
                  <a:cubicBezTo>
                    <a:pt x="436" y="81"/>
                    <a:pt x="435" y="80"/>
                    <a:pt x="433" y="77"/>
                  </a:cubicBezTo>
                  <a:cubicBezTo>
                    <a:pt x="431" y="74"/>
                    <a:pt x="409" y="70"/>
                    <a:pt x="409" y="70"/>
                  </a:cubicBezTo>
                  <a:cubicBezTo>
                    <a:pt x="409" y="54"/>
                    <a:pt x="409" y="54"/>
                    <a:pt x="409" y="54"/>
                  </a:cubicBezTo>
                  <a:cubicBezTo>
                    <a:pt x="399" y="61"/>
                    <a:pt x="399" y="61"/>
                    <a:pt x="399" y="61"/>
                  </a:cubicBezTo>
                  <a:cubicBezTo>
                    <a:pt x="384" y="61"/>
                    <a:pt x="384" y="61"/>
                    <a:pt x="384" y="61"/>
                  </a:cubicBezTo>
                  <a:cubicBezTo>
                    <a:pt x="384" y="61"/>
                    <a:pt x="384" y="45"/>
                    <a:pt x="379" y="42"/>
                  </a:cubicBezTo>
                  <a:cubicBezTo>
                    <a:pt x="374" y="39"/>
                    <a:pt x="356" y="37"/>
                    <a:pt x="356" y="37"/>
                  </a:cubicBezTo>
                  <a:cubicBezTo>
                    <a:pt x="349" y="30"/>
                    <a:pt x="349" y="30"/>
                    <a:pt x="349" y="30"/>
                  </a:cubicBezTo>
                  <a:cubicBezTo>
                    <a:pt x="333" y="26"/>
                    <a:pt x="333" y="26"/>
                    <a:pt x="333" y="26"/>
                  </a:cubicBezTo>
                  <a:cubicBezTo>
                    <a:pt x="327" y="12"/>
                    <a:pt x="327" y="12"/>
                    <a:pt x="327" y="12"/>
                  </a:cubicBezTo>
                  <a:cubicBezTo>
                    <a:pt x="328" y="3"/>
                    <a:pt x="328" y="3"/>
                    <a:pt x="328" y="3"/>
                  </a:cubicBezTo>
                  <a:cubicBezTo>
                    <a:pt x="328" y="3"/>
                    <a:pt x="312" y="0"/>
                    <a:pt x="302" y="4"/>
                  </a:cubicBezTo>
                  <a:cubicBezTo>
                    <a:pt x="292" y="8"/>
                    <a:pt x="267" y="4"/>
                    <a:pt x="271" y="12"/>
                  </a:cubicBezTo>
                  <a:cubicBezTo>
                    <a:pt x="275" y="20"/>
                    <a:pt x="278" y="27"/>
                    <a:pt x="278" y="27"/>
                  </a:cubicBezTo>
                  <a:cubicBezTo>
                    <a:pt x="278" y="27"/>
                    <a:pt x="286" y="44"/>
                    <a:pt x="275" y="52"/>
                  </a:cubicBezTo>
                  <a:cubicBezTo>
                    <a:pt x="264" y="60"/>
                    <a:pt x="242" y="60"/>
                    <a:pt x="242" y="60"/>
                  </a:cubicBezTo>
                  <a:cubicBezTo>
                    <a:pt x="217" y="80"/>
                    <a:pt x="217" y="80"/>
                    <a:pt x="217" y="80"/>
                  </a:cubicBezTo>
                  <a:cubicBezTo>
                    <a:pt x="226" y="86"/>
                    <a:pt x="226" y="86"/>
                    <a:pt x="226" y="86"/>
                  </a:cubicBezTo>
                  <a:cubicBezTo>
                    <a:pt x="226" y="86"/>
                    <a:pt x="206" y="98"/>
                    <a:pt x="191" y="97"/>
                  </a:cubicBezTo>
                  <a:cubicBezTo>
                    <a:pt x="176" y="96"/>
                    <a:pt x="167" y="91"/>
                    <a:pt x="167" y="91"/>
                  </a:cubicBezTo>
                  <a:cubicBezTo>
                    <a:pt x="156" y="76"/>
                    <a:pt x="156" y="76"/>
                    <a:pt x="156" y="76"/>
                  </a:cubicBezTo>
                  <a:cubicBezTo>
                    <a:pt x="156" y="76"/>
                    <a:pt x="135" y="68"/>
                    <a:pt x="136" y="75"/>
                  </a:cubicBezTo>
                  <a:cubicBezTo>
                    <a:pt x="137" y="82"/>
                    <a:pt x="148" y="96"/>
                    <a:pt x="148" y="96"/>
                  </a:cubicBezTo>
                  <a:cubicBezTo>
                    <a:pt x="148" y="96"/>
                    <a:pt x="161" y="120"/>
                    <a:pt x="143" y="123"/>
                  </a:cubicBezTo>
                  <a:cubicBezTo>
                    <a:pt x="125" y="126"/>
                    <a:pt x="106" y="125"/>
                    <a:pt x="106" y="125"/>
                  </a:cubicBezTo>
                  <a:cubicBezTo>
                    <a:pt x="99" y="136"/>
                    <a:pt x="99" y="136"/>
                    <a:pt x="99" y="136"/>
                  </a:cubicBezTo>
                  <a:cubicBezTo>
                    <a:pt x="99" y="136"/>
                    <a:pt x="83" y="116"/>
                    <a:pt x="77" y="117"/>
                  </a:cubicBezTo>
                  <a:cubicBezTo>
                    <a:pt x="71" y="118"/>
                    <a:pt x="51" y="124"/>
                    <a:pt x="51" y="124"/>
                  </a:cubicBezTo>
                  <a:cubicBezTo>
                    <a:pt x="51" y="124"/>
                    <a:pt x="15" y="129"/>
                    <a:pt x="12" y="136"/>
                  </a:cubicBezTo>
                  <a:cubicBezTo>
                    <a:pt x="9" y="143"/>
                    <a:pt x="31" y="149"/>
                    <a:pt x="30" y="152"/>
                  </a:cubicBezTo>
                  <a:cubicBezTo>
                    <a:pt x="29" y="155"/>
                    <a:pt x="0" y="153"/>
                    <a:pt x="6" y="161"/>
                  </a:cubicBezTo>
                  <a:cubicBezTo>
                    <a:pt x="12" y="169"/>
                    <a:pt x="31" y="170"/>
                    <a:pt x="31" y="170"/>
                  </a:cubicBezTo>
                  <a:cubicBezTo>
                    <a:pt x="38" y="166"/>
                    <a:pt x="38" y="166"/>
                    <a:pt x="38" y="166"/>
                  </a:cubicBezTo>
                  <a:cubicBezTo>
                    <a:pt x="70" y="184"/>
                    <a:pt x="70" y="184"/>
                    <a:pt x="70" y="184"/>
                  </a:cubicBezTo>
                  <a:cubicBezTo>
                    <a:pt x="90" y="184"/>
                    <a:pt x="90" y="184"/>
                    <a:pt x="90" y="184"/>
                  </a:cubicBezTo>
                  <a:cubicBezTo>
                    <a:pt x="102" y="196"/>
                    <a:pt x="102" y="196"/>
                    <a:pt x="102" y="196"/>
                  </a:cubicBezTo>
                  <a:cubicBezTo>
                    <a:pt x="128" y="199"/>
                    <a:pt x="128" y="199"/>
                    <a:pt x="128" y="199"/>
                  </a:cubicBezTo>
                  <a:cubicBezTo>
                    <a:pt x="109" y="209"/>
                    <a:pt x="109" y="209"/>
                    <a:pt x="109" y="209"/>
                  </a:cubicBezTo>
                  <a:cubicBezTo>
                    <a:pt x="109" y="209"/>
                    <a:pt x="128" y="240"/>
                    <a:pt x="132" y="244"/>
                  </a:cubicBezTo>
                  <a:cubicBezTo>
                    <a:pt x="136" y="248"/>
                    <a:pt x="153" y="248"/>
                    <a:pt x="153" y="248"/>
                  </a:cubicBezTo>
                  <a:cubicBezTo>
                    <a:pt x="151" y="277"/>
                    <a:pt x="151" y="277"/>
                    <a:pt x="151" y="277"/>
                  </a:cubicBezTo>
                  <a:cubicBezTo>
                    <a:pt x="164" y="297"/>
                    <a:pt x="164" y="297"/>
                    <a:pt x="164" y="297"/>
                  </a:cubicBezTo>
                  <a:cubicBezTo>
                    <a:pt x="173" y="320"/>
                    <a:pt x="173" y="320"/>
                    <a:pt x="173" y="320"/>
                  </a:cubicBezTo>
                  <a:cubicBezTo>
                    <a:pt x="152" y="294"/>
                    <a:pt x="152" y="294"/>
                    <a:pt x="152" y="294"/>
                  </a:cubicBezTo>
                  <a:cubicBezTo>
                    <a:pt x="152" y="294"/>
                    <a:pt x="150" y="323"/>
                    <a:pt x="149" y="333"/>
                  </a:cubicBezTo>
                  <a:cubicBezTo>
                    <a:pt x="148" y="343"/>
                    <a:pt x="137" y="383"/>
                    <a:pt x="132" y="391"/>
                  </a:cubicBezTo>
                  <a:cubicBezTo>
                    <a:pt x="128" y="398"/>
                    <a:pt x="130" y="407"/>
                    <a:pt x="118" y="409"/>
                  </a:cubicBezTo>
                  <a:cubicBezTo>
                    <a:pt x="119" y="415"/>
                    <a:pt x="119" y="415"/>
                    <a:pt x="119" y="415"/>
                  </a:cubicBezTo>
                  <a:cubicBezTo>
                    <a:pt x="119" y="415"/>
                    <a:pt x="128" y="407"/>
                    <a:pt x="134" y="414"/>
                  </a:cubicBezTo>
                  <a:cubicBezTo>
                    <a:pt x="140" y="421"/>
                    <a:pt x="134" y="424"/>
                    <a:pt x="134" y="424"/>
                  </a:cubicBezTo>
                  <a:cubicBezTo>
                    <a:pt x="134" y="424"/>
                    <a:pt x="148" y="426"/>
                    <a:pt x="155" y="427"/>
                  </a:cubicBezTo>
                  <a:cubicBezTo>
                    <a:pt x="162" y="428"/>
                    <a:pt x="168" y="437"/>
                    <a:pt x="168" y="437"/>
                  </a:cubicBezTo>
                  <a:cubicBezTo>
                    <a:pt x="168" y="437"/>
                    <a:pt x="178" y="433"/>
                    <a:pt x="182" y="435"/>
                  </a:cubicBezTo>
                  <a:cubicBezTo>
                    <a:pt x="186" y="437"/>
                    <a:pt x="187" y="440"/>
                    <a:pt x="187" y="440"/>
                  </a:cubicBezTo>
                  <a:cubicBezTo>
                    <a:pt x="207" y="441"/>
                    <a:pt x="207" y="441"/>
                    <a:pt x="207" y="441"/>
                  </a:cubicBezTo>
                  <a:cubicBezTo>
                    <a:pt x="209" y="449"/>
                    <a:pt x="209" y="449"/>
                    <a:pt x="209" y="449"/>
                  </a:cubicBezTo>
                  <a:cubicBezTo>
                    <a:pt x="222" y="446"/>
                    <a:pt x="222" y="446"/>
                    <a:pt x="222" y="446"/>
                  </a:cubicBezTo>
                  <a:cubicBezTo>
                    <a:pt x="222" y="446"/>
                    <a:pt x="216" y="434"/>
                    <a:pt x="229" y="434"/>
                  </a:cubicBezTo>
                  <a:cubicBezTo>
                    <a:pt x="242" y="434"/>
                    <a:pt x="242" y="441"/>
                    <a:pt x="242" y="441"/>
                  </a:cubicBezTo>
                  <a:cubicBezTo>
                    <a:pt x="251" y="442"/>
                    <a:pt x="251" y="442"/>
                    <a:pt x="251" y="442"/>
                  </a:cubicBezTo>
                  <a:cubicBezTo>
                    <a:pt x="253" y="446"/>
                    <a:pt x="253" y="446"/>
                    <a:pt x="253" y="446"/>
                  </a:cubicBezTo>
                  <a:cubicBezTo>
                    <a:pt x="254" y="445"/>
                    <a:pt x="256" y="445"/>
                    <a:pt x="258" y="445"/>
                  </a:cubicBezTo>
                  <a:cubicBezTo>
                    <a:pt x="268" y="444"/>
                    <a:pt x="272" y="445"/>
                    <a:pt x="272" y="445"/>
                  </a:cubicBezTo>
                  <a:cubicBezTo>
                    <a:pt x="273" y="454"/>
                    <a:pt x="273" y="454"/>
                    <a:pt x="273" y="454"/>
                  </a:cubicBezTo>
                  <a:cubicBezTo>
                    <a:pt x="276" y="455"/>
                    <a:pt x="278" y="459"/>
                    <a:pt x="278" y="459"/>
                  </a:cubicBezTo>
                  <a:cubicBezTo>
                    <a:pt x="278" y="459"/>
                    <a:pt x="285" y="457"/>
                    <a:pt x="288" y="456"/>
                  </a:cubicBezTo>
                  <a:cubicBezTo>
                    <a:pt x="291" y="455"/>
                    <a:pt x="298" y="463"/>
                    <a:pt x="298" y="463"/>
                  </a:cubicBezTo>
                  <a:cubicBezTo>
                    <a:pt x="298" y="463"/>
                    <a:pt x="299" y="463"/>
                    <a:pt x="306" y="463"/>
                  </a:cubicBezTo>
                  <a:cubicBezTo>
                    <a:pt x="313" y="463"/>
                    <a:pt x="313" y="453"/>
                    <a:pt x="313" y="453"/>
                  </a:cubicBezTo>
                  <a:cubicBezTo>
                    <a:pt x="320" y="453"/>
                    <a:pt x="320" y="453"/>
                    <a:pt x="320" y="453"/>
                  </a:cubicBezTo>
                  <a:cubicBezTo>
                    <a:pt x="319" y="452"/>
                    <a:pt x="319" y="451"/>
                    <a:pt x="319" y="450"/>
                  </a:cubicBezTo>
                  <a:cubicBezTo>
                    <a:pt x="319" y="440"/>
                    <a:pt x="334" y="417"/>
                    <a:pt x="341" y="413"/>
                  </a:cubicBezTo>
                  <a:cubicBezTo>
                    <a:pt x="348" y="409"/>
                    <a:pt x="369" y="392"/>
                    <a:pt x="378" y="397"/>
                  </a:cubicBezTo>
                  <a:cubicBezTo>
                    <a:pt x="387" y="402"/>
                    <a:pt x="395" y="407"/>
                    <a:pt x="395" y="407"/>
                  </a:cubicBezTo>
                  <a:cubicBezTo>
                    <a:pt x="395" y="407"/>
                    <a:pt x="418" y="401"/>
                    <a:pt x="423" y="406"/>
                  </a:cubicBezTo>
                  <a:cubicBezTo>
                    <a:pt x="428" y="411"/>
                    <a:pt x="435" y="419"/>
                    <a:pt x="438" y="421"/>
                  </a:cubicBezTo>
                  <a:cubicBezTo>
                    <a:pt x="438" y="421"/>
                    <a:pt x="463" y="431"/>
                    <a:pt x="476" y="421"/>
                  </a:cubicBezTo>
                  <a:cubicBezTo>
                    <a:pt x="489" y="411"/>
                    <a:pt x="493" y="392"/>
                    <a:pt x="499" y="390"/>
                  </a:cubicBezTo>
                  <a:cubicBezTo>
                    <a:pt x="501" y="389"/>
                    <a:pt x="507" y="389"/>
                    <a:pt x="513" y="388"/>
                  </a:cubicBezTo>
                  <a:cubicBezTo>
                    <a:pt x="513" y="385"/>
                    <a:pt x="514" y="383"/>
                    <a:pt x="516" y="383"/>
                  </a:cubicBezTo>
                  <a:cubicBezTo>
                    <a:pt x="520" y="383"/>
                    <a:pt x="526" y="373"/>
                    <a:pt x="523" y="369"/>
                  </a:cubicBezTo>
                  <a:cubicBezTo>
                    <a:pt x="520" y="365"/>
                    <a:pt x="506" y="367"/>
                    <a:pt x="506" y="367"/>
                  </a:cubicBezTo>
                  <a:cubicBezTo>
                    <a:pt x="503" y="361"/>
                    <a:pt x="503" y="361"/>
                    <a:pt x="503" y="361"/>
                  </a:cubicBezTo>
                  <a:cubicBezTo>
                    <a:pt x="503" y="361"/>
                    <a:pt x="489" y="360"/>
                    <a:pt x="490" y="350"/>
                  </a:cubicBezTo>
                  <a:cubicBezTo>
                    <a:pt x="491" y="340"/>
                    <a:pt x="497" y="340"/>
                    <a:pt x="496" y="335"/>
                  </a:cubicBezTo>
                  <a:cubicBezTo>
                    <a:pt x="495" y="330"/>
                    <a:pt x="491" y="327"/>
                    <a:pt x="491" y="327"/>
                  </a:cubicBezTo>
                  <a:cubicBezTo>
                    <a:pt x="484" y="327"/>
                    <a:pt x="484" y="327"/>
                    <a:pt x="484" y="327"/>
                  </a:cubicBezTo>
                  <a:cubicBezTo>
                    <a:pt x="478" y="314"/>
                    <a:pt x="478" y="314"/>
                    <a:pt x="478" y="314"/>
                  </a:cubicBezTo>
                  <a:cubicBezTo>
                    <a:pt x="487" y="312"/>
                    <a:pt x="487" y="312"/>
                    <a:pt x="487" y="312"/>
                  </a:cubicBezTo>
                  <a:cubicBezTo>
                    <a:pt x="487" y="312"/>
                    <a:pt x="506" y="311"/>
                    <a:pt x="506" y="302"/>
                  </a:cubicBezTo>
                  <a:cubicBezTo>
                    <a:pt x="506" y="293"/>
                    <a:pt x="495" y="289"/>
                    <a:pt x="495" y="289"/>
                  </a:cubicBezTo>
                  <a:cubicBezTo>
                    <a:pt x="487" y="281"/>
                    <a:pt x="487" y="281"/>
                    <a:pt x="487" y="281"/>
                  </a:cubicBezTo>
                  <a:cubicBezTo>
                    <a:pt x="487" y="281"/>
                    <a:pt x="497" y="277"/>
                    <a:pt x="497" y="273"/>
                  </a:cubicBezTo>
                  <a:cubicBezTo>
                    <a:pt x="497" y="269"/>
                    <a:pt x="490" y="263"/>
                    <a:pt x="490" y="263"/>
                  </a:cubicBezTo>
                  <a:cubicBezTo>
                    <a:pt x="491" y="245"/>
                    <a:pt x="491" y="245"/>
                    <a:pt x="491" y="245"/>
                  </a:cubicBezTo>
                  <a:cubicBezTo>
                    <a:pt x="491" y="245"/>
                    <a:pt x="483" y="239"/>
                    <a:pt x="476" y="243"/>
                  </a:cubicBezTo>
                  <a:cubicBezTo>
                    <a:pt x="469" y="247"/>
                    <a:pt x="464" y="260"/>
                    <a:pt x="458" y="259"/>
                  </a:cubicBezTo>
                  <a:cubicBezTo>
                    <a:pt x="452" y="258"/>
                    <a:pt x="462" y="250"/>
                    <a:pt x="462" y="250"/>
                  </a:cubicBezTo>
                  <a:cubicBezTo>
                    <a:pt x="456" y="242"/>
                    <a:pt x="456" y="242"/>
                    <a:pt x="456" y="242"/>
                  </a:cubicBezTo>
                  <a:cubicBezTo>
                    <a:pt x="456" y="242"/>
                    <a:pt x="468" y="233"/>
                    <a:pt x="474" y="226"/>
                  </a:cubicBezTo>
                  <a:cubicBezTo>
                    <a:pt x="480" y="219"/>
                    <a:pt x="477" y="213"/>
                    <a:pt x="477" y="213"/>
                  </a:cubicBezTo>
                  <a:cubicBezTo>
                    <a:pt x="477" y="213"/>
                    <a:pt x="483" y="219"/>
                    <a:pt x="488" y="213"/>
                  </a:cubicBezTo>
                  <a:cubicBezTo>
                    <a:pt x="493" y="207"/>
                    <a:pt x="499" y="198"/>
                    <a:pt x="499" y="198"/>
                  </a:cubicBezTo>
                  <a:cubicBezTo>
                    <a:pt x="504" y="189"/>
                    <a:pt x="504" y="189"/>
                    <a:pt x="504" y="189"/>
                  </a:cubicBezTo>
                  <a:cubicBezTo>
                    <a:pt x="517" y="196"/>
                    <a:pt x="517" y="196"/>
                    <a:pt x="517" y="196"/>
                  </a:cubicBezTo>
                  <a:cubicBezTo>
                    <a:pt x="522" y="186"/>
                    <a:pt x="522" y="186"/>
                    <a:pt x="522" y="186"/>
                  </a:cubicBezTo>
                  <a:cubicBezTo>
                    <a:pt x="522" y="186"/>
                    <a:pt x="518" y="177"/>
                    <a:pt x="520" y="166"/>
                  </a:cubicBezTo>
                  <a:cubicBezTo>
                    <a:pt x="522" y="155"/>
                    <a:pt x="532" y="136"/>
                    <a:pt x="532" y="136"/>
                  </a:cubicBezTo>
                  <a:cubicBezTo>
                    <a:pt x="532" y="128"/>
                    <a:pt x="532" y="128"/>
                    <a:pt x="532" y="128"/>
                  </a:cubicBezTo>
                  <a:cubicBezTo>
                    <a:pt x="546" y="117"/>
                    <a:pt x="546" y="117"/>
                    <a:pt x="546" y="117"/>
                  </a:cubicBezTo>
                  <a:cubicBezTo>
                    <a:pt x="548" y="111"/>
                    <a:pt x="548" y="111"/>
                    <a:pt x="548" y="111"/>
                  </a:cubicBezTo>
                  <a:cubicBezTo>
                    <a:pt x="538" y="106"/>
                    <a:pt x="538" y="106"/>
                    <a:pt x="538" y="106"/>
                  </a:cubicBezTo>
                  <a:lnTo>
                    <a:pt x="520" y="107"/>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3" name="Freeform 42">
              <a:extLst>
                <a:ext uri="{FF2B5EF4-FFF2-40B4-BE49-F238E27FC236}">
                  <a16:creationId xmlns:a16="http://schemas.microsoft.com/office/drawing/2014/main" id="{A6957DBA-A057-4697-9B48-8D8210DC5717}"/>
                </a:ext>
              </a:extLst>
            </p:cNvPr>
            <p:cNvSpPr>
              <a:spLocks noEditPoints="1"/>
            </p:cNvSpPr>
            <p:nvPr/>
          </p:nvSpPr>
          <p:spPr bwMode="auto">
            <a:xfrm>
              <a:off x="2523963" y="1814017"/>
              <a:ext cx="937976" cy="1303916"/>
            </a:xfrm>
            <a:custGeom>
              <a:avLst/>
              <a:gdLst>
                <a:gd name="T0" fmla="*/ 118 w 395"/>
                <a:gd name="T1" fmla="*/ 256 h 549"/>
                <a:gd name="T2" fmla="*/ 111 w 395"/>
                <a:gd name="T3" fmla="*/ 221 h 549"/>
                <a:gd name="T4" fmla="*/ 98 w 395"/>
                <a:gd name="T5" fmla="*/ 248 h 549"/>
                <a:gd name="T6" fmla="*/ 222 w 395"/>
                <a:gd name="T7" fmla="*/ 93 h 549"/>
                <a:gd name="T8" fmla="*/ 97 w 395"/>
                <a:gd name="T9" fmla="*/ 159 h 549"/>
                <a:gd name="T10" fmla="*/ 93 w 395"/>
                <a:gd name="T11" fmla="*/ 183 h 549"/>
                <a:gd name="T12" fmla="*/ 325 w 395"/>
                <a:gd name="T13" fmla="*/ 1 h 549"/>
                <a:gd name="T14" fmla="*/ 296 w 395"/>
                <a:gd name="T15" fmla="*/ 36 h 549"/>
                <a:gd name="T16" fmla="*/ 301 w 395"/>
                <a:gd name="T17" fmla="*/ 12 h 549"/>
                <a:gd name="T18" fmla="*/ 296 w 395"/>
                <a:gd name="T19" fmla="*/ 36 h 549"/>
                <a:gd name="T20" fmla="*/ 247 w 395"/>
                <a:gd name="T21" fmla="*/ 96 h 549"/>
                <a:gd name="T22" fmla="*/ 128 w 395"/>
                <a:gd name="T23" fmla="*/ 258 h 549"/>
                <a:gd name="T24" fmla="*/ 331 w 395"/>
                <a:gd name="T25" fmla="*/ 402 h 549"/>
                <a:gd name="T26" fmla="*/ 330 w 395"/>
                <a:gd name="T27" fmla="*/ 357 h 549"/>
                <a:gd name="T28" fmla="*/ 291 w 395"/>
                <a:gd name="T29" fmla="*/ 314 h 549"/>
                <a:gd name="T30" fmla="*/ 265 w 395"/>
                <a:gd name="T31" fmla="*/ 261 h 549"/>
                <a:gd name="T32" fmla="*/ 191 w 395"/>
                <a:gd name="T33" fmla="*/ 235 h 549"/>
                <a:gd name="T34" fmla="*/ 214 w 395"/>
                <a:gd name="T35" fmla="*/ 222 h 549"/>
                <a:gd name="T36" fmla="*/ 261 w 395"/>
                <a:gd name="T37" fmla="*/ 177 h 549"/>
                <a:gd name="T38" fmla="*/ 211 w 395"/>
                <a:gd name="T39" fmla="*/ 154 h 549"/>
                <a:gd name="T40" fmla="*/ 179 w 395"/>
                <a:gd name="T41" fmla="*/ 147 h 549"/>
                <a:gd name="T42" fmla="*/ 224 w 395"/>
                <a:gd name="T43" fmla="*/ 112 h 549"/>
                <a:gd name="T44" fmla="*/ 153 w 395"/>
                <a:gd name="T45" fmla="*/ 110 h 549"/>
                <a:gd name="T46" fmla="*/ 144 w 395"/>
                <a:gd name="T47" fmla="*/ 148 h 549"/>
                <a:gd name="T48" fmla="*/ 121 w 395"/>
                <a:gd name="T49" fmla="*/ 162 h 549"/>
                <a:gd name="T50" fmla="*/ 116 w 395"/>
                <a:gd name="T51" fmla="*/ 198 h 549"/>
                <a:gd name="T52" fmla="*/ 134 w 395"/>
                <a:gd name="T53" fmla="*/ 202 h 549"/>
                <a:gd name="T54" fmla="*/ 116 w 395"/>
                <a:gd name="T55" fmla="*/ 250 h 549"/>
                <a:gd name="T56" fmla="*/ 144 w 395"/>
                <a:gd name="T57" fmla="*/ 251 h 549"/>
                <a:gd name="T58" fmla="*/ 146 w 395"/>
                <a:gd name="T59" fmla="*/ 306 h 549"/>
                <a:gd name="T60" fmla="*/ 211 w 395"/>
                <a:gd name="T61" fmla="*/ 295 h 549"/>
                <a:gd name="T62" fmla="*/ 216 w 395"/>
                <a:gd name="T63" fmla="*/ 349 h 549"/>
                <a:gd name="T64" fmla="*/ 162 w 395"/>
                <a:gd name="T65" fmla="*/ 377 h 549"/>
                <a:gd name="T66" fmla="*/ 135 w 395"/>
                <a:gd name="T67" fmla="*/ 402 h 549"/>
                <a:gd name="T68" fmla="*/ 117 w 395"/>
                <a:gd name="T69" fmla="*/ 448 h 549"/>
                <a:gd name="T70" fmla="*/ 151 w 395"/>
                <a:gd name="T71" fmla="*/ 466 h 549"/>
                <a:gd name="T72" fmla="*/ 202 w 395"/>
                <a:gd name="T73" fmla="*/ 467 h 549"/>
                <a:gd name="T74" fmla="*/ 156 w 395"/>
                <a:gd name="T75" fmla="*/ 485 h 549"/>
                <a:gd name="T76" fmla="*/ 129 w 395"/>
                <a:gd name="T77" fmla="*/ 516 h 549"/>
                <a:gd name="T78" fmla="*/ 83 w 395"/>
                <a:gd name="T79" fmla="*/ 545 h 549"/>
                <a:gd name="T80" fmla="*/ 147 w 395"/>
                <a:gd name="T81" fmla="*/ 530 h 549"/>
                <a:gd name="T82" fmla="*/ 211 w 395"/>
                <a:gd name="T83" fmla="*/ 519 h 549"/>
                <a:gd name="T84" fmla="*/ 273 w 395"/>
                <a:gd name="T85" fmla="*/ 520 h 549"/>
                <a:gd name="T86" fmla="*/ 293 w 395"/>
                <a:gd name="T87" fmla="*/ 508 h 549"/>
                <a:gd name="T88" fmla="*/ 340 w 395"/>
                <a:gd name="T89" fmla="*/ 474 h 549"/>
                <a:gd name="T90" fmla="*/ 375 w 395"/>
                <a:gd name="T91" fmla="*/ 447 h 549"/>
                <a:gd name="T92" fmla="*/ 157 w 395"/>
                <a:gd name="T93" fmla="*/ 325 h 549"/>
                <a:gd name="T94" fmla="*/ 94 w 395"/>
                <a:gd name="T95" fmla="*/ 338 h 549"/>
                <a:gd name="T96" fmla="*/ 110 w 395"/>
                <a:gd name="T97" fmla="*/ 308 h 549"/>
                <a:gd name="T98" fmla="*/ 86 w 395"/>
                <a:gd name="T99" fmla="*/ 281 h 549"/>
                <a:gd name="T100" fmla="*/ 58 w 395"/>
                <a:gd name="T101" fmla="*/ 288 h 549"/>
                <a:gd name="T102" fmla="*/ 13 w 395"/>
                <a:gd name="T103" fmla="*/ 325 h 549"/>
                <a:gd name="T104" fmla="*/ 67 w 395"/>
                <a:gd name="T105" fmla="*/ 335 h 549"/>
                <a:gd name="T106" fmla="*/ 63 w 395"/>
                <a:gd name="T107" fmla="*/ 155 h 549"/>
                <a:gd name="T108" fmla="*/ 63 w 395"/>
                <a:gd name="T109" fmla="*/ 155 h 549"/>
                <a:gd name="T110" fmla="*/ 108 w 395"/>
                <a:gd name="T111" fmla="*/ 115 h 549"/>
                <a:gd name="T112" fmla="*/ 72 w 395"/>
                <a:gd name="T113" fmla="*/ 128 h 549"/>
                <a:gd name="T114" fmla="*/ 57 w 395"/>
                <a:gd name="T115" fmla="*/ 169 h 549"/>
                <a:gd name="T116" fmla="*/ 57 w 395"/>
                <a:gd name="T117" fmla="*/ 16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5" h="549">
                  <a:moveTo>
                    <a:pt x="118" y="256"/>
                  </a:moveTo>
                  <a:cubicBezTo>
                    <a:pt x="110" y="256"/>
                    <a:pt x="109" y="262"/>
                    <a:pt x="106" y="277"/>
                  </a:cubicBezTo>
                  <a:cubicBezTo>
                    <a:pt x="104" y="289"/>
                    <a:pt x="126" y="256"/>
                    <a:pt x="118" y="256"/>
                  </a:cubicBezTo>
                  <a:close/>
                  <a:moveTo>
                    <a:pt x="100" y="210"/>
                  </a:moveTo>
                  <a:cubicBezTo>
                    <a:pt x="96" y="210"/>
                    <a:pt x="90" y="222"/>
                    <a:pt x="94" y="225"/>
                  </a:cubicBezTo>
                  <a:cubicBezTo>
                    <a:pt x="98" y="228"/>
                    <a:pt x="111" y="221"/>
                    <a:pt x="111" y="221"/>
                  </a:cubicBezTo>
                  <a:cubicBezTo>
                    <a:pt x="111" y="221"/>
                    <a:pt x="104" y="210"/>
                    <a:pt x="100" y="210"/>
                  </a:cubicBezTo>
                  <a:close/>
                  <a:moveTo>
                    <a:pt x="87" y="261"/>
                  </a:moveTo>
                  <a:cubicBezTo>
                    <a:pt x="102" y="261"/>
                    <a:pt x="109" y="250"/>
                    <a:pt x="98" y="248"/>
                  </a:cubicBezTo>
                  <a:cubicBezTo>
                    <a:pt x="87" y="246"/>
                    <a:pt x="78" y="261"/>
                    <a:pt x="87" y="261"/>
                  </a:cubicBezTo>
                  <a:close/>
                  <a:moveTo>
                    <a:pt x="231" y="85"/>
                  </a:moveTo>
                  <a:cubicBezTo>
                    <a:pt x="223" y="78"/>
                    <a:pt x="222" y="93"/>
                    <a:pt x="222" y="93"/>
                  </a:cubicBezTo>
                  <a:cubicBezTo>
                    <a:pt x="229" y="99"/>
                    <a:pt x="239" y="92"/>
                    <a:pt x="231" y="85"/>
                  </a:cubicBezTo>
                  <a:close/>
                  <a:moveTo>
                    <a:pt x="103" y="176"/>
                  </a:moveTo>
                  <a:cubicBezTo>
                    <a:pt x="103" y="176"/>
                    <a:pt x="107" y="159"/>
                    <a:pt x="97" y="159"/>
                  </a:cubicBezTo>
                  <a:cubicBezTo>
                    <a:pt x="87" y="159"/>
                    <a:pt x="93" y="169"/>
                    <a:pt x="93" y="169"/>
                  </a:cubicBezTo>
                  <a:cubicBezTo>
                    <a:pt x="93" y="169"/>
                    <a:pt x="85" y="166"/>
                    <a:pt x="82" y="169"/>
                  </a:cubicBezTo>
                  <a:cubicBezTo>
                    <a:pt x="79" y="172"/>
                    <a:pt x="91" y="179"/>
                    <a:pt x="93" y="183"/>
                  </a:cubicBezTo>
                  <a:cubicBezTo>
                    <a:pt x="95" y="187"/>
                    <a:pt x="110" y="184"/>
                    <a:pt x="110" y="184"/>
                  </a:cubicBezTo>
                  <a:lnTo>
                    <a:pt x="103" y="176"/>
                  </a:lnTo>
                  <a:close/>
                  <a:moveTo>
                    <a:pt x="325" y="1"/>
                  </a:moveTo>
                  <a:cubicBezTo>
                    <a:pt x="318" y="2"/>
                    <a:pt x="316" y="11"/>
                    <a:pt x="316" y="11"/>
                  </a:cubicBezTo>
                  <a:cubicBezTo>
                    <a:pt x="327" y="16"/>
                    <a:pt x="332" y="0"/>
                    <a:pt x="325" y="1"/>
                  </a:cubicBezTo>
                  <a:close/>
                  <a:moveTo>
                    <a:pt x="296" y="36"/>
                  </a:moveTo>
                  <a:cubicBezTo>
                    <a:pt x="300" y="45"/>
                    <a:pt x="300" y="45"/>
                    <a:pt x="300" y="45"/>
                  </a:cubicBezTo>
                  <a:cubicBezTo>
                    <a:pt x="305" y="49"/>
                    <a:pt x="312" y="28"/>
                    <a:pt x="311" y="24"/>
                  </a:cubicBezTo>
                  <a:cubicBezTo>
                    <a:pt x="310" y="20"/>
                    <a:pt x="301" y="12"/>
                    <a:pt x="301" y="12"/>
                  </a:cubicBezTo>
                  <a:cubicBezTo>
                    <a:pt x="300" y="21"/>
                    <a:pt x="300" y="21"/>
                    <a:pt x="300" y="21"/>
                  </a:cubicBezTo>
                  <a:cubicBezTo>
                    <a:pt x="300" y="21"/>
                    <a:pt x="287" y="25"/>
                    <a:pt x="288" y="29"/>
                  </a:cubicBezTo>
                  <a:cubicBezTo>
                    <a:pt x="289" y="33"/>
                    <a:pt x="296" y="36"/>
                    <a:pt x="296" y="36"/>
                  </a:cubicBezTo>
                  <a:close/>
                  <a:moveTo>
                    <a:pt x="239" y="94"/>
                  </a:moveTo>
                  <a:cubicBezTo>
                    <a:pt x="237" y="104"/>
                    <a:pt x="237" y="104"/>
                    <a:pt x="237" y="104"/>
                  </a:cubicBezTo>
                  <a:cubicBezTo>
                    <a:pt x="247" y="96"/>
                    <a:pt x="247" y="96"/>
                    <a:pt x="247" y="96"/>
                  </a:cubicBezTo>
                  <a:lnTo>
                    <a:pt x="239" y="94"/>
                  </a:lnTo>
                  <a:close/>
                  <a:moveTo>
                    <a:pt x="137" y="269"/>
                  </a:moveTo>
                  <a:cubicBezTo>
                    <a:pt x="143" y="265"/>
                    <a:pt x="134" y="252"/>
                    <a:pt x="128" y="258"/>
                  </a:cubicBezTo>
                  <a:cubicBezTo>
                    <a:pt x="122" y="264"/>
                    <a:pt x="131" y="273"/>
                    <a:pt x="137" y="269"/>
                  </a:cubicBezTo>
                  <a:close/>
                  <a:moveTo>
                    <a:pt x="346" y="395"/>
                  </a:moveTo>
                  <a:cubicBezTo>
                    <a:pt x="346" y="395"/>
                    <a:pt x="341" y="409"/>
                    <a:pt x="331" y="402"/>
                  </a:cubicBezTo>
                  <a:cubicBezTo>
                    <a:pt x="321" y="394"/>
                    <a:pt x="341" y="387"/>
                    <a:pt x="340" y="378"/>
                  </a:cubicBezTo>
                  <a:cubicBezTo>
                    <a:pt x="339" y="369"/>
                    <a:pt x="308" y="364"/>
                    <a:pt x="308" y="359"/>
                  </a:cubicBezTo>
                  <a:cubicBezTo>
                    <a:pt x="308" y="354"/>
                    <a:pt x="330" y="357"/>
                    <a:pt x="330" y="357"/>
                  </a:cubicBezTo>
                  <a:cubicBezTo>
                    <a:pt x="321" y="349"/>
                    <a:pt x="321" y="349"/>
                    <a:pt x="321" y="349"/>
                  </a:cubicBezTo>
                  <a:cubicBezTo>
                    <a:pt x="321" y="349"/>
                    <a:pt x="312" y="328"/>
                    <a:pt x="308" y="321"/>
                  </a:cubicBezTo>
                  <a:cubicBezTo>
                    <a:pt x="304" y="314"/>
                    <a:pt x="291" y="314"/>
                    <a:pt x="291" y="314"/>
                  </a:cubicBezTo>
                  <a:cubicBezTo>
                    <a:pt x="291" y="314"/>
                    <a:pt x="283" y="305"/>
                    <a:pt x="275" y="299"/>
                  </a:cubicBezTo>
                  <a:cubicBezTo>
                    <a:pt x="267" y="293"/>
                    <a:pt x="273" y="261"/>
                    <a:pt x="273" y="261"/>
                  </a:cubicBezTo>
                  <a:cubicBezTo>
                    <a:pt x="265" y="261"/>
                    <a:pt x="265" y="261"/>
                    <a:pt x="265" y="261"/>
                  </a:cubicBezTo>
                  <a:cubicBezTo>
                    <a:pt x="265" y="261"/>
                    <a:pt x="264" y="255"/>
                    <a:pt x="250" y="245"/>
                  </a:cubicBezTo>
                  <a:cubicBezTo>
                    <a:pt x="235" y="235"/>
                    <a:pt x="216" y="245"/>
                    <a:pt x="208" y="246"/>
                  </a:cubicBezTo>
                  <a:cubicBezTo>
                    <a:pt x="200" y="247"/>
                    <a:pt x="191" y="235"/>
                    <a:pt x="191" y="235"/>
                  </a:cubicBezTo>
                  <a:cubicBezTo>
                    <a:pt x="191" y="235"/>
                    <a:pt x="205" y="240"/>
                    <a:pt x="209" y="239"/>
                  </a:cubicBezTo>
                  <a:cubicBezTo>
                    <a:pt x="213" y="238"/>
                    <a:pt x="231" y="234"/>
                    <a:pt x="232" y="228"/>
                  </a:cubicBezTo>
                  <a:cubicBezTo>
                    <a:pt x="233" y="223"/>
                    <a:pt x="214" y="222"/>
                    <a:pt x="214" y="222"/>
                  </a:cubicBezTo>
                  <a:cubicBezTo>
                    <a:pt x="230" y="218"/>
                    <a:pt x="230" y="218"/>
                    <a:pt x="230" y="218"/>
                  </a:cubicBezTo>
                  <a:cubicBezTo>
                    <a:pt x="230" y="218"/>
                    <a:pt x="239" y="211"/>
                    <a:pt x="245" y="206"/>
                  </a:cubicBezTo>
                  <a:cubicBezTo>
                    <a:pt x="250" y="201"/>
                    <a:pt x="261" y="177"/>
                    <a:pt x="261" y="177"/>
                  </a:cubicBezTo>
                  <a:cubicBezTo>
                    <a:pt x="261" y="177"/>
                    <a:pt x="276" y="168"/>
                    <a:pt x="276" y="161"/>
                  </a:cubicBezTo>
                  <a:cubicBezTo>
                    <a:pt x="276" y="154"/>
                    <a:pt x="222" y="159"/>
                    <a:pt x="222" y="159"/>
                  </a:cubicBezTo>
                  <a:cubicBezTo>
                    <a:pt x="222" y="159"/>
                    <a:pt x="223" y="154"/>
                    <a:pt x="211" y="154"/>
                  </a:cubicBezTo>
                  <a:cubicBezTo>
                    <a:pt x="199" y="154"/>
                    <a:pt x="177" y="162"/>
                    <a:pt x="177" y="162"/>
                  </a:cubicBezTo>
                  <a:cubicBezTo>
                    <a:pt x="185" y="155"/>
                    <a:pt x="185" y="155"/>
                    <a:pt x="185" y="155"/>
                  </a:cubicBezTo>
                  <a:cubicBezTo>
                    <a:pt x="179" y="147"/>
                    <a:pt x="179" y="147"/>
                    <a:pt x="179" y="147"/>
                  </a:cubicBezTo>
                  <a:cubicBezTo>
                    <a:pt x="191" y="145"/>
                    <a:pt x="191" y="145"/>
                    <a:pt x="191" y="145"/>
                  </a:cubicBezTo>
                  <a:cubicBezTo>
                    <a:pt x="212" y="132"/>
                    <a:pt x="212" y="132"/>
                    <a:pt x="212" y="132"/>
                  </a:cubicBezTo>
                  <a:cubicBezTo>
                    <a:pt x="212" y="132"/>
                    <a:pt x="223" y="123"/>
                    <a:pt x="224" y="112"/>
                  </a:cubicBezTo>
                  <a:cubicBezTo>
                    <a:pt x="225" y="105"/>
                    <a:pt x="211" y="107"/>
                    <a:pt x="203" y="108"/>
                  </a:cubicBezTo>
                  <a:cubicBezTo>
                    <a:pt x="195" y="109"/>
                    <a:pt x="183" y="115"/>
                    <a:pt x="175" y="115"/>
                  </a:cubicBezTo>
                  <a:cubicBezTo>
                    <a:pt x="167" y="115"/>
                    <a:pt x="160" y="106"/>
                    <a:pt x="153" y="110"/>
                  </a:cubicBezTo>
                  <a:cubicBezTo>
                    <a:pt x="146" y="114"/>
                    <a:pt x="153" y="124"/>
                    <a:pt x="153" y="124"/>
                  </a:cubicBezTo>
                  <a:cubicBezTo>
                    <a:pt x="153" y="124"/>
                    <a:pt x="146" y="125"/>
                    <a:pt x="141" y="129"/>
                  </a:cubicBezTo>
                  <a:cubicBezTo>
                    <a:pt x="136" y="133"/>
                    <a:pt x="144" y="148"/>
                    <a:pt x="144" y="148"/>
                  </a:cubicBezTo>
                  <a:cubicBezTo>
                    <a:pt x="115" y="151"/>
                    <a:pt x="115" y="151"/>
                    <a:pt x="115" y="151"/>
                  </a:cubicBezTo>
                  <a:cubicBezTo>
                    <a:pt x="115" y="157"/>
                    <a:pt x="115" y="157"/>
                    <a:pt x="115" y="157"/>
                  </a:cubicBezTo>
                  <a:cubicBezTo>
                    <a:pt x="121" y="162"/>
                    <a:pt x="121" y="162"/>
                    <a:pt x="121" y="162"/>
                  </a:cubicBezTo>
                  <a:cubicBezTo>
                    <a:pt x="131" y="180"/>
                    <a:pt x="131" y="180"/>
                    <a:pt x="131" y="180"/>
                  </a:cubicBezTo>
                  <a:cubicBezTo>
                    <a:pt x="131" y="180"/>
                    <a:pt x="124" y="185"/>
                    <a:pt x="121" y="188"/>
                  </a:cubicBezTo>
                  <a:cubicBezTo>
                    <a:pt x="118" y="191"/>
                    <a:pt x="116" y="198"/>
                    <a:pt x="116" y="198"/>
                  </a:cubicBezTo>
                  <a:cubicBezTo>
                    <a:pt x="105" y="203"/>
                    <a:pt x="105" y="203"/>
                    <a:pt x="105" y="203"/>
                  </a:cubicBezTo>
                  <a:cubicBezTo>
                    <a:pt x="105" y="203"/>
                    <a:pt x="111" y="212"/>
                    <a:pt x="119" y="211"/>
                  </a:cubicBezTo>
                  <a:cubicBezTo>
                    <a:pt x="127" y="210"/>
                    <a:pt x="134" y="202"/>
                    <a:pt x="134" y="202"/>
                  </a:cubicBezTo>
                  <a:cubicBezTo>
                    <a:pt x="133" y="214"/>
                    <a:pt x="133" y="214"/>
                    <a:pt x="133" y="214"/>
                  </a:cubicBezTo>
                  <a:cubicBezTo>
                    <a:pt x="133" y="214"/>
                    <a:pt x="120" y="220"/>
                    <a:pt x="115" y="228"/>
                  </a:cubicBezTo>
                  <a:cubicBezTo>
                    <a:pt x="110" y="237"/>
                    <a:pt x="116" y="250"/>
                    <a:pt x="116" y="250"/>
                  </a:cubicBezTo>
                  <a:cubicBezTo>
                    <a:pt x="116" y="250"/>
                    <a:pt x="127" y="242"/>
                    <a:pt x="134" y="247"/>
                  </a:cubicBezTo>
                  <a:cubicBezTo>
                    <a:pt x="140" y="252"/>
                    <a:pt x="153" y="241"/>
                    <a:pt x="153" y="241"/>
                  </a:cubicBezTo>
                  <a:cubicBezTo>
                    <a:pt x="144" y="251"/>
                    <a:pt x="144" y="251"/>
                    <a:pt x="144" y="251"/>
                  </a:cubicBezTo>
                  <a:cubicBezTo>
                    <a:pt x="149" y="269"/>
                    <a:pt x="149" y="269"/>
                    <a:pt x="149" y="269"/>
                  </a:cubicBezTo>
                  <a:cubicBezTo>
                    <a:pt x="149" y="269"/>
                    <a:pt x="138" y="282"/>
                    <a:pt x="131" y="296"/>
                  </a:cubicBezTo>
                  <a:cubicBezTo>
                    <a:pt x="123" y="309"/>
                    <a:pt x="146" y="306"/>
                    <a:pt x="146" y="306"/>
                  </a:cubicBezTo>
                  <a:cubicBezTo>
                    <a:pt x="146" y="306"/>
                    <a:pt x="159" y="300"/>
                    <a:pt x="166" y="303"/>
                  </a:cubicBezTo>
                  <a:cubicBezTo>
                    <a:pt x="173" y="306"/>
                    <a:pt x="189" y="293"/>
                    <a:pt x="189" y="293"/>
                  </a:cubicBezTo>
                  <a:cubicBezTo>
                    <a:pt x="211" y="295"/>
                    <a:pt x="211" y="295"/>
                    <a:pt x="211" y="295"/>
                  </a:cubicBezTo>
                  <a:cubicBezTo>
                    <a:pt x="211" y="295"/>
                    <a:pt x="188" y="308"/>
                    <a:pt x="187" y="318"/>
                  </a:cubicBezTo>
                  <a:cubicBezTo>
                    <a:pt x="185" y="328"/>
                    <a:pt x="215" y="335"/>
                    <a:pt x="215" y="335"/>
                  </a:cubicBezTo>
                  <a:cubicBezTo>
                    <a:pt x="216" y="349"/>
                    <a:pt x="216" y="349"/>
                    <a:pt x="216" y="349"/>
                  </a:cubicBezTo>
                  <a:cubicBezTo>
                    <a:pt x="208" y="361"/>
                    <a:pt x="208" y="361"/>
                    <a:pt x="208" y="361"/>
                  </a:cubicBezTo>
                  <a:cubicBezTo>
                    <a:pt x="208" y="361"/>
                    <a:pt x="210" y="375"/>
                    <a:pt x="207" y="379"/>
                  </a:cubicBezTo>
                  <a:cubicBezTo>
                    <a:pt x="204" y="383"/>
                    <a:pt x="162" y="377"/>
                    <a:pt x="162" y="377"/>
                  </a:cubicBezTo>
                  <a:cubicBezTo>
                    <a:pt x="162" y="377"/>
                    <a:pt x="152" y="374"/>
                    <a:pt x="143" y="376"/>
                  </a:cubicBezTo>
                  <a:cubicBezTo>
                    <a:pt x="134" y="378"/>
                    <a:pt x="149" y="389"/>
                    <a:pt x="149" y="389"/>
                  </a:cubicBezTo>
                  <a:cubicBezTo>
                    <a:pt x="135" y="402"/>
                    <a:pt x="135" y="402"/>
                    <a:pt x="135" y="402"/>
                  </a:cubicBezTo>
                  <a:cubicBezTo>
                    <a:pt x="163" y="400"/>
                    <a:pt x="163" y="400"/>
                    <a:pt x="163" y="400"/>
                  </a:cubicBezTo>
                  <a:cubicBezTo>
                    <a:pt x="163" y="400"/>
                    <a:pt x="163" y="423"/>
                    <a:pt x="156" y="430"/>
                  </a:cubicBezTo>
                  <a:cubicBezTo>
                    <a:pt x="149" y="437"/>
                    <a:pt x="121" y="445"/>
                    <a:pt x="117" y="448"/>
                  </a:cubicBezTo>
                  <a:cubicBezTo>
                    <a:pt x="113" y="451"/>
                    <a:pt x="118" y="466"/>
                    <a:pt x="122" y="468"/>
                  </a:cubicBezTo>
                  <a:cubicBezTo>
                    <a:pt x="126" y="470"/>
                    <a:pt x="144" y="456"/>
                    <a:pt x="144" y="456"/>
                  </a:cubicBezTo>
                  <a:cubicBezTo>
                    <a:pt x="144" y="456"/>
                    <a:pt x="147" y="462"/>
                    <a:pt x="151" y="466"/>
                  </a:cubicBezTo>
                  <a:cubicBezTo>
                    <a:pt x="155" y="470"/>
                    <a:pt x="165" y="466"/>
                    <a:pt x="165" y="466"/>
                  </a:cubicBezTo>
                  <a:cubicBezTo>
                    <a:pt x="165" y="466"/>
                    <a:pt x="173" y="475"/>
                    <a:pt x="181" y="476"/>
                  </a:cubicBezTo>
                  <a:cubicBezTo>
                    <a:pt x="190" y="477"/>
                    <a:pt x="197" y="472"/>
                    <a:pt x="202" y="467"/>
                  </a:cubicBezTo>
                  <a:cubicBezTo>
                    <a:pt x="207" y="462"/>
                    <a:pt x="220" y="463"/>
                    <a:pt x="220" y="463"/>
                  </a:cubicBezTo>
                  <a:cubicBezTo>
                    <a:pt x="220" y="463"/>
                    <a:pt x="204" y="478"/>
                    <a:pt x="194" y="485"/>
                  </a:cubicBezTo>
                  <a:cubicBezTo>
                    <a:pt x="183" y="492"/>
                    <a:pt x="163" y="485"/>
                    <a:pt x="156" y="485"/>
                  </a:cubicBezTo>
                  <a:cubicBezTo>
                    <a:pt x="149" y="485"/>
                    <a:pt x="151" y="495"/>
                    <a:pt x="151" y="495"/>
                  </a:cubicBezTo>
                  <a:cubicBezTo>
                    <a:pt x="151" y="495"/>
                    <a:pt x="142" y="495"/>
                    <a:pt x="135" y="498"/>
                  </a:cubicBezTo>
                  <a:cubicBezTo>
                    <a:pt x="127" y="501"/>
                    <a:pt x="135" y="507"/>
                    <a:pt x="129" y="516"/>
                  </a:cubicBezTo>
                  <a:cubicBezTo>
                    <a:pt x="124" y="524"/>
                    <a:pt x="117" y="520"/>
                    <a:pt x="110" y="520"/>
                  </a:cubicBezTo>
                  <a:cubicBezTo>
                    <a:pt x="103" y="520"/>
                    <a:pt x="106" y="530"/>
                    <a:pt x="99" y="536"/>
                  </a:cubicBezTo>
                  <a:cubicBezTo>
                    <a:pt x="92" y="542"/>
                    <a:pt x="83" y="541"/>
                    <a:pt x="83" y="545"/>
                  </a:cubicBezTo>
                  <a:cubicBezTo>
                    <a:pt x="83" y="549"/>
                    <a:pt x="102" y="549"/>
                    <a:pt x="105" y="549"/>
                  </a:cubicBezTo>
                  <a:cubicBezTo>
                    <a:pt x="108" y="549"/>
                    <a:pt x="116" y="539"/>
                    <a:pt x="122" y="534"/>
                  </a:cubicBezTo>
                  <a:cubicBezTo>
                    <a:pt x="128" y="529"/>
                    <a:pt x="138" y="530"/>
                    <a:pt x="147" y="530"/>
                  </a:cubicBezTo>
                  <a:cubicBezTo>
                    <a:pt x="156" y="530"/>
                    <a:pt x="159" y="540"/>
                    <a:pt x="165" y="540"/>
                  </a:cubicBezTo>
                  <a:cubicBezTo>
                    <a:pt x="171" y="540"/>
                    <a:pt x="184" y="515"/>
                    <a:pt x="191" y="512"/>
                  </a:cubicBezTo>
                  <a:cubicBezTo>
                    <a:pt x="197" y="508"/>
                    <a:pt x="211" y="519"/>
                    <a:pt x="211" y="519"/>
                  </a:cubicBezTo>
                  <a:cubicBezTo>
                    <a:pt x="228" y="520"/>
                    <a:pt x="228" y="520"/>
                    <a:pt x="228" y="520"/>
                  </a:cubicBezTo>
                  <a:cubicBezTo>
                    <a:pt x="248" y="512"/>
                    <a:pt x="248" y="512"/>
                    <a:pt x="248" y="512"/>
                  </a:cubicBezTo>
                  <a:cubicBezTo>
                    <a:pt x="248" y="512"/>
                    <a:pt x="267" y="521"/>
                    <a:pt x="273" y="520"/>
                  </a:cubicBezTo>
                  <a:cubicBezTo>
                    <a:pt x="279" y="519"/>
                    <a:pt x="265" y="508"/>
                    <a:pt x="271" y="503"/>
                  </a:cubicBezTo>
                  <a:cubicBezTo>
                    <a:pt x="277" y="498"/>
                    <a:pt x="286" y="513"/>
                    <a:pt x="286" y="513"/>
                  </a:cubicBezTo>
                  <a:cubicBezTo>
                    <a:pt x="293" y="508"/>
                    <a:pt x="293" y="508"/>
                    <a:pt x="293" y="508"/>
                  </a:cubicBezTo>
                  <a:cubicBezTo>
                    <a:pt x="293" y="508"/>
                    <a:pt x="346" y="508"/>
                    <a:pt x="359" y="501"/>
                  </a:cubicBezTo>
                  <a:cubicBezTo>
                    <a:pt x="371" y="494"/>
                    <a:pt x="379" y="479"/>
                    <a:pt x="379" y="479"/>
                  </a:cubicBezTo>
                  <a:cubicBezTo>
                    <a:pt x="340" y="474"/>
                    <a:pt x="340" y="474"/>
                    <a:pt x="340" y="474"/>
                  </a:cubicBezTo>
                  <a:cubicBezTo>
                    <a:pt x="358" y="471"/>
                    <a:pt x="358" y="471"/>
                    <a:pt x="358" y="471"/>
                  </a:cubicBezTo>
                  <a:cubicBezTo>
                    <a:pt x="355" y="461"/>
                    <a:pt x="355" y="461"/>
                    <a:pt x="355" y="461"/>
                  </a:cubicBezTo>
                  <a:cubicBezTo>
                    <a:pt x="355" y="461"/>
                    <a:pt x="368" y="448"/>
                    <a:pt x="375" y="447"/>
                  </a:cubicBezTo>
                  <a:cubicBezTo>
                    <a:pt x="382" y="446"/>
                    <a:pt x="393" y="435"/>
                    <a:pt x="394" y="415"/>
                  </a:cubicBezTo>
                  <a:cubicBezTo>
                    <a:pt x="395" y="394"/>
                    <a:pt x="346" y="395"/>
                    <a:pt x="346" y="395"/>
                  </a:cubicBezTo>
                  <a:close/>
                  <a:moveTo>
                    <a:pt x="157" y="325"/>
                  </a:moveTo>
                  <a:cubicBezTo>
                    <a:pt x="152" y="310"/>
                    <a:pt x="147" y="330"/>
                    <a:pt x="138" y="338"/>
                  </a:cubicBezTo>
                  <a:cubicBezTo>
                    <a:pt x="138" y="338"/>
                    <a:pt x="162" y="340"/>
                    <a:pt x="157" y="325"/>
                  </a:cubicBezTo>
                  <a:close/>
                  <a:moveTo>
                    <a:pt x="94" y="338"/>
                  </a:moveTo>
                  <a:cubicBezTo>
                    <a:pt x="97" y="335"/>
                    <a:pt x="99" y="329"/>
                    <a:pt x="99" y="329"/>
                  </a:cubicBezTo>
                  <a:cubicBezTo>
                    <a:pt x="99" y="329"/>
                    <a:pt x="104" y="336"/>
                    <a:pt x="107" y="330"/>
                  </a:cubicBezTo>
                  <a:cubicBezTo>
                    <a:pt x="110" y="324"/>
                    <a:pt x="117" y="314"/>
                    <a:pt x="110" y="308"/>
                  </a:cubicBezTo>
                  <a:cubicBezTo>
                    <a:pt x="103" y="302"/>
                    <a:pt x="103" y="293"/>
                    <a:pt x="103" y="293"/>
                  </a:cubicBezTo>
                  <a:cubicBezTo>
                    <a:pt x="98" y="295"/>
                    <a:pt x="98" y="295"/>
                    <a:pt x="98" y="295"/>
                  </a:cubicBezTo>
                  <a:cubicBezTo>
                    <a:pt x="98" y="295"/>
                    <a:pt x="93" y="283"/>
                    <a:pt x="86" y="281"/>
                  </a:cubicBezTo>
                  <a:cubicBezTo>
                    <a:pt x="79" y="279"/>
                    <a:pt x="61" y="282"/>
                    <a:pt x="61" y="282"/>
                  </a:cubicBezTo>
                  <a:cubicBezTo>
                    <a:pt x="61" y="282"/>
                    <a:pt x="61" y="282"/>
                    <a:pt x="61" y="281"/>
                  </a:cubicBezTo>
                  <a:cubicBezTo>
                    <a:pt x="58" y="288"/>
                    <a:pt x="58" y="288"/>
                    <a:pt x="58" y="288"/>
                  </a:cubicBezTo>
                  <a:cubicBezTo>
                    <a:pt x="28" y="302"/>
                    <a:pt x="28" y="302"/>
                    <a:pt x="28" y="302"/>
                  </a:cubicBezTo>
                  <a:cubicBezTo>
                    <a:pt x="29" y="312"/>
                    <a:pt x="29" y="312"/>
                    <a:pt x="29" y="312"/>
                  </a:cubicBezTo>
                  <a:cubicBezTo>
                    <a:pt x="29" y="312"/>
                    <a:pt x="0" y="318"/>
                    <a:pt x="13" y="325"/>
                  </a:cubicBezTo>
                  <a:cubicBezTo>
                    <a:pt x="26" y="333"/>
                    <a:pt x="38" y="335"/>
                    <a:pt x="38" y="335"/>
                  </a:cubicBezTo>
                  <a:cubicBezTo>
                    <a:pt x="55" y="319"/>
                    <a:pt x="55" y="319"/>
                    <a:pt x="55" y="319"/>
                  </a:cubicBezTo>
                  <a:cubicBezTo>
                    <a:pt x="67" y="335"/>
                    <a:pt x="67" y="335"/>
                    <a:pt x="67" y="335"/>
                  </a:cubicBezTo>
                  <a:cubicBezTo>
                    <a:pt x="89" y="340"/>
                    <a:pt x="89" y="340"/>
                    <a:pt x="89" y="340"/>
                  </a:cubicBezTo>
                  <a:cubicBezTo>
                    <a:pt x="91" y="340"/>
                    <a:pt x="93" y="339"/>
                    <a:pt x="94" y="338"/>
                  </a:cubicBezTo>
                  <a:close/>
                  <a:moveTo>
                    <a:pt x="63" y="155"/>
                  </a:moveTo>
                  <a:cubicBezTo>
                    <a:pt x="57" y="155"/>
                    <a:pt x="54" y="155"/>
                    <a:pt x="52" y="163"/>
                  </a:cubicBezTo>
                  <a:cubicBezTo>
                    <a:pt x="66" y="163"/>
                    <a:pt x="66" y="163"/>
                    <a:pt x="66" y="163"/>
                  </a:cubicBezTo>
                  <a:cubicBezTo>
                    <a:pt x="66" y="163"/>
                    <a:pt x="69" y="155"/>
                    <a:pt x="63" y="155"/>
                  </a:cubicBezTo>
                  <a:close/>
                  <a:moveTo>
                    <a:pt x="82" y="144"/>
                  </a:moveTo>
                  <a:cubicBezTo>
                    <a:pt x="82" y="144"/>
                    <a:pt x="88" y="146"/>
                    <a:pt x="94" y="145"/>
                  </a:cubicBezTo>
                  <a:cubicBezTo>
                    <a:pt x="100" y="144"/>
                    <a:pt x="108" y="115"/>
                    <a:pt x="108" y="115"/>
                  </a:cubicBezTo>
                  <a:cubicBezTo>
                    <a:pt x="108" y="115"/>
                    <a:pt x="100" y="117"/>
                    <a:pt x="94" y="122"/>
                  </a:cubicBezTo>
                  <a:cubicBezTo>
                    <a:pt x="88" y="126"/>
                    <a:pt x="86" y="133"/>
                    <a:pt x="86" y="133"/>
                  </a:cubicBezTo>
                  <a:cubicBezTo>
                    <a:pt x="86" y="133"/>
                    <a:pt x="78" y="125"/>
                    <a:pt x="72" y="128"/>
                  </a:cubicBezTo>
                  <a:cubicBezTo>
                    <a:pt x="67" y="131"/>
                    <a:pt x="73" y="153"/>
                    <a:pt x="73" y="153"/>
                  </a:cubicBezTo>
                  <a:lnTo>
                    <a:pt x="82" y="144"/>
                  </a:lnTo>
                  <a:close/>
                  <a:moveTo>
                    <a:pt x="57" y="169"/>
                  </a:moveTo>
                  <a:cubicBezTo>
                    <a:pt x="51" y="191"/>
                    <a:pt x="51" y="191"/>
                    <a:pt x="51" y="191"/>
                  </a:cubicBezTo>
                  <a:cubicBezTo>
                    <a:pt x="62" y="177"/>
                    <a:pt x="62" y="177"/>
                    <a:pt x="62" y="177"/>
                  </a:cubicBezTo>
                  <a:lnTo>
                    <a:pt x="57" y="169"/>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4" name="Freeform 43">
              <a:extLst>
                <a:ext uri="{FF2B5EF4-FFF2-40B4-BE49-F238E27FC236}">
                  <a16:creationId xmlns:a16="http://schemas.microsoft.com/office/drawing/2014/main" id="{9EC32DED-B004-48E1-84D8-E15CB5474CD3}"/>
                </a:ext>
              </a:extLst>
            </p:cNvPr>
            <p:cNvSpPr>
              <a:spLocks/>
            </p:cNvSpPr>
            <p:nvPr/>
          </p:nvSpPr>
          <p:spPr bwMode="auto">
            <a:xfrm>
              <a:off x="2285700" y="2464468"/>
              <a:ext cx="449384" cy="479544"/>
            </a:xfrm>
            <a:custGeom>
              <a:avLst/>
              <a:gdLst>
                <a:gd name="T0" fmla="*/ 186 w 189"/>
                <a:gd name="T1" fmla="*/ 104 h 202"/>
                <a:gd name="T2" fmla="*/ 177 w 189"/>
                <a:gd name="T3" fmla="*/ 87 h 202"/>
                <a:gd name="T4" fmla="*/ 176 w 189"/>
                <a:gd name="T5" fmla="*/ 73 h 202"/>
                <a:gd name="T6" fmla="*/ 189 w 189"/>
                <a:gd name="T7" fmla="*/ 66 h 202"/>
                <a:gd name="T8" fmla="*/ 167 w 189"/>
                <a:gd name="T9" fmla="*/ 61 h 202"/>
                <a:gd name="T10" fmla="*/ 155 w 189"/>
                <a:gd name="T11" fmla="*/ 45 h 202"/>
                <a:gd name="T12" fmla="*/ 138 w 189"/>
                <a:gd name="T13" fmla="*/ 61 h 202"/>
                <a:gd name="T14" fmla="*/ 113 w 189"/>
                <a:gd name="T15" fmla="*/ 51 h 202"/>
                <a:gd name="T16" fmla="*/ 129 w 189"/>
                <a:gd name="T17" fmla="*/ 38 h 202"/>
                <a:gd name="T18" fmla="*/ 128 w 189"/>
                <a:gd name="T19" fmla="*/ 28 h 202"/>
                <a:gd name="T20" fmla="*/ 158 w 189"/>
                <a:gd name="T21" fmla="*/ 14 h 202"/>
                <a:gd name="T22" fmla="*/ 161 w 189"/>
                <a:gd name="T23" fmla="*/ 7 h 202"/>
                <a:gd name="T24" fmla="*/ 153 w 189"/>
                <a:gd name="T25" fmla="*/ 2 h 202"/>
                <a:gd name="T26" fmla="*/ 138 w 189"/>
                <a:gd name="T27" fmla="*/ 14 h 202"/>
                <a:gd name="T28" fmla="*/ 134 w 189"/>
                <a:gd name="T29" fmla="*/ 4 h 202"/>
                <a:gd name="T30" fmla="*/ 107 w 189"/>
                <a:gd name="T31" fmla="*/ 9 h 202"/>
                <a:gd name="T32" fmla="*/ 99 w 189"/>
                <a:gd name="T33" fmla="*/ 30 h 202"/>
                <a:gd name="T34" fmla="*/ 84 w 189"/>
                <a:gd name="T35" fmla="*/ 35 h 202"/>
                <a:gd name="T36" fmla="*/ 102 w 189"/>
                <a:gd name="T37" fmla="*/ 44 h 202"/>
                <a:gd name="T38" fmla="*/ 92 w 189"/>
                <a:gd name="T39" fmla="*/ 50 h 202"/>
                <a:gd name="T40" fmla="*/ 87 w 189"/>
                <a:gd name="T41" fmla="*/ 57 h 202"/>
                <a:gd name="T42" fmla="*/ 69 w 189"/>
                <a:gd name="T43" fmla="*/ 56 h 202"/>
                <a:gd name="T44" fmla="*/ 69 w 189"/>
                <a:gd name="T45" fmla="*/ 61 h 202"/>
                <a:gd name="T46" fmla="*/ 48 w 189"/>
                <a:gd name="T47" fmla="*/ 51 h 202"/>
                <a:gd name="T48" fmla="*/ 30 w 189"/>
                <a:gd name="T49" fmla="*/ 54 h 202"/>
                <a:gd name="T50" fmla="*/ 33 w 189"/>
                <a:gd name="T51" fmla="*/ 71 h 202"/>
                <a:gd name="T52" fmla="*/ 42 w 189"/>
                <a:gd name="T53" fmla="*/ 79 h 202"/>
                <a:gd name="T54" fmla="*/ 31 w 189"/>
                <a:gd name="T55" fmla="*/ 86 h 202"/>
                <a:gd name="T56" fmla="*/ 25 w 189"/>
                <a:gd name="T57" fmla="*/ 98 h 202"/>
                <a:gd name="T58" fmla="*/ 48 w 189"/>
                <a:gd name="T59" fmla="*/ 107 h 202"/>
                <a:gd name="T60" fmla="*/ 66 w 189"/>
                <a:gd name="T61" fmla="*/ 107 h 202"/>
                <a:gd name="T62" fmla="*/ 50 w 189"/>
                <a:gd name="T63" fmla="*/ 116 h 202"/>
                <a:gd name="T64" fmla="*/ 50 w 189"/>
                <a:gd name="T65" fmla="*/ 130 h 202"/>
                <a:gd name="T66" fmla="*/ 35 w 189"/>
                <a:gd name="T67" fmla="*/ 134 h 202"/>
                <a:gd name="T68" fmla="*/ 30 w 189"/>
                <a:gd name="T69" fmla="*/ 156 h 202"/>
                <a:gd name="T70" fmla="*/ 4 w 189"/>
                <a:gd name="T71" fmla="*/ 161 h 202"/>
                <a:gd name="T72" fmla="*/ 15 w 189"/>
                <a:gd name="T73" fmla="*/ 167 h 202"/>
                <a:gd name="T74" fmla="*/ 0 w 189"/>
                <a:gd name="T75" fmla="*/ 176 h 202"/>
                <a:gd name="T76" fmla="*/ 8 w 189"/>
                <a:gd name="T77" fmla="*/ 183 h 202"/>
                <a:gd name="T78" fmla="*/ 30 w 189"/>
                <a:gd name="T79" fmla="*/ 180 h 202"/>
                <a:gd name="T80" fmla="*/ 19 w 189"/>
                <a:gd name="T81" fmla="*/ 192 h 202"/>
                <a:gd name="T82" fmla="*/ 35 w 189"/>
                <a:gd name="T83" fmla="*/ 190 h 202"/>
                <a:gd name="T84" fmla="*/ 29 w 189"/>
                <a:gd name="T85" fmla="*/ 202 h 202"/>
                <a:gd name="T86" fmla="*/ 74 w 189"/>
                <a:gd name="T87" fmla="*/ 191 h 202"/>
                <a:gd name="T88" fmla="*/ 83 w 189"/>
                <a:gd name="T89" fmla="*/ 178 h 202"/>
                <a:gd name="T90" fmla="*/ 102 w 189"/>
                <a:gd name="T91" fmla="*/ 178 h 202"/>
                <a:gd name="T92" fmla="*/ 124 w 189"/>
                <a:gd name="T93" fmla="*/ 166 h 202"/>
                <a:gd name="T94" fmla="*/ 140 w 189"/>
                <a:gd name="T95" fmla="*/ 165 h 202"/>
                <a:gd name="T96" fmla="*/ 143 w 189"/>
                <a:gd name="T97" fmla="*/ 159 h 202"/>
                <a:gd name="T98" fmla="*/ 168 w 189"/>
                <a:gd name="T99" fmla="*/ 160 h 202"/>
                <a:gd name="T100" fmla="*/ 167 w 189"/>
                <a:gd name="T101" fmla="*/ 148 h 202"/>
                <a:gd name="T102" fmla="*/ 179 w 189"/>
                <a:gd name="T103" fmla="*/ 146 h 202"/>
                <a:gd name="T104" fmla="*/ 178 w 189"/>
                <a:gd name="T105" fmla="*/ 133 h 202"/>
                <a:gd name="T106" fmla="*/ 186 w 189"/>
                <a:gd name="T107" fmla="*/ 10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202">
                  <a:moveTo>
                    <a:pt x="186" y="104"/>
                  </a:moveTo>
                  <a:cubicBezTo>
                    <a:pt x="186" y="94"/>
                    <a:pt x="177" y="87"/>
                    <a:pt x="177" y="87"/>
                  </a:cubicBezTo>
                  <a:cubicBezTo>
                    <a:pt x="177" y="87"/>
                    <a:pt x="177" y="78"/>
                    <a:pt x="176" y="73"/>
                  </a:cubicBezTo>
                  <a:cubicBezTo>
                    <a:pt x="175" y="69"/>
                    <a:pt x="184" y="68"/>
                    <a:pt x="189" y="66"/>
                  </a:cubicBezTo>
                  <a:cubicBezTo>
                    <a:pt x="167" y="61"/>
                    <a:pt x="167" y="61"/>
                    <a:pt x="167" y="61"/>
                  </a:cubicBezTo>
                  <a:cubicBezTo>
                    <a:pt x="155" y="45"/>
                    <a:pt x="155" y="45"/>
                    <a:pt x="155" y="45"/>
                  </a:cubicBezTo>
                  <a:cubicBezTo>
                    <a:pt x="138" y="61"/>
                    <a:pt x="138" y="61"/>
                    <a:pt x="138" y="61"/>
                  </a:cubicBezTo>
                  <a:cubicBezTo>
                    <a:pt x="138" y="61"/>
                    <a:pt x="126" y="59"/>
                    <a:pt x="113" y="51"/>
                  </a:cubicBezTo>
                  <a:cubicBezTo>
                    <a:pt x="100" y="44"/>
                    <a:pt x="129" y="38"/>
                    <a:pt x="129" y="38"/>
                  </a:cubicBezTo>
                  <a:cubicBezTo>
                    <a:pt x="128" y="28"/>
                    <a:pt x="128" y="28"/>
                    <a:pt x="128" y="28"/>
                  </a:cubicBezTo>
                  <a:cubicBezTo>
                    <a:pt x="158" y="14"/>
                    <a:pt x="158" y="14"/>
                    <a:pt x="158" y="14"/>
                  </a:cubicBezTo>
                  <a:cubicBezTo>
                    <a:pt x="161" y="7"/>
                    <a:pt x="161" y="7"/>
                    <a:pt x="161" y="7"/>
                  </a:cubicBezTo>
                  <a:cubicBezTo>
                    <a:pt x="160" y="6"/>
                    <a:pt x="158" y="4"/>
                    <a:pt x="153" y="2"/>
                  </a:cubicBezTo>
                  <a:cubicBezTo>
                    <a:pt x="146" y="0"/>
                    <a:pt x="138" y="14"/>
                    <a:pt x="138" y="14"/>
                  </a:cubicBezTo>
                  <a:cubicBezTo>
                    <a:pt x="134" y="4"/>
                    <a:pt x="134" y="4"/>
                    <a:pt x="134" y="4"/>
                  </a:cubicBezTo>
                  <a:cubicBezTo>
                    <a:pt x="134" y="4"/>
                    <a:pt x="111" y="4"/>
                    <a:pt x="107" y="9"/>
                  </a:cubicBezTo>
                  <a:cubicBezTo>
                    <a:pt x="103" y="15"/>
                    <a:pt x="99" y="30"/>
                    <a:pt x="99" y="30"/>
                  </a:cubicBezTo>
                  <a:cubicBezTo>
                    <a:pt x="99" y="30"/>
                    <a:pt x="84" y="29"/>
                    <a:pt x="84" y="35"/>
                  </a:cubicBezTo>
                  <a:cubicBezTo>
                    <a:pt x="84" y="41"/>
                    <a:pt x="106" y="37"/>
                    <a:pt x="102" y="44"/>
                  </a:cubicBezTo>
                  <a:cubicBezTo>
                    <a:pt x="98" y="51"/>
                    <a:pt x="94" y="47"/>
                    <a:pt x="92" y="50"/>
                  </a:cubicBezTo>
                  <a:cubicBezTo>
                    <a:pt x="90" y="53"/>
                    <a:pt x="87" y="57"/>
                    <a:pt x="87" y="57"/>
                  </a:cubicBezTo>
                  <a:cubicBezTo>
                    <a:pt x="69" y="56"/>
                    <a:pt x="69" y="56"/>
                    <a:pt x="69" y="56"/>
                  </a:cubicBezTo>
                  <a:cubicBezTo>
                    <a:pt x="69" y="61"/>
                    <a:pt x="69" y="61"/>
                    <a:pt x="69" y="61"/>
                  </a:cubicBezTo>
                  <a:cubicBezTo>
                    <a:pt x="69" y="61"/>
                    <a:pt x="56" y="47"/>
                    <a:pt x="48" y="51"/>
                  </a:cubicBezTo>
                  <a:cubicBezTo>
                    <a:pt x="40" y="55"/>
                    <a:pt x="30" y="54"/>
                    <a:pt x="30" y="54"/>
                  </a:cubicBezTo>
                  <a:cubicBezTo>
                    <a:pt x="30" y="54"/>
                    <a:pt x="28" y="71"/>
                    <a:pt x="33" y="71"/>
                  </a:cubicBezTo>
                  <a:cubicBezTo>
                    <a:pt x="38" y="71"/>
                    <a:pt x="42" y="79"/>
                    <a:pt x="42" y="79"/>
                  </a:cubicBezTo>
                  <a:cubicBezTo>
                    <a:pt x="31" y="86"/>
                    <a:pt x="31" y="86"/>
                    <a:pt x="31" y="86"/>
                  </a:cubicBezTo>
                  <a:cubicBezTo>
                    <a:pt x="31" y="86"/>
                    <a:pt x="20" y="90"/>
                    <a:pt x="25" y="98"/>
                  </a:cubicBezTo>
                  <a:cubicBezTo>
                    <a:pt x="30" y="106"/>
                    <a:pt x="48" y="107"/>
                    <a:pt x="48" y="107"/>
                  </a:cubicBezTo>
                  <a:cubicBezTo>
                    <a:pt x="48" y="107"/>
                    <a:pt x="67" y="99"/>
                    <a:pt x="66" y="107"/>
                  </a:cubicBezTo>
                  <a:cubicBezTo>
                    <a:pt x="65" y="115"/>
                    <a:pt x="50" y="116"/>
                    <a:pt x="50" y="116"/>
                  </a:cubicBezTo>
                  <a:cubicBezTo>
                    <a:pt x="50" y="130"/>
                    <a:pt x="50" y="130"/>
                    <a:pt x="50" y="130"/>
                  </a:cubicBezTo>
                  <a:cubicBezTo>
                    <a:pt x="50" y="130"/>
                    <a:pt x="37" y="125"/>
                    <a:pt x="35" y="134"/>
                  </a:cubicBezTo>
                  <a:cubicBezTo>
                    <a:pt x="33" y="143"/>
                    <a:pt x="30" y="156"/>
                    <a:pt x="30" y="156"/>
                  </a:cubicBezTo>
                  <a:cubicBezTo>
                    <a:pt x="30" y="156"/>
                    <a:pt x="5" y="156"/>
                    <a:pt x="4" y="161"/>
                  </a:cubicBezTo>
                  <a:cubicBezTo>
                    <a:pt x="3" y="166"/>
                    <a:pt x="15" y="167"/>
                    <a:pt x="15" y="167"/>
                  </a:cubicBezTo>
                  <a:cubicBezTo>
                    <a:pt x="15" y="167"/>
                    <a:pt x="0" y="169"/>
                    <a:pt x="0" y="176"/>
                  </a:cubicBezTo>
                  <a:cubicBezTo>
                    <a:pt x="0" y="184"/>
                    <a:pt x="8" y="183"/>
                    <a:pt x="8" y="183"/>
                  </a:cubicBezTo>
                  <a:cubicBezTo>
                    <a:pt x="30" y="180"/>
                    <a:pt x="30" y="180"/>
                    <a:pt x="30" y="180"/>
                  </a:cubicBezTo>
                  <a:cubicBezTo>
                    <a:pt x="19" y="192"/>
                    <a:pt x="19" y="192"/>
                    <a:pt x="19" y="192"/>
                  </a:cubicBezTo>
                  <a:cubicBezTo>
                    <a:pt x="19" y="192"/>
                    <a:pt x="36" y="187"/>
                    <a:pt x="35" y="190"/>
                  </a:cubicBezTo>
                  <a:cubicBezTo>
                    <a:pt x="34" y="193"/>
                    <a:pt x="14" y="202"/>
                    <a:pt x="29" y="202"/>
                  </a:cubicBezTo>
                  <a:cubicBezTo>
                    <a:pt x="44" y="202"/>
                    <a:pt x="65" y="196"/>
                    <a:pt x="74" y="191"/>
                  </a:cubicBezTo>
                  <a:cubicBezTo>
                    <a:pt x="83" y="186"/>
                    <a:pt x="83" y="178"/>
                    <a:pt x="83" y="178"/>
                  </a:cubicBezTo>
                  <a:cubicBezTo>
                    <a:pt x="83" y="178"/>
                    <a:pt x="93" y="184"/>
                    <a:pt x="102" y="178"/>
                  </a:cubicBezTo>
                  <a:cubicBezTo>
                    <a:pt x="111" y="173"/>
                    <a:pt x="112" y="167"/>
                    <a:pt x="124" y="166"/>
                  </a:cubicBezTo>
                  <a:cubicBezTo>
                    <a:pt x="135" y="165"/>
                    <a:pt x="140" y="165"/>
                    <a:pt x="140" y="165"/>
                  </a:cubicBezTo>
                  <a:cubicBezTo>
                    <a:pt x="143" y="159"/>
                    <a:pt x="143" y="159"/>
                    <a:pt x="143" y="159"/>
                  </a:cubicBezTo>
                  <a:cubicBezTo>
                    <a:pt x="168" y="160"/>
                    <a:pt x="168" y="160"/>
                    <a:pt x="168" y="160"/>
                  </a:cubicBezTo>
                  <a:cubicBezTo>
                    <a:pt x="167" y="148"/>
                    <a:pt x="167" y="148"/>
                    <a:pt x="167" y="148"/>
                  </a:cubicBezTo>
                  <a:cubicBezTo>
                    <a:pt x="167" y="148"/>
                    <a:pt x="179" y="150"/>
                    <a:pt x="179" y="146"/>
                  </a:cubicBezTo>
                  <a:cubicBezTo>
                    <a:pt x="179" y="142"/>
                    <a:pt x="174" y="138"/>
                    <a:pt x="178" y="133"/>
                  </a:cubicBezTo>
                  <a:cubicBezTo>
                    <a:pt x="181" y="128"/>
                    <a:pt x="186" y="114"/>
                    <a:pt x="186" y="10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5" name="Freeform 44">
              <a:extLst>
                <a:ext uri="{FF2B5EF4-FFF2-40B4-BE49-F238E27FC236}">
                  <a16:creationId xmlns:a16="http://schemas.microsoft.com/office/drawing/2014/main" id="{BA222617-DA90-42D9-9F18-88435CA9955C}"/>
                </a:ext>
              </a:extLst>
            </p:cNvPr>
            <p:cNvSpPr>
              <a:spLocks/>
            </p:cNvSpPr>
            <p:nvPr/>
          </p:nvSpPr>
          <p:spPr bwMode="auto">
            <a:xfrm>
              <a:off x="4069159" y="2183980"/>
              <a:ext cx="252339" cy="346840"/>
            </a:xfrm>
            <a:custGeom>
              <a:avLst/>
              <a:gdLst>
                <a:gd name="T0" fmla="*/ 83 w 106"/>
                <a:gd name="T1" fmla="*/ 36 h 146"/>
                <a:gd name="T2" fmla="*/ 97 w 106"/>
                <a:gd name="T3" fmla="*/ 14 h 146"/>
                <a:gd name="T4" fmla="*/ 90 w 106"/>
                <a:gd name="T5" fmla="*/ 2 h 146"/>
                <a:gd name="T6" fmla="*/ 71 w 106"/>
                <a:gd name="T7" fmla="*/ 3 h 146"/>
                <a:gd name="T8" fmla="*/ 50 w 106"/>
                <a:gd name="T9" fmla="*/ 36 h 146"/>
                <a:gd name="T10" fmla="*/ 53 w 106"/>
                <a:gd name="T11" fmla="*/ 53 h 146"/>
                <a:gd name="T12" fmla="*/ 40 w 106"/>
                <a:gd name="T13" fmla="*/ 42 h 146"/>
                <a:gd name="T14" fmla="*/ 34 w 106"/>
                <a:gd name="T15" fmla="*/ 21 h 146"/>
                <a:gd name="T16" fmla="*/ 10 w 106"/>
                <a:gd name="T17" fmla="*/ 40 h 146"/>
                <a:gd name="T18" fmla="*/ 25 w 106"/>
                <a:gd name="T19" fmla="*/ 44 h 146"/>
                <a:gd name="T20" fmla="*/ 35 w 106"/>
                <a:gd name="T21" fmla="*/ 61 h 146"/>
                <a:gd name="T22" fmla="*/ 12 w 106"/>
                <a:gd name="T23" fmla="*/ 57 h 146"/>
                <a:gd name="T24" fmla="*/ 1 w 106"/>
                <a:gd name="T25" fmla="*/ 80 h 146"/>
                <a:gd name="T26" fmla="*/ 18 w 106"/>
                <a:gd name="T27" fmla="*/ 90 h 146"/>
                <a:gd name="T28" fmla="*/ 7 w 106"/>
                <a:gd name="T29" fmla="*/ 108 h 146"/>
                <a:gd name="T30" fmla="*/ 24 w 106"/>
                <a:gd name="T31" fmla="*/ 110 h 146"/>
                <a:gd name="T32" fmla="*/ 23 w 106"/>
                <a:gd name="T33" fmla="*/ 125 h 146"/>
                <a:gd name="T34" fmla="*/ 15 w 106"/>
                <a:gd name="T35" fmla="*/ 135 h 146"/>
                <a:gd name="T36" fmla="*/ 25 w 106"/>
                <a:gd name="T37" fmla="*/ 140 h 146"/>
                <a:gd name="T38" fmla="*/ 36 w 106"/>
                <a:gd name="T39" fmla="*/ 140 h 146"/>
                <a:gd name="T40" fmla="*/ 48 w 106"/>
                <a:gd name="T41" fmla="*/ 145 h 146"/>
                <a:gd name="T42" fmla="*/ 58 w 106"/>
                <a:gd name="T43" fmla="*/ 143 h 146"/>
                <a:gd name="T44" fmla="*/ 66 w 106"/>
                <a:gd name="T45" fmla="*/ 146 h 146"/>
                <a:gd name="T46" fmla="*/ 69 w 106"/>
                <a:gd name="T47" fmla="*/ 144 h 146"/>
                <a:gd name="T48" fmla="*/ 69 w 106"/>
                <a:gd name="T49" fmla="*/ 144 h 146"/>
                <a:gd name="T50" fmla="*/ 62 w 106"/>
                <a:gd name="T51" fmla="*/ 128 h 146"/>
                <a:gd name="T52" fmla="*/ 73 w 106"/>
                <a:gd name="T53" fmla="*/ 115 h 146"/>
                <a:gd name="T54" fmla="*/ 65 w 106"/>
                <a:gd name="T55" fmla="*/ 98 h 146"/>
                <a:gd name="T56" fmla="*/ 83 w 106"/>
                <a:gd name="T57" fmla="*/ 89 h 146"/>
                <a:gd name="T58" fmla="*/ 87 w 106"/>
                <a:gd name="T59" fmla="*/ 70 h 146"/>
                <a:gd name="T60" fmla="*/ 101 w 106"/>
                <a:gd name="T61" fmla="*/ 70 h 146"/>
                <a:gd name="T62" fmla="*/ 106 w 106"/>
                <a:gd name="T63" fmla="*/ 55 h 146"/>
                <a:gd name="T64" fmla="*/ 83 w 106"/>
                <a:gd name="T65" fmla="*/ 55 h 146"/>
                <a:gd name="T66" fmla="*/ 83 w 106"/>
                <a:gd name="T67" fmla="*/ 3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146">
                  <a:moveTo>
                    <a:pt x="83" y="36"/>
                  </a:moveTo>
                  <a:cubicBezTo>
                    <a:pt x="87" y="33"/>
                    <a:pt x="100" y="19"/>
                    <a:pt x="97" y="14"/>
                  </a:cubicBezTo>
                  <a:cubicBezTo>
                    <a:pt x="94" y="9"/>
                    <a:pt x="90" y="2"/>
                    <a:pt x="90" y="2"/>
                  </a:cubicBezTo>
                  <a:cubicBezTo>
                    <a:pt x="90" y="2"/>
                    <a:pt x="72" y="0"/>
                    <a:pt x="71" y="3"/>
                  </a:cubicBezTo>
                  <a:cubicBezTo>
                    <a:pt x="70" y="6"/>
                    <a:pt x="50" y="31"/>
                    <a:pt x="50" y="36"/>
                  </a:cubicBezTo>
                  <a:cubicBezTo>
                    <a:pt x="50" y="41"/>
                    <a:pt x="53" y="53"/>
                    <a:pt x="53" y="53"/>
                  </a:cubicBezTo>
                  <a:cubicBezTo>
                    <a:pt x="40" y="42"/>
                    <a:pt x="40" y="42"/>
                    <a:pt x="40" y="42"/>
                  </a:cubicBezTo>
                  <a:cubicBezTo>
                    <a:pt x="34" y="21"/>
                    <a:pt x="34" y="21"/>
                    <a:pt x="34" y="21"/>
                  </a:cubicBezTo>
                  <a:cubicBezTo>
                    <a:pt x="34" y="21"/>
                    <a:pt x="9" y="37"/>
                    <a:pt x="10" y="40"/>
                  </a:cubicBezTo>
                  <a:cubicBezTo>
                    <a:pt x="11" y="43"/>
                    <a:pt x="24" y="41"/>
                    <a:pt x="25" y="44"/>
                  </a:cubicBezTo>
                  <a:cubicBezTo>
                    <a:pt x="26" y="47"/>
                    <a:pt x="35" y="61"/>
                    <a:pt x="35" y="61"/>
                  </a:cubicBezTo>
                  <a:cubicBezTo>
                    <a:pt x="12" y="57"/>
                    <a:pt x="12" y="57"/>
                    <a:pt x="12" y="57"/>
                  </a:cubicBezTo>
                  <a:cubicBezTo>
                    <a:pt x="12" y="57"/>
                    <a:pt x="0" y="72"/>
                    <a:pt x="1" y="80"/>
                  </a:cubicBezTo>
                  <a:cubicBezTo>
                    <a:pt x="2" y="88"/>
                    <a:pt x="18" y="90"/>
                    <a:pt x="18" y="90"/>
                  </a:cubicBezTo>
                  <a:cubicBezTo>
                    <a:pt x="18" y="90"/>
                    <a:pt x="4" y="106"/>
                    <a:pt x="7" y="108"/>
                  </a:cubicBezTo>
                  <a:cubicBezTo>
                    <a:pt x="10" y="110"/>
                    <a:pt x="24" y="110"/>
                    <a:pt x="24" y="110"/>
                  </a:cubicBezTo>
                  <a:cubicBezTo>
                    <a:pt x="23" y="125"/>
                    <a:pt x="23" y="125"/>
                    <a:pt x="23" y="125"/>
                  </a:cubicBezTo>
                  <a:cubicBezTo>
                    <a:pt x="15" y="135"/>
                    <a:pt x="15" y="135"/>
                    <a:pt x="15" y="135"/>
                  </a:cubicBezTo>
                  <a:cubicBezTo>
                    <a:pt x="25" y="140"/>
                    <a:pt x="25" y="140"/>
                    <a:pt x="25" y="140"/>
                  </a:cubicBezTo>
                  <a:cubicBezTo>
                    <a:pt x="25" y="140"/>
                    <a:pt x="32" y="140"/>
                    <a:pt x="36" y="140"/>
                  </a:cubicBezTo>
                  <a:cubicBezTo>
                    <a:pt x="40" y="140"/>
                    <a:pt x="48" y="145"/>
                    <a:pt x="48" y="145"/>
                  </a:cubicBezTo>
                  <a:cubicBezTo>
                    <a:pt x="48" y="145"/>
                    <a:pt x="50" y="143"/>
                    <a:pt x="58" y="143"/>
                  </a:cubicBezTo>
                  <a:cubicBezTo>
                    <a:pt x="65" y="142"/>
                    <a:pt x="66" y="146"/>
                    <a:pt x="66" y="146"/>
                  </a:cubicBezTo>
                  <a:cubicBezTo>
                    <a:pt x="66" y="146"/>
                    <a:pt x="67" y="145"/>
                    <a:pt x="69" y="144"/>
                  </a:cubicBezTo>
                  <a:cubicBezTo>
                    <a:pt x="69" y="144"/>
                    <a:pt x="69" y="144"/>
                    <a:pt x="69" y="144"/>
                  </a:cubicBezTo>
                  <a:cubicBezTo>
                    <a:pt x="65" y="134"/>
                    <a:pt x="62" y="128"/>
                    <a:pt x="62" y="128"/>
                  </a:cubicBezTo>
                  <a:cubicBezTo>
                    <a:pt x="73" y="115"/>
                    <a:pt x="73" y="115"/>
                    <a:pt x="73" y="115"/>
                  </a:cubicBezTo>
                  <a:cubicBezTo>
                    <a:pt x="73" y="115"/>
                    <a:pt x="55" y="100"/>
                    <a:pt x="65" y="98"/>
                  </a:cubicBezTo>
                  <a:cubicBezTo>
                    <a:pt x="75" y="96"/>
                    <a:pt x="83" y="89"/>
                    <a:pt x="83" y="89"/>
                  </a:cubicBezTo>
                  <a:cubicBezTo>
                    <a:pt x="87" y="70"/>
                    <a:pt x="87" y="70"/>
                    <a:pt x="87" y="70"/>
                  </a:cubicBezTo>
                  <a:cubicBezTo>
                    <a:pt x="101" y="70"/>
                    <a:pt x="101" y="70"/>
                    <a:pt x="101" y="70"/>
                  </a:cubicBezTo>
                  <a:cubicBezTo>
                    <a:pt x="106" y="55"/>
                    <a:pt x="106" y="55"/>
                    <a:pt x="106" y="55"/>
                  </a:cubicBezTo>
                  <a:cubicBezTo>
                    <a:pt x="83" y="55"/>
                    <a:pt x="83" y="55"/>
                    <a:pt x="83" y="55"/>
                  </a:cubicBezTo>
                  <a:cubicBezTo>
                    <a:pt x="83" y="55"/>
                    <a:pt x="79" y="39"/>
                    <a:pt x="83" y="36"/>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6" name="Freeform 45">
              <a:extLst>
                <a:ext uri="{FF2B5EF4-FFF2-40B4-BE49-F238E27FC236}">
                  <a16:creationId xmlns:a16="http://schemas.microsoft.com/office/drawing/2014/main" id="{23D1889A-D710-4AD4-A1FB-F0DD62C77011}"/>
                </a:ext>
              </a:extLst>
            </p:cNvPr>
            <p:cNvSpPr>
              <a:spLocks/>
            </p:cNvSpPr>
            <p:nvPr/>
          </p:nvSpPr>
          <p:spPr bwMode="auto">
            <a:xfrm>
              <a:off x="4252129" y="2431292"/>
              <a:ext cx="57304" cy="80427"/>
            </a:xfrm>
            <a:custGeom>
              <a:avLst/>
              <a:gdLst>
                <a:gd name="T0" fmla="*/ 0 w 24"/>
                <a:gd name="T1" fmla="*/ 0 h 34"/>
                <a:gd name="T2" fmla="*/ 2 w 24"/>
                <a:gd name="T3" fmla="*/ 24 h 34"/>
                <a:gd name="T4" fmla="*/ 18 w 24"/>
                <a:gd name="T5" fmla="*/ 34 h 34"/>
                <a:gd name="T6" fmla="*/ 24 w 24"/>
                <a:gd name="T7" fmla="*/ 16 h 34"/>
                <a:gd name="T8" fmla="*/ 12 w 24"/>
                <a:gd name="T9" fmla="*/ 2 h 34"/>
                <a:gd name="T10" fmla="*/ 0 w 24"/>
                <a:gd name="T11" fmla="*/ 0 h 34"/>
              </a:gdLst>
              <a:ahLst/>
              <a:cxnLst>
                <a:cxn ang="0">
                  <a:pos x="T0" y="T1"/>
                </a:cxn>
                <a:cxn ang="0">
                  <a:pos x="T2" y="T3"/>
                </a:cxn>
                <a:cxn ang="0">
                  <a:pos x="T4" y="T5"/>
                </a:cxn>
                <a:cxn ang="0">
                  <a:pos x="T6" y="T7"/>
                </a:cxn>
                <a:cxn ang="0">
                  <a:pos x="T8" y="T9"/>
                </a:cxn>
                <a:cxn ang="0">
                  <a:pos x="T10" y="T11"/>
                </a:cxn>
              </a:cxnLst>
              <a:rect l="0" t="0" r="r" b="b"/>
              <a:pathLst>
                <a:path w="24" h="34">
                  <a:moveTo>
                    <a:pt x="0" y="0"/>
                  </a:moveTo>
                  <a:cubicBezTo>
                    <a:pt x="2" y="24"/>
                    <a:pt x="2" y="24"/>
                    <a:pt x="2" y="24"/>
                  </a:cubicBezTo>
                  <a:cubicBezTo>
                    <a:pt x="8" y="24"/>
                    <a:pt x="18" y="34"/>
                    <a:pt x="18" y="34"/>
                  </a:cubicBezTo>
                  <a:cubicBezTo>
                    <a:pt x="24" y="16"/>
                    <a:pt x="24" y="16"/>
                    <a:pt x="24" y="16"/>
                  </a:cubicBezTo>
                  <a:cubicBezTo>
                    <a:pt x="12" y="2"/>
                    <a:pt x="12" y="2"/>
                    <a:pt x="12" y="2"/>
                  </a:cubicBezTo>
                  <a:lnTo>
                    <a:pt x="0" y="0"/>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7" name="Freeform 46">
              <a:extLst>
                <a:ext uri="{FF2B5EF4-FFF2-40B4-BE49-F238E27FC236}">
                  <a16:creationId xmlns:a16="http://schemas.microsoft.com/office/drawing/2014/main" id="{D4C5A4DF-8C8C-4771-9C03-540DA391D5B8}"/>
                </a:ext>
              </a:extLst>
            </p:cNvPr>
            <p:cNvSpPr>
              <a:spLocks/>
            </p:cNvSpPr>
            <p:nvPr/>
          </p:nvSpPr>
          <p:spPr bwMode="auto">
            <a:xfrm>
              <a:off x="4352662" y="2361924"/>
              <a:ext cx="148790" cy="173923"/>
            </a:xfrm>
            <a:custGeom>
              <a:avLst/>
              <a:gdLst>
                <a:gd name="T0" fmla="*/ 10 w 63"/>
                <a:gd name="T1" fmla="*/ 41 h 73"/>
                <a:gd name="T2" fmla="*/ 12 w 63"/>
                <a:gd name="T3" fmla="*/ 55 h 73"/>
                <a:gd name="T4" fmla="*/ 29 w 63"/>
                <a:gd name="T5" fmla="*/ 54 h 73"/>
                <a:gd name="T6" fmla="*/ 38 w 63"/>
                <a:gd name="T7" fmla="*/ 66 h 73"/>
                <a:gd name="T8" fmla="*/ 52 w 63"/>
                <a:gd name="T9" fmla="*/ 45 h 73"/>
                <a:gd name="T10" fmla="*/ 55 w 63"/>
                <a:gd name="T11" fmla="*/ 40 h 73"/>
                <a:gd name="T12" fmla="*/ 43 w 63"/>
                <a:gd name="T13" fmla="*/ 28 h 73"/>
                <a:gd name="T14" fmla="*/ 48 w 63"/>
                <a:gd name="T15" fmla="*/ 25 h 73"/>
                <a:gd name="T16" fmla="*/ 57 w 63"/>
                <a:gd name="T17" fmla="*/ 12 h 73"/>
                <a:gd name="T18" fmla="*/ 48 w 63"/>
                <a:gd name="T19" fmla="*/ 1 h 73"/>
                <a:gd name="T20" fmla="*/ 34 w 63"/>
                <a:gd name="T21" fmla="*/ 11 h 73"/>
                <a:gd name="T22" fmla="*/ 34 w 63"/>
                <a:gd name="T23" fmla="*/ 20 h 73"/>
                <a:gd name="T24" fmla="*/ 23 w 63"/>
                <a:gd name="T25" fmla="*/ 9 h 73"/>
                <a:gd name="T26" fmla="*/ 18 w 63"/>
                <a:gd name="T27" fmla="*/ 14 h 73"/>
                <a:gd name="T28" fmla="*/ 2 w 63"/>
                <a:gd name="T29" fmla="*/ 25 h 73"/>
                <a:gd name="T30" fmla="*/ 10 w 63"/>
                <a:gd name="T31" fmla="*/ 4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73">
                  <a:moveTo>
                    <a:pt x="10" y="41"/>
                  </a:moveTo>
                  <a:cubicBezTo>
                    <a:pt x="9" y="52"/>
                    <a:pt x="0" y="54"/>
                    <a:pt x="12" y="55"/>
                  </a:cubicBezTo>
                  <a:cubicBezTo>
                    <a:pt x="24" y="56"/>
                    <a:pt x="29" y="54"/>
                    <a:pt x="29" y="54"/>
                  </a:cubicBezTo>
                  <a:cubicBezTo>
                    <a:pt x="29" y="54"/>
                    <a:pt x="37" y="73"/>
                    <a:pt x="38" y="66"/>
                  </a:cubicBezTo>
                  <a:cubicBezTo>
                    <a:pt x="40" y="60"/>
                    <a:pt x="50" y="46"/>
                    <a:pt x="52" y="45"/>
                  </a:cubicBezTo>
                  <a:cubicBezTo>
                    <a:pt x="54" y="45"/>
                    <a:pt x="63" y="45"/>
                    <a:pt x="55" y="40"/>
                  </a:cubicBezTo>
                  <a:cubicBezTo>
                    <a:pt x="47" y="35"/>
                    <a:pt x="40" y="28"/>
                    <a:pt x="43" y="28"/>
                  </a:cubicBezTo>
                  <a:cubicBezTo>
                    <a:pt x="46" y="27"/>
                    <a:pt x="53" y="28"/>
                    <a:pt x="48" y="25"/>
                  </a:cubicBezTo>
                  <a:cubicBezTo>
                    <a:pt x="43" y="21"/>
                    <a:pt x="57" y="12"/>
                    <a:pt x="57" y="12"/>
                  </a:cubicBezTo>
                  <a:cubicBezTo>
                    <a:pt x="57" y="12"/>
                    <a:pt x="49" y="0"/>
                    <a:pt x="48" y="1"/>
                  </a:cubicBezTo>
                  <a:cubicBezTo>
                    <a:pt x="47" y="1"/>
                    <a:pt x="34" y="6"/>
                    <a:pt x="34" y="11"/>
                  </a:cubicBezTo>
                  <a:cubicBezTo>
                    <a:pt x="34" y="16"/>
                    <a:pt x="34" y="20"/>
                    <a:pt x="34" y="20"/>
                  </a:cubicBezTo>
                  <a:cubicBezTo>
                    <a:pt x="34" y="20"/>
                    <a:pt x="25" y="8"/>
                    <a:pt x="23" y="9"/>
                  </a:cubicBezTo>
                  <a:cubicBezTo>
                    <a:pt x="21" y="10"/>
                    <a:pt x="18" y="14"/>
                    <a:pt x="18" y="14"/>
                  </a:cubicBezTo>
                  <a:cubicBezTo>
                    <a:pt x="2" y="25"/>
                    <a:pt x="2" y="25"/>
                    <a:pt x="2" y="25"/>
                  </a:cubicBezTo>
                  <a:cubicBezTo>
                    <a:pt x="2" y="25"/>
                    <a:pt x="11" y="30"/>
                    <a:pt x="10" y="4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8" name="Freeform 47">
              <a:extLst>
                <a:ext uri="{FF2B5EF4-FFF2-40B4-BE49-F238E27FC236}">
                  <a16:creationId xmlns:a16="http://schemas.microsoft.com/office/drawing/2014/main" id="{E53BD317-8A1F-4D4D-B2CA-71E9A21AD90A}"/>
                </a:ext>
              </a:extLst>
            </p:cNvPr>
            <p:cNvSpPr>
              <a:spLocks/>
            </p:cNvSpPr>
            <p:nvPr/>
          </p:nvSpPr>
          <p:spPr bwMode="auto">
            <a:xfrm>
              <a:off x="4342609" y="2506692"/>
              <a:ext cx="192018" cy="52278"/>
            </a:xfrm>
            <a:custGeom>
              <a:avLst/>
              <a:gdLst>
                <a:gd name="T0" fmla="*/ 66 w 81"/>
                <a:gd name="T1" fmla="*/ 0 h 22"/>
                <a:gd name="T2" fmla="*/ 49 w 81"/>
                <a:gd name="T3" fmla="*/ 6 h 22"/>
                <a:gd name="T4" fmla="*/ 35 w 81"/>
                <a:gd name="T5" fmla="*/ 9 h 22"/>
                <a:gd name="T6" fmla="*/ 10 w 81"/>
                <a:gd name="T7" fmla="*/ 2 h 22"/>
                <a:gd name="T8" fmla="*/ 10 w 81"/>
                <a:gd name="T9" fmla="*/ 12 h 22"/>
                <a:gd name="T10" fmla="*/ 30 w 81"/>
                <a:gd name="T11" fmla="*/ 22 h 22"/>
                <a:gd name="T12" fmla="*/ 63 w 81"/>
                <a:gd name="T13" fmla="*/ 15 h 22"/>
                <a:gd name="T14" fmla="*/ 66 w 81"/>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22">
                  <a:moveTo>
                    <a:pt x="66" y="0"/>
                  </a:moveTo>
                  <a:cubicBezTo>
                    <a:pt x="49" y="6"/>
                    <a:pt x="49" y="6"/>
                    <a:pt x="49" y="6"/>
                  </a:cubicBezTo>
                  <a:cubicBezTo>
                    <a:pt x="49" y="6"/>
                    <a:pt x="39" y="10"/>
                    <a:pt x="35" y="9"/>
                  </a:cubicBezTo>
                  <a:cubicBezTo>
                    <a:pt x="31" y="9"/>
                    <a:pt x="15" y="2"/>
                    <a:pt x="10" y="2"/>
                  </a:cubicBezTo>
                  <a:cubicBezTo>
                    <a:pt x="0" y="2"/>
                    <a:pt x="2" y="13"/>
                    <a:pt x="10" y="12"/>
                  </a:cubicBezTo>
                  <a:cubicBezTo>
                    <a:pt x="18" y="10"/>
                    <a:pt x="30" y="22"/>
                    <a:pt x="30" y="22"/>
                  </a:cubicBezTo>
                  <a:cubicBezTo>
                    <a:pt x="30" y="22"/>
                    <a:pt x="46" y="19"/>
                    <a:pt x="63" y="15"/>
                  </a:cubicBezTo>
                  <a:cubicBezTo>
                    <a:pt x="81" y="12"/>
                    <a:pt x="66" y="0"/>
                    <a:pt x="66" y="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9" name="Freeform 48">
              <a:extLst>
                <a:ext uri="{FF2B5EF4-FFF2-40B4-BE49-F238E27FC236}">
                  <a16:creationId xmlns:a16="http://schemas.microsoft.com/office/drawing/2014/main" id="{E9F9BD5D-55CF-48BD-9CCB-6E91D53E7C61}"/>
                </a:ext>
              </a:extLst>
            </p:cNvPr>
            <p:cNvSpPr>
              <a:spLocks noEditPoints="1"/>
            </p:cNvSpPr>
            <p:nvPr/>
          </p:nvSpPr>
          <p:spPr bwMode="auto">
            <a:xfrm>
              <a:off x="5330850" y="1951749"/>
              <a:ext cx="562986" cy="253344"/>
            </a:xfrm>
            <a:custGeom>
              <a:avLst/>
              <a:gdLst>
                <a:gd name="T0" fmla="*/ 228 w 237"/>
                <a:gd name="T1" fmla="*/ 76 h 107"/>
                <a:gd name="T2" fmla="*/ 221 w 237"/>
                <a:gd name="T3" fmla="*/ 74 h 107"/>
                <a:gd name="T4" fmla="*/ 226 w 237"/>
                <a:gd name="T5" fmla="*/ 56 h 107"/>
                <a:gd name="T6" fmla="*/ 217 w 237"/>
                <a:gd name="T7" fmla="*/ 52 h 107"/>
                <a:gd name="T8" fmla="*/ 220 w 237"/>
                <a:gd name="T9" fmla="*/ 36 h 107"/>
                <a:gd name="T10" fmla="*/ 231 w 237"/>
                <a:gd name="T11" fmla="*/ 30 h 107"/>
                <a:gd name="T12" fmla="*/ 228 w 237"/>
                <a:gd name="T13" fmla="*/ 21 h 107"/>
                <a:gd name="T14" fmla="*/ 231 w 237"/>
                <a:gd name="T15" fmla="*/ 11 h 107"/>
                <a:gd name="T16" fmla="*/ 170 w 237"/>
                <a:gd name="T17" fmla="*/ 1 h 107"/>
                <a:gd name="T18" fmla="*/ 110 w 237"/>
                <a:gd name="T19" fmla="*/ 6 h 107"/>
                <a:gd name="T20" fmla="*/ 60 w 237"/>
                <a:gd name="T21" fmla="*/ 31 h 107"/>
                <a:gd name="T22" fmla="*/ 66 w 237"/>
                <a:gd name="T23" fmla="*/ 56 h 107"/>
                <a:gd name="T24" fmla="*/ 105 w 237"/>
                <a:gd name="T25" fmla="*/ 61 h 107"/>
                <a:gd name="T26" fmla="*/ 98 w 237"/>
                <a:gd name="T27" fmla="*/ 85 h 107"/>
                <a:gd name="T28" fmla="*/ 102 w 237"/>
                <a:gd name="T29" fmla="*/ 85 h 107"/>
                <a:gd name="T30" fmla="*/ 123 w 237"/>
                <a:gd name="T31" fmla="*/ 79 h 107"/>
                <a:gd name="T32" fmla="*/ 144 w 237"/>
                <a:gd name="T33" fmla="*/ 78 h 107"/>
                <a:gd name="T34" fmla="*/ 172 w 237"/>
                <a:gd name="T35" fmla="*/ 95 h 107"/>
                <a:gd name="T36" fmla="*/ 192 w 237"/>
                <a:gd name="T37" fmla="*/ 107 h 107"/>
                <a:gd name="T38" fmla="*/ 203 w 237"/>
                <a:gd name="T39" fmla="*/ 101 h 107"/>
                <a:gd name="T40" fmla="*/ 216 w 237"/>
                <a:gd name="T41" fmla="*/ 106 h 107"/>
                <a:gd name="T42" fmla="*/ 224 w 237"/>
                <a:gd name="T43" fmla="*/ 105 h 107"/>
                <a:gd name="T44" fmla="*/ 224 w 237"/>
                <a:gd name="T45" fmla="*/ 97 h 107"/>
                <a:gd name="T46" fmla="*/ 237 w 237"/>
                <a:gd name="T47" fmla="*/ 88 h 107"/>
                <a:gd name="T48" fmla="*/ 228 w 237"/>
                <a:gd name="T49" fmla="*/ 76 h 107"/>
                <a:gd name="T50" fmla="*/ 27 w 237"/>
                <a:gd name="T51" fmla="*/ 53 h 107"/>
                <a:gd name="T52" fmla="*/ 7 w 237"/>
                <a:gd name="T53" fmla="*/ 55 h 107"/>
                <a:gd name="T54" fmla="*/ 9 w 237"/>
                <a:gd name="T55" fmla="*/ 74 h 107"/>
                <a:gd name="T56" fmla="*/ 15 w 237"/>
                <a:gd name="T57" fmla="*/ 87 h 107"/>
                <a:gd name="T58" fmla="*/ 34 w 237"/>
                <a:gd name="T59" fmla="*/ 74 h 107"/>
                <a:gd name="T60" fmla="*/ 55 w 237"/>
                <a:gd name="T61" fmla="*/ 60 h 107"/>
                <a:gd name="T62" fmla="*/ 51 w 237"/>
                <a:gd name="T63" fmla="*/ 49 h 107"/>
                <a:gd name="T64" fmla="*/ 27 w 237"/>
                <a:gd name="T65" fmla="*/ 53 h 107"/>
                <a:gd name="T66" fmla="*/ 29 w 237"/>
                <a:gd name="T67" fmla="*/ 45 h 107"/>
                <a:gd name="T68" fmla="*/ 35 w 237"/>
                <a:gd name="T69" fmla="*/ 25 h 107"/>
                <a:gd name="T70" fmla="*/ 29 w 237"/>
                <a:gd name="T71" fmla="*/ 4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107">
                  <a:moveTo>
                    <a:pt x="228" y="76"/>
                  </a:moveTo>
                  <a:cubicBezTo>
                    <a:pt x="221" y="74"/>
                    <a:pt x="221" y="74"/>
                    <a:pt x="221" y="74"/>
                  </a:cubicBezTo>
                  <a:cubicBezTo>
                    <a:pt x="226" y="56"/>
                    <a:pt x="226" y="56"/>
                    <a:pt x="226" y="56"/>
                  </a:cubicBezTo>
                  <a:cubicBezTo>
                    <a:pt x="217" y="52"/>
                    <a:pt x="217" y="52"/>
                    <a:pt x="217" y="52"/>
                  </a:cubicBezTo>
                  <a:cubicBezTo>
                    <a:pt x="217" y="52"/>
                    <a:pt x="216" y="38"/>
                    <a:pt x="220" y="36"/>
                  </a:cubicBezTo>
                  <a:cubicBezTo>
                    <a:pt x="224" y="34"/>
                    <a:pt x="231" y="30"/>
                    <a:pt x="231" y="30"/>
                  </a:cubicBezTo>
                  <a:cubicBezTo>
                    <a:pt x="228" y="21"/>
                    <a:pt x="228" y="21"/>
                    <a:pt x="228" y="21"/>
                  </a:cubicBezTo>
                  <a:cubicBezTo>
                    <a:pt x="231" y="11"/>
                    <a:pt x="231" y="11"/>
                    <a:pt x="231" y="11"/>
                  </a:cubicBezTo>
                  <a:cubicBezTo>
                    <a:pt x="215" y="8"/>
                    <a:pt x="180" y="2"/>
                    <a:pt x="170" y="1"/>
                  </a:cubicBezTo>
                  <a:cubicBezTo>
                    <a:pt x="157" y="0"/>
                    <a:pt x="110" y="6"/>
                    <a:pt x="110" y="6"/>
                  </a:cubicBezTo>
                  <a:cubicBezTo>
                    <a:pt x="110" y="6"/>
                    <a:pt x="60" y="24"/>
                    <a:pt x="60" y="31"/>
                  </a:cubicBezTo>
                  <a:cubicBezTo>
                    <a:pt x="60" y="38"/>
                    <a:pt x="66" y="56"/>
                    <a:pt x="66" y="56"/>
                  </a:cubicBezTo>
                  <a:cubicBezTo>
                    <a:pt x="105" y="61"/>
                    <a:pt x="105" y="61"/>
                    <a:pt x="105" y="61"/>
                  </a:cubicBezTo>
                  <a:cubicBezTo>
                    <a:pt x="98" y="85"/>
                    <a:pt x="98" y="85"/>
                    <a:pt x="98" y="85"/>
                  </a:cubicBezTo>
                  <a:cubicBezTo>
                    <a:pt x="102" y="85"/>
                    <a:pt x="102" y="85"/>
                    <a:pt x="102" y="85"/>
                  </a:cubicBezTo>
                  <a:cubicBezTo>
                    <a:pt x="123" y="79"/>
                    <a:pt x="123" y="79"/>
                    <a:pt x="123" y="79"/>
                  </a:cubicBezTo>
                  <a:cubicBezTo>
                    <a:pt x="123" y="79"/>
                    <a:pt x="129" y="75"/>
                    <a:pt x="144" y="78"/>
                  </a:cubicBezTo>
                  <a:cubicBezTo>
                    <a:pt x="159" y="81"/>
                    <a:pt x="161" y="86"/>
                    <a:pt x="172" y="95"/>
                  </a:cubicBezTo>
                  <a:cubicBezTo>
                    <a:pt x="183" y="104"/>
                    <a:pt x="186" y="107"/>
                    <a:pt x="192" y="107"/>
                  </a:cubicBezTo>
                  <a:cubicBezTo>
                    <a:pt x="198" y="107"/>
                    <a:pt x="200" y="100"/>
                    <a:pt x="203" y="101"/>
                  </a:cubicBezTo>
                  <a:cubicBezTo>
                    <a:pt x="206" y="102"/>
                    <a:pt x="216" y="106"/>
                    <a:pt x="216" y="106"/>
                  </a:cubicBezTo>
                  <a:cubicBezTo>
                    <a:pt x="224" y="105"/>
                    <a:pt x="224" y="105"/>
                    <a:pt x="224" y="105"/>
                  </a:cubicBezTo>
                  <a:cubicBezTo>
                    <a:pt x="224" y="97"/>
                    <a:pt x="224" y="97"/>
                    <a:pt x="224" y="97"/>
                  </a:cubicBezTo>
                  <a:cubicBezTo>
                    <a:pt x="237" y="88"/>
                    <a:pt x="237" y="88"/>
                    <a:pt x="237" y="88"/>
                  </a:cubicBezTo>
                  <a:lnTo>
                    <a:pt x="228" y="76"/>
                  </a:lnTo>
                  <a:close/>
                  <a:moveTo>
                    <a:pt x="27" y="53"/>
                  </a:moveTo>
                  <a:cubicBezTo>
                    <a:pt x="27" y="53"/>
                    <a:pt x="15" y="52"/>
                    <a:pt x="7" y="55"/>
                  </a:cubicBezTo>
                  <a:cubicBezTo>
                    <a:pt x="0" y="57"/>
                    <a:pt x="9" y="74"/>
                    <a:pt x="9" y="74"/>
                  </a:cubicBezTo>
                  <a:cubicBezTo>
                    <a:pt x="15" y="87"/>
                    <a:pt x="15" y="87"/>
                    <a:pt x="15" y="87"/>
                  </a:cubicBezTo>
                  <a:cubicBezTo>
                    <a:pt x="15" y="87"/>
                    <a:pt x="30" y="74"/>
                    <a:pt x="34" y="74"/>
                  </a:cubicBezTo>
                  <a:cubicBezTo>
                    <a:pt x="38" y="74"/>
                    <a:pt x="55" y="60"/>
                    <a:pt x="55" y="60"/>
                  </a:cubicBezTo>
                  <a:cubicBezTo>
                    <a:pt x="51" y="49"/>
                    <a:pt x="51" y="49"/>
                    <a:pt x="51" y="49"/>
                  </a:cubicBezTo>
                  <a:lnTo>
                    <a:pt x="27" y="53"/>
                  </a:lnTo>
                  <a:close/>
                  <a:moveTo>
                    <a:pt x="29" y="45"/>
                  </a:moveTo>
                  <a:cubicBezTo>
                    <a:pt x="44" y="45"/>
                    <a:pt x="48" y="23"/>
                    <a:pt x="35" y="25"/>
                  </a:cubicBezTo>
                  <a:cubicBezTo>
                    <a:pt x="22" y="28"/>
                    <a:pt x="15" y="45"/>
                    <a:pt x="29" y="45"/>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10" name="Freeform 49">
              <a:extLst>
                <a:ext uri="{FF2B5EF4-FFF2-40B4-BE49-F238E27FC236}">
                  <a16:creationId xmlns:a16="http://schemas.microsoft.com/office/drawing/2014/main" id="{BAE33DB0-973B-4D31-A369-A91D72F07082}"/>
                </a:ext>
              </a:extLst>
            </p:cNvPr>
            <p:cNvSpPr>
              <a:spLocks/>
            </p:cNvSpPr>
            <p:nvPr/>
          </p:nvSpPr>
          <p:spPr bwMode="auto">
            <a:xfrm>
              <a:off x="5107666" y="3915162"/>
              <a:ext cx="190008" cy="214137"/>
            </a:xfrm>
            <a:custGeom>
              <a:avLst/>
              <a:gdLst>
                <a:gd name="T0" fmla="*/ 79 w 80"/>
                <a:gd name="T1" fmla="*/ 27 h 90"/>
                <a:gd name="T2" fmla="*/ 73 w 80"/>
                <a:gd name="T3" fmla="*/ 31 h 90"/>
                <a:gd name="T4" fmla="*/ 65 w 80"/>
                <a:gd name="T5" fmla="*/ 17 h 90"/>
                <a:gd name="T6" fmla="*/ 56 w 80"/>
                <a:gd name="T7" fmla="*/ 10 h 90"/>
                <a:gd name="T8" fmla="*/ 46 w 80"/>
                <a:gd name="T9" fmla="*/ 0 h 90"/>
                <a:gd name="T10" fmla="*/ 29 w 80"/>
                <a:gd name="T11" fmla="*/ 0 h 90"/>
                <a:gd name="T12" fmla="*/ 29 w 80"/>
                <a:gd name="T13" fmla="*/ 15 h 90"/>
                <a:gd name="T14" fmla="*/ 18 w 80"/>
                <a:gd name="T15" fmla="*/ 14 h 90"/>
                <a:gd name="T16" fmla="*/ 9 w 80"/>
                <a:gd name="T17" fmla="*/ 29 h 90"/>
                <a:gd name="T18" fmla="*/ 4 w 80"/>
                <a:gd name="T19" fmla="*/ 29 h 90"/>
                <a:gd name="T20" fmla="*/ 3 w 80"/>
                <a:gd name="T21" fmla="*/ 39 h 90"/>
                <a:gd name="T22" fmla="*/ 17 w 80"/>
                <a:gd name="T23" fmla="*/ 48 h 90"/>
                <a:gd name="T24" fmla="*/ 4 w 80"/>
                <a:gd name="T25" fmla="*/ 64 h 90"/>
                <a:gd name="T26" fmla="*/ 6 w 80"/>
                <a:gd name="T27" fmla="*/ 65 h 90"/>
                <a:gd name="T28" fmla="*/ 24 w 80"/>
                <a:gd name="T29" fmla="*/ 62 h 90"/>
                <a:gd name="T30" fmla="*/ 24 w 80"/>
                <a:gd name="T31" fmla="*/ 74 h 90"/>
                <a:gd name="T32" fmla="*/ 41 w 80"/>
                <a:gd name="T33" fmla="*/ 90 h 90"/>
                <a:gd name="T34" fmla="*/ 48 w 80"/>
                <a:gd name="T35" fmla="*/ 81 h 90"/>
                <a:gd name="T36" fmla="*/ 46 w 80"/>
                <a:gd name="T37" fmla="*/ 71 h 90"/>
                <a:gd name="T38" fmla="*/ 40 w 80"/>
                <a:gd name="T39" fmla="*/ 74 h 90"/>
                <a:gd name="T40" fmla="*/ 31 w 80"/>
                <a:gd name="T41" fmla="*/ 68 h 90"/>
                <a:gd name="T42" fmla="*/ 46 w 80"/>
                <a:gd name="T43" fmla="*/ 68 h 90"/>
                <a:gd name="T44" fmla="*/ 52 w 80"/>
                <a:gd name="T45" fmla="*/ 63 h 90"/>
                <a:gd name="T46" fmla="*/ 54 w 80"/>
                <a:gd name="T47" fmla="*/ 49 h 90"/>
                <a:gd name="T48" fmla="*/ 72 w 80"/>
                <a:gd name="T49" fmla="*/ 59 h 90"/>
                <a:gd name="T50" fmla="*/ 78 w 80"/>
                <a:gd name="T51" fmla="*/ 53 h 90"/>
                <a:gd name="T52" fmla="*/ 80 w 80"/>
                <a:gd name="T53" fmla="*/ 56 h 90"/>
                <a:gd name="T54" fmla="*/ 79 w 80"/>
                <a:gd name="T55" fmla="*/ 2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90">
                  <a:moveTo>
                    <a:pt x="79" y="27"/>
                  </a:moveTo>
                  <a:cubicBezTo>
                    <a:pt x="73" y="31"/>
                    <a:pt x="73" y="31"/>
                    <a:pt x="73" y="31"/>
                  </a:cubicBezTo>
                  <a:cubicBezTo>
                    <a:pt x="65" y="17"/>
                    <a:pt x="65" y="17"/>
                    <a:pt x="65" y="17"/>
                  </a:cubicBezTo>
                  <a:cubicBezTo>
                    <a:pt x="56" y="10"/>
                    <a:pt x="56" y="10"/>
                    <a:pt x="56" y="10"/>
                  </a:cubicBezTo>
                  <a:cubicBezTo>
                    <a:pt x="46" y="0"/>
                    <a:pt x="46" y="0"/>
                    <a:pt x="46" y="0"/>
                  </a:cubicBezTo>
                  <a:cubicBezTo>
                    <a:pt x="39" y="2"/>
                    <a:pt x="29" y="0"/>
                    <a:pt x="29" y="0"/>
                  </a:cubicBezTo>
                  <a:cubicBezTo>
                    <a:pt x="29" y="15"/>
                    <a:pt x="29" y="15"/>
                    <a:pt x="29" y="15"/>
                  </a:cubicBezTo>
                  <a:cubicBezTo>
                    <a:pt x="29" y="15"/>
                    <a:pt x="21" y="10"/>
                    <a:pt x="18" y="14"/>
                  </a:cubicBezTo>
                  <a:cubicBezTo>
                    <a:pt x="15" y="18"/>
                    <a:pt x="9" y="29"/>
                    <a:pt x="9" y="29"/>
                  </a:cubicBezTo>
                  <a:cubicBezTo>
                    <a:pt x="4" y="29"/>
                    <a:pt x="4" y="29"/>
                    <a:pt x="4" y="29"/>
                  </a:cubicBezTo>
                  <a:cubicBezTo>
                    <a:pt x="4" y="29"/>
                    <a:pt x="0" y="36"/>
                    <a:pt x="3" y="39"/>
                  </a:cubicBezTo>
                  <a:cubicBezTo>
                    <a:pt x="6" y="42"/>
                    <a:pt x="17" y="48"/>
                    <a:pt x="17" y="48"/>
                  </a:cubicBezTo>
                  <a:cubicBezTo>
                    <a:pt x="4" y="64"/>
                    <a:pt x="4" y="64"/>
                    <a:pt x="4" y="64"/>
                  </a:cubicBezTo>
                  <a:cubicBezTo>
                    <a:pt x="5" y="65"/>
                    <a:pt x="6" y="65"/>
                    <a:pt x="6" y="65"/>
                  </a:cubicBezTo>
                  <a:cubicBezTo>
                    <a:pt x="13" y="67"/>
                    <a:pt x="24" y="62"/>
                    <a:pt x="24" y="62"/>
                  </a:cubicBezTo>
                  <a:cubicBezTo>
                    <a:pt x="24" y="74"/>
                    <a:pt x="24" y="74"/>
                    <a:pt x="24" y="74"/>
                  </a:cubicBezTo>
                  <a:cubicBezTo>
                    <a:pt x="41" y="90"/>
                    <a:pt x="41" y="90"/>
                    <a:pt x="41" y="90"/>
                  </a:cubicBezTo>
                  <a:cubicBezTo>
                    <a:pt x="48" y="81"/>
                    <a:pt x="48" y="81"/>
                    <a:pt x="48" y="81"/>
                  </a:cubicBezTo>
                  <a:cubicBezTo>
                    <a:pt x="46" y="71"/>
                    <a:pt x="46" y="71"/>
                    <a:pt x="46" y="71"/>
                  </a:cubicBezTo>
                  <a:cubicBezTo>
                    <a:pt x="40" y="74"/>
                    <a:pt x="40" y="74"/>
                    <a:pt x="40" y="74"/>
                  </a:cubicBezTo>
                  <a:cubicBezTo>
                    <a:pt x="31" y="68"/>
                    <a:pt x="31" y="68"/>
                    <a:pt x="31" y="68"/>
                  </a:cubicBezTo>
                  <a:cubicBezTo>
                    <a:pt x="46" y="68"/>
                    <a:pt x="46" y="68"/>
                    <a:pt x="46" y="68"/>
                  </a:cubicBezTo>
                  <a:cubicBezTo>
                    <a:pt x="52" y="63"/>
                    <a:pt x="52" y="63"/>
                    <a:pt x="52" y="63"/>
                  </a:cubicBezTo>
                  <a:cubicBezTo>
                    <a:pt x="54" y="49"/>
                    <a:pt x="54" y="49"/>
                    <a:pt x="54" y="49"/>
                  </a:cubicBezTo>
                  <a:cubicBezTo>
                    <a:pt x="72" y="59"/>
                    <a:pt x="72" y="59"/>
                    <a:pt x="72" y="59"/>
                  </a:cubicBezTo>
                  <a:cubicBezTo>
                    <a:pt x="78" y="53"/>
                    <a:pt x="78" y="53"/>
                    <a:pt x="78" y="53"/>
                  </a:cubicBezTo>
                  <a:cubicBezTo>
                    <a:pt x="80" y="56"/>
                    <a:pt x="80" y="56"/>
                    <a:pt x="80" y="56"/>
                  </a:cubicBezTo>
                  <a:lnTo>
                    <a:pt x="79" y="27"/>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11" name="Freeform 50">
              <a:extLst>
                <a:ext uri="{FF2B5EF4-FFF2-40B4-BE49-F238E27FC236}">
                  <a16:creationId xmlns:a16="http://schemas.microsoft.com/office/drawing/2014/main" id="{AD8EAC78-3542-40A1-93B2-6CEFCB13E82D}"/>
                </a:ext>
              </a:extLst>
            </p:cNvPr>
            <p:cNvSpPr>
              <a:spLocks noEditPoints="1"/>
            </p:cNvSpPr>
            <p:nvPr/>
          </p:nvSpPr>
          <p:spPr bwMode="auto">
            <a:xfrm>
              <a:off x="5142854" y="3575362"/>
              <a:ext cx="439330" cy="553938"/>
            </a:xfrm>
            <a:custGeom>
              <a:avLst/>
              <a:gdLst>
                <a:gd name="T0" fmla="*/ 167 w 185"/>
                <a:gd name="T1" fmla="*/ 152 h 233"/>
                <a:gd name="T2" fmla="*/ 160 w 185"/>
                <a:gd name="T3" fmla="*/ 140 h 233"/>
                <a:gd name="T4" fmla="*/ 166 w 185"/>
                <a:gd name="T5" fmla="*/ 120 h 233"/>
                <a:gd name="T6" fmla="*/ 161 w 185"/>
                <a:gd name="T7" fmla="*/ 102 h 233"/>
                <a:gd name="T8" fmla="*/ 171 w 185"/>
                <a:gd name="T9" fmla="*/ 88 h 233"/>
                <a:gd name="T10" fmla="*/ 139 w 185"/>
                <a:gd name="T11" fmla="*/ 91 h 233"/>
                <a:gd name="T12" fmla="*/ 117 w 185"/>
                <a:gd name="T13" fmla="*/ 82 h 233"/>
                <a:gd name="T14" fmla="*/ 115 w 185"/>
                <a:gd name="T15" fmla="*/ 56 h 233"/>
                <a:gd name="T16" fmla="*/ 91 w 185"/>
                <a:gd name="T17" fmla="*/ 48 h 233"/>
                <a:gd name="T18" fmla="*/ 77 w 185"/>
                <a:gd name="T19" fmla="*/ 27 h 233"/>
                <a:gd name="T20" fmla="*/ 48 w 185"/>
                <a:gd name="T21" fmla="*/ 6 h 233"/>
                <a:gd name="T22" fmla="*/ 18 w 185"/>
                <a:gd name="T23" fmla="*/ 17 h 233"/>
                <a:gd name="T24" fmla="*/ 0 w 185"/>
                <a:gd name="T25" fmla="*/ 21 h 233"/>
                <a:gd name="T26" fmla="*/ 6 w 185"/>
                <a:gd name="T27" fmla="*/ 40 h 233"/>
                <a:gd name="T28" fmla="*/ 8 w 185"/>
                <a:gd name="T29" fmla="*/ 53 h 233"/>
                <a:gd name="T30" fmla="*/ 12 w 185"/>
                <a:gd name="T31" fmla="*/ 65 h 233"/>
                <a:gd name="T32" fmla="*/ 5 w 185"/>
                <a:gd name="T33" fmla="*/ 72 h 233"/>
                <a:gd name="T34" fmla="*/ 27 w 185"/>
                <a:gd name="T35" fmla="*/ 76 h 233"/>
                <a:gd name="T36" fmla="*/ 15 w 185"/>
                <a:gd name="T37" fmla="*/ 106 h 233"/>
                <a:gd name="T38" fmla="*/ 37 w 185"/>
                <a:gd name="T39" fmla="*/ 118 h 233"/>
                <a:gd name="T40" fmla="*/ 35 w 185"/>
                <a:gd name="T41" fmla="*/ 140 h 233"/>
                <a:gd name="T42" fmla="*/ 41 w 185"/>
                <a:gd name="T43" fmla="*/ 153 h 233"/>
                <a:gd name="T44" fmla="*/ 58 w 185"/>
                <a:gd name="T45" fmla="*/ 174 h 233"/>
                <a:gd name="T46" fmla="*/ 65 w 185"/>
                <a:gd name="T47" fmla="*/ 199 h 233"/>
                <a:gd name="T48" fmla="*/ 71 w 185"/>
                <a:gd name="T49" fmla="*/ 211 h 233"/>
                <a:gd name="T50" fmla="*/ 84 w 185"/>
                <a:gd name="T51" fmla="*/ 221 h 233"/>
                <a:gd name="T52" fmla="*/ 95 w 185"/>
                <a:gd name="T53" fmla="*/ 229 h 233"/>
                <a:gd name="T54" fmla="*/ 112 w 185"/>
                <a:gd name="T55" fmla="*/ 221 h 233"/>
                <a:gd name="T56" fmla="*/ 128 w 185"/>
                <a:gd name="T57" fmla="*/ 213 h 233"/>
                <a:gd name="T58" fmla="*/ 158 w 185"/>
                <a:gd name="T59" fmla="*/ 207 h 233"/>
                <a:gd name="T60" fmla="*/ 165 w 185"/>
                <a:gd name="T61" fmla="*/ 192 h 233"/>
                <a:gd name="T62" fmla="*/ 177 w 185"/>
                <a:gd name="T63" fmla="*/ 180 h 233"/>
                <a:gd name="T64" fmla="*/ 180 w 185"/>
                <a:gd name="T65" fmla="*/ 159 h 233"/>
                <a:gd name="T66" fmla="*/ 27 w 185"/>
                <a:gd name="T67" fmla="*/ 144 h 233"/>
                <a:gd name="T68" fmla="*/ 24 w 185"/>
                <a:gd name="T69" fmla="*/ 144 h 233"/>
                <a:gd name="T70" fmla="*/ 24 w 185"/>
                <a:gd name="T71"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5" h="233">
                  <a:moveTo>
                    <a:pt x="180" y="159"/>
                  </a:moveTo>
                  <a:cubicBezTo>
                    <a:pt x="167" y="152"/>
                    <a:pt x="167" y="152"/>
                    <a:pt x="167" y="152"/>
                  </a:cubicBezTo>
                  <a:cubicBezTo>
                    <a:pt x="169" y="145"/>
                    <a:pt x="169" y="145"/>
                    <a:pt x="169" y="145"/>
                  </a:cubicBezTo>
                  <a:cubicBezTo>
                    <a:pt x="160" y="140"/>
                    <a:pt x="160" y="140"/>
                    <a:pt x="160" y="140"/>
                  </a:cubicBezTo>
                  <a:cubicBezTo>
                    <a:pt x="157" y="128"/>
                    <a:pt x="157" y="128"/>
                    <a:pt x="157" y="128"/>
                  </a:cubicBezTo>
                  <a:cubicBezTo>
                    <a:pt x="166" y="120"/>
                    <a:pt x="166" y="120"/>
                    <a:pt x="166" y="120"/>
                  </a:cubicBezTo>
                  <a:cubicBezTo>
                    <a:pt x="168" y="106"/>
                    <a:pt x="168" y="106"/>
                    <a:pt x="168" y="106"/>
                  </a:cubicBezTo>
                  <a:cubicBezTo>
                    <a:pt x="161" y="102"/>
                    <a:pt x="161" y="102"/>
                    <a:pt x="161" y="102"/>
                  </a:cubicBezTo>
                  <a:cubicBezTo>
                    <a:pt x="168" y="94"/>
                    <a:pt x="168" y="94"/>
                    <a:pt x="168" y="94"/>
                  </a:cubicBezTo>
                  <a:cubicBezTo>
                    <a:pt x="171" y="88"/>
                    <a:pt x="171" y="88"/>
                    <a:pt x="171" y="88"/>
                  </a:cubicBezTo>
                  <a:cubicBezTo>
                    <a:pt x="155" y="84"/>
                    <a:pt x="155" y="84"/>
                    <a:pt x="155" y="84"/>
                  </a:cubicBezTo>
                  <a:cubicBezTo>
                    <a:pt x="139" y="91"/>
                    <a:pt x="139" y="91"/>
                    <a:pt x="139" y="91"/>
                  </a:cubicBezTo>
                  <a:cubicBezTo>
                    <a:pt x="133" y="84"/>
                    <a:pt x="133" y="84"/>
                    <a:pt x="133" y="84"/>
                  </a:cubicBezTo>
                  <a:cubicBezTo>
                    <a:pt x="117" y="82"/>
                    <a:pt x="117" y="82"/>
                    <a:pt x="117" y="82"/>
                  </a:cubicBezTo>
                  <a:cubicBezTo>
                    <a:pt x="112" y="71"/>
                    <a:pt x="112" y="71"/>
                    <a:pt x="112" y="71"/>
                  </a:cubicBezTo>
                  <a:cubicBezTo>
                    <a:pt x="112" y="71"/>
                    <a:pt x="117" y="62"/>
                    <a:pt x="115" y="56"/>
                  </a:cubicBezTo>
                  <a:cubicBezTo>
                    <a:pt x="113" y="50"/>
                    <a:pt x="101" y="49"/>
                    <a:pt x="99" y="54"/>
                  </a:cubicBezTo>
                  <a:cubicBezTo>
                    <a:pt x="97" y="59"/>
                    <a:pt x="91" y="48"/>
                    <a:pt x="91" y="48"/>
                  </a:cubicBezTo>
                  <a:cubicBezTo>
                    <a:pt x="83" y="25"/>
                    <a:pt x="83" y="25"/>
                    <a:pt x="83" y="25"/>
                  </a:cubicBezTo>
                  <a:cubicBezTo>
                    <a:pt x="77" y="27"/>
                    <a:pt x="77" y="27"/>
                    <a:pt x="77" y="27"/>
                  </a:cubicBezTo>
                  <a:cubicBezTo>
                    <a:pt x="62" y="13"/>
                    <a:pt x="62" y="13"/>
                    <a:pt x="62" y="13"/>
                  </a:cubicBezTo>
                  <a:cubicBezTo>
                    <a:pt x="48" y="6"/>
                    <a:pt x="48" y="6"/>
                    <a:pt x="48" y="6"/>
                  </a:cubicBezTo>
                  <a:cubicBezTo>
                    <a:pt x="48" y="6"/>
                    <a:pt x="33" y="0"/>
                    <a:pt x="30" y="6"/>
                  </a:cubicBezTo>
                  <a:cubicBezTo>
                    <a:pt x="27" y="12"/>
                    <a:pt x="18" y="17"/>
                    <a:pt x="18" y="17"/>
                  </a:cubicBezTo>
                  <a:cubicBezTo>
                    <a:pt x="3" y="17"/>
                    <a:pt x="3" y="17"/>
                    <a:pt x="3" y="17"/>
                  </a:cubicBezTo>
                  <a:cubicBezTo>
                    <a:pt x="0" y="21"/>
                    <a:pt x="0" y="21"/>
                    <a:pt x="0" y="21"/>
                  </a:cubicBezTo>
                  <a:cubicBezTo>
                    <a:pt x="2" y="22"/>
                    <a:pt x="2" y="22"/>
                    <a:pt x="2" y="22"/>
                  </a:cubicBezTo>
                  <a:cubicBezTo>
                    <a:pt x="6" y="40"/>
                    <a:pt x="6" y="40"/>
                    <a:pt x="6" y="40"/>
                  </a:cubicBezTo>
                  <a:cubicBezTo>
                    <a:pt x="11" y="41"/>
                    <a:pt x="11" y="41"/>
                    <a:pt x="11" y="41"/>
                  </a:cubicBezTo>
                  <a:cubicBezTo>
                    <a:pt x="8" y="53"/>
                    <a:pt x="8" y="53"/>
                    <a:pt x="8" y="53"/>
                  </a:cubicBezTo>
                  <a:cubicBezTo>
                    <a:pt x="8" y="53"/>
                    <a:pt x="24" y="56"/>
                    <a:pt x="25" y="59"/>
                  </a:cubicBezTo>
                  <a:cubicBezTo>
                    <a:pt x="26" y="62"/>
                    <a:pt x="12" y="65"/>
                    <a:pt x="12" y="65"/>
                  </a:cubicBezTo>
                  <a:cubicBezTo>
                    <a:pt x="10" y="72"/>
                    <a:pt x="10" y="72"/>
                    <a:pt x="10" y="72"/>
                  </a:cubicBezTo>
                  <a:cubicBezTo>
                    <a:pt x="5" y="72"/>
                    <a:pt x="5" y="72"/>
                    <a:pt x="5" y="72"/>
                  </a:cubicBezTo>
                  <a:cubicBezTo>
                    <a:pt x="8" y="77"/>
                    <a:pt x="8" y="77"/>
                    <a:pt x="8" y="77"/>
                  </a:cubicBezTo>
                  <a:cubicBezTo>
                    <a:pt x="8" y="77"/>
                    <a:pt x="27" y="71"/>
                    <a:pt x="27" y="76"/>
                  </a:cubicBezTo>
                  <a:cubicBezTo>
                    <a:pt x="27" y="81"/>
                    <a:pt x="15" y="95"/>
                    <a:pt x="15" y="95"/>
                  </a:cubicBezTo>
                  <a:cubicBezTo>
                    <a:pt x="15" y="106"/>
                    <a:pt x="15" y="106"/>
                    <a:pt x="15" y="106"/>
                  </a:cubicBezTo>
                  <a:cubicBezTo>
                    <a:pt x="15" y="106"/>
                    <a:pt x="19" y="103"/>
                    <a:pt x="26" y="105"/>
                  </a:cubicBezTo>
                  <a:cubicBezTo>
                    <a:pt x="33" y="107"/>
                    <a:pt x="37" y="118"/>
                    <a:pt x="37" y="118"/>
                  </a:cubicBezTo>
                  <a:cubicBezTo>
                    <a:pt x="23" y="120"/>
                    <a:pt x="23" y="120"/>
                    <a:pt x="23" y="120"/>
                  </a:cubicBezTo>
                  <a:cubicBezTo>
                    <a:pt x="23" y="120"/>
                    <a:pt x="37" y="133"/>
                    <a:pt x="35" y="140"/>
                  </a:cubicBezTo>
                  <a:cubicBezTo>
                    <a:pt x="34" y="142"/>
                    <a:pt x="33" y="143"/>
                    <a:pt x="31" y="143"/>
                  </a:cubicBezTo>
                  <a:cubicBezTo>
                    <a:pt x="41" y="153"/>
                    <a:pt x="41" y="153"/>
                    <a:pt x="41" y="153"/>
                  </a:cubicBezTo>
                  <a:cubicBezTo>
                    <a:pt x="50" y="160"/>
                    <a:pt x="50" y="160"/>
                    <a:pt x="50" y="160"/>
                  </a:cubicBezTo>
                  <a:cubicBezTo>
                    <a:pt x="58" y="174"/>
                    <a:pt x="58" y="174"/>
                    <a:pt x="58" y="174"/>
                  </a:cubicBezTo>
                  <a:cubicBezTo>
                    <a:pt x="64" y="170"/>
                    <a:pt x="64" y="170"/>
                    <a:pt x="64" y="170"/>
                  </a:cubicBezTo>
                  <a:cubicBezTo>
                    <a:pt x="65" y="199"/>
                    <a:pt x="65" y="199"/>
                    <a:pt x="65" y="199"/>
                  </a:cubicBezTo>
                  <a:cubicBezTo>
                    <a:pt x="63" y="196"/>
                    <a:pt x="63" y="196"/>
                    <a:pt x="63" y="196"/>
                  </a:cubicBezTo>
                  <a:cubicBezTo>
                    <a:pt x="71" y="211"/>
                    <a:pt x="71" y="211"/>
                    <a:pt x="71" y="211"/>
                  </a:cubicBezTo>
                  <a:cubicBezTo>
                    <a:pt x="80" y="211"/>
                    <a:pt x="80" y="211"/>
                    <a:pt x="80" y="211"/>
                  </a:cubicBezTo>
                  <a:cubicBezTo>
                    <a:pt x="84" y="221"/>
                    <a:pt x="84" y="221"/>
                    <a:pt x="84" y="221"/>
                  </a:cubicBezTo>
                  <a:cubicBezTo>
                    <a:pt x="84" y="233"/>
                    <a:pt x="84" y="233"/>
                    <a:pt x="84" y="233"/>
                  </a:cubicBezTo>
                  <a:cubicBezTo>
                    <a:pt x="95" y="229"/>
                    <a:pt x="95" y="229"/>
                    <a:pt x="95" y="229"/>
                  </a:cubicBezTo>
                  <a:cubicBezTo>
                    <a:pt x="100" y="221"/>
                    <a:pt x="100" y="221"/>
                    <a:pt x="100" y="221"/>
                  </a:cubicBezTo>
                  <a:cubicBezTo>
                    <a:pt x="100" y="221"/>
                    <a:pt x="105" y="221"/>
                    <a:pt x="112" y="221"/>
                  </a:cubicBezTo>
                  <a:cubicBezTo>
                    <a:pt x="119" y="221"/>
                    <a:pt x="115" y="213"/>
                    <a:pt x="115" y="213"/>
                  </a:cubicBezTo>
                  <a:cubicBezTo>
                    <a:pt x="128" y="213"/>
                    <a:pt x="128" y="213"/>
                    <a:pt x="128" y="213"/>
                  </a:cubicBezTo>
                  <a:cubicBezTo>
                    <a:pt x="132" y="209"/>
                    <a:pt x="132" y="209"/>
                    <a:pt x="132" y="209"/>
                  </a:cubicBezTo>
                  <a:cubicBezTo>
                    <a:pt x="158" y="207"/>
                    <a:pt x="158" y="207"/>
                    <a:pt x="158" y="207"/>
                  </a:cubicBezTo>
                  <a:cubicBezTo>
                    <a:pt x="158" y="207"/>
                    <a:pt x="166" y="206"/>
                    <a:pt x="167" y="203"/>
                  </a:cubicBezTo>
                  <a:cubicBezTo>
                    <a:pt x="168" y="200"/>
                    <a:pt x="165" y="192"/>
                    <a:pt x="165" y="192"/>
                  </a:cubicBezTo>
                  <a:cubicBezTo>
                    <a:pt x="165" y="192"/>
                    <a:pt x="162" y="185"/>
                    <a:pt x="164" y="181"/>
                  </a:cubicBezTo>
                  <a:cubicBezTo>
                    <a:pt x="166" y="177"/>
                    <a:pt x="177" y="180"/>
                    <a:pt x="177" y="180"/>
                  </a:cubicBezTo>
                  <a:cubicBezTo>
                    <a:pt x="177" y="180"/>
                    <a:pt x="181" y="173"/>
                    <a:pt x="183" y="169"/>
                  </a:cubicBezTo>
                  <a:cubicBezTo>
                    <a:pt x="185" y="165"/>
                    <a:pt x="180" y="159"/>
                    <a:pt x="180" y="159"/>
                  </a:cubicBezTo>
                  <a:close/>
                  <a:moveTo>
                    <a:pt x="24" y="144"/>
                  </a:moveTo>
                  <a:cubicBezTo>
                    <a:pt x="25" y="144"/>
                    <a:pt x="26" y="144"/>
                    <a:pt x="27" y="144"/>
                  </a:cubicBezTo>
                  <a:cubicBezTo>
                    <a:pt x="26" y="144"/>
                    <a:pt x="25" y="144"/>
                    <a:pt x="24" y="144"/>
                  </a:cubicBezTo>
                  <a:close/>
                  <a:moveTo>
                    <a:pt x="24" y="144"/>
                  </a:moveTo>
                  <a:cubicBezTo>
                    <a:pt x="22" y="144"/>
                    <a:pt x="19" y="144"/>
                    <a:pt x="18" y="143"/>
                  </a:cubicBezTo>
                  <a:cubicBezTo>
                    <a:pt x="19" y="144"/>
                    <a:pt x="22" y="144"/>
                    <a:pt x="24" y="14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12" name="Freeform 211">
              <a:extLst>
                <a:ext uri="{FF2B5EF4-FFF2-40B4-BE49-F238E27FC236}">
                  <a16:creationId xmlns:a16="http://schemas.microsoft.com/office/drawing/2014/main" id="{6A9330B1-4080-4F87-A31D-250901C1EAFF}"/>
                </a:ext>
              </a:extLst>
            </p:cNvPr>
            <p:cNvSpPr>
              <a:spLocks noEditPoints="1"/>
            </p:cNvSpPr>
            <p:nvPr/>
          </p:nvSpPr>
          <p:spPr bwMode="gray">
            <a:xfrm>
              <a:off x="5291122" y="3928079"/>
              <a:ext cx="199056" cy="200528"/>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13" name="Freeform 45">
              <a:extLst>
                <a:ext uri="{FF2B5EF4-FFF2-40B4-BE49-F238E27FC236}">
                  <a16:creationId xmlns:a16="http://schemas.microsoft.com/office/drawing/2014/main" id="{25B6B575-E1AD-430C-94B5-3C660A399A2B}"/>
                </a:ext>
              </a:extLst>
            </p:cNvPr>
            <p:cNvSpPr>
              <a:spLocks/>
            </p:cNvSpPr>
            <p:nvPr/>
          </p:nvSpPr>
          <p:spPr bwMode="auto">
            <a:xfrm>
              <a:off x="2677394" y="1613004"/>
              <a:ext cx="57690" cy="45719"/>
            </a:xfrm>
            <a:custGeom>
              <a:avLst/>
              <a:gdLst>
                <a:gd name="T0" fmla="*/ 0 w 24"/>
                <a:gd name="T1" fmla="*/ 0 h 34"/>
                <a:gd name="T2" fmla="*/ 2 w 24"/>
                <a:gd name="T3" fmla="*/ 24 h 34"/>
                <a:gd name="T4" fmla="*/ 18 w 24"/>
                <a:gd name="T5" fmla="*/ 34 h 34"/>
                <a:gd name="T6" fmla="*/ 24 w 24"/>
                <a:gd name="T7" fmla="*/ 16 h 34"/>
                <a:gd name="T8" fmla="*/ 12 w 24"/>
                <a:gd name="T9" fmla="*/ 2 h 34"/>
                <a:gd name="T10" fmla="*/ 0 w 24"/>
                <a:gd name="T11" fmla="*/ 0 h 34"/>
                <a:gd name="connsiteX0" fmla="*/ 106 w 13055"/>
                <a:gd name="connsiteY0" fmla="*/ 0 h 12751"/>
                <a:gd name="connsiteX1" fmla="*/ 939 w 13055"/>
                <a:gd name="connsiteY1" fmla="*/ 7059 h 12751"/>
                <a:gd name="connsiteX2" fmla="*/ 12325 w 13055"/>
                <a:gd name="connsiteY2" fmla="*/ 12751 h 12751"/>
                <a:gd name="connsiteX3" fmla="*/ 10106 w 13055"/>
                <a:gd name="connsiteY3" fmla="*/ 4706 h 12751"/>
                <a:gd name="connsiteX4" fmla="*/ 5106 w 13055"/>
                <a:gd name="connsiteY4" fmla="*/ 588 h 12751"/>
                <a:gd name="connsiteX5" fmla="*/ 106 w 13055"/>
                <a:gd name="connsiteY5" fmla="*/ 0 h 12751"/>
                <a:gd name="connsiteX0" fmla="*/ 106 w 12487"/>
                <a:gd name="connsiteY0" fmla="*/ 0 h 12771"/>
                <a:gd name="connsiteX1" fmla="*/ 939 w 12487"/>
                <a:gd name="connsiteY1" fmla="*/ 7059 h 12771"/>
                <a:gd name="connsiteX2" fmla="*/ 12325 w 12487"/>
                <a:gd name="connsiteY2" fmla="*/ 12751 h 12771"/>
                <a:gd name="connsiteX3" fmla="*/ 7961 w 12487"/>
                <a:gd name="connsiteY3" fmla="*/ 5012 h 12771"/>
                <a:gd name="connsiteX4" fmla="*/ 5106 w 12487"/>
                <a:gd name="connsiteY4" fmla="*/ 588 h 12771"/>
                <a:gd name="connsiteX5" fmla="*/ 106 w 12487"/>
                <a:gd name="connsiteY5" fmla="*/ 0 h 12771"/>
                <a:gd name="connsiteX0" fmla="*/ 393 w 12345"/>
                <a:gd name="connsiteY0" fmla="*/ 3996 h 12180"/>
                <a:gd name="connsiteX1" fmla="*/ 797 w 12345"/>
                <a:gd name="connsiteY1" fmla="*/ 6471 h 12180"/>
                <a:gd name="connsiteX2" fmla="*/ 12183 w 12345"/>
                <a:gd name="connsiteY2" fmla="*/ 12163 h 12180"/>
                <a:gd name="connsiteX3" fmla="*/ 7819 w 12345"/>
                <a:gd name="connsiteY3" fmla="*/ 4424 h 12180"/>
                <a:gd name="connsiteX4" fmla="*/ 4964 w 12345"/>
                <a:gd name="connsiteY4" fmla="*/ 0 h 12180"/>
                <a:gd name="connsiteX5" fmla="*/ 393 w 12345"/>
                <a:gd name="connsiteY5" fmla="*/ 3996 h 12180"/>
                <a:gd name="connsiteX0" fmla="*/ 393 w 12345"/>
                <a:gd name="connsiteY0" fmla="*/ 2162 h 10346"/>
                <a:gd name="connsiteX1" fmla="*/ 797 w 12345"/>
                <a:gd name="connsiteY1" fmla="*/ 4637 h 10346"/>
                <a:gd name="connsiteX2" fmla="*/ 12183 w 12345"/>
                <a:gd name="connsiteY2" fmla="*/ 10329 h 10346"/>
                <a:gd name="connsiteX3" fmla="*/ 7819 w 12345"/>
                <a:gd name="connsiteY3" fmla="*/ 2590 h 10346"/>
                <a:gd name="connsiteX4" fmla="*/ 5822 w 12345"/>
                <a:gd name="connsiteY4" fmla="*/ 0 h 10346"/>
                <a:gd name="connsiteX5" fmla="*/ 393 w 12345"/>
                <a:gd name="connsiteY5" fmla="*/ 2162 h 10346"/>
                <a:gd name="connsiteX0" fmla="*/ 330 w 11449"/>
                <a:gd name="connsiteY0" fmla="*/ 2162 h 8217"/>
                <a:gd name="connsiteX1" fmla="*/ 734 w 11449"/>
                <a:gd name="connsiteY1" fmla="*/ 4637 h 8217"/>
                <a:gd name="connsiteX2" fmla="*/ 11262 w 11449"/>
                <a:gd name="connsiteY2" fmla="*/ 8190 h 8217"/>
                <a:gd name="connsiteX3" fmla="*/ 7756 w 11449"/>
                <a:gd name="connsiteY3" fmla="*/ 2590 h 8217"/>
                <a:gd name="connsiteX4" fmla="*/ 5759 w 11449"/>
                <a:gd name="connsiteY4" fmla="*/ 0 h 8217"/>
                <a:gd name="connsiteX5" fmla="*/ 330 w 11449"/>
                <a:gd name="connsiteY5" fmla="*/ 2162 h 8217"/>
                <a:gd name="connsiteX0" fmla="*/ 0 w 9601"/>
                <a:gd name="connsiteY0" fmla="*/ 2631 h 10553"/>
                <a:gd name="connsiteX1" fmla="*/ 3350 w 9601"/>
                <a:gd name="connsiteY1" fmla="*/ 9362 h 10553"/>
                <a:gd name="connsiteX2" fmla="*/ 9549 w 9601"/>
                <a:gd name="connsiteY2" fmla="*/ 9967 h 10553"/>
                <a:gd name="connsiteX3" fmla="*/ 6486 w 9601"/>
                <a:gd name="connsiteY3" fmla="*/ 3152 h 10553"/>
                <a:gd name="connsiteX4" fmla="*/ 4742 w 9601"/>
                <a:gd name="connsiteY4" fmla="*/ 0 h 10553"/>
                <a:gd name="connsiteX5" fmla="*/ 0 w 9601"/>
                <a:gd name="connsiteY5" fmla="*/ 2631 h 1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01" h="10553">
                  <a:moveTo>
                    <a:pt x="0" y="2631"/>
                  </a:moveTo>
                  <a:cubicBezTo>
                    <a:pt x="728" y="11222"/>
                    <a:pt x="1759" y="8139"/>
                    <a:pt x="3350" y="9362"/>
                  </a:cubicBezTo>
                  <a:cubicBezTo>
                    <a:pt x="4942" y="10585"/>
                    <a:pt x="9026" y="11002"/>
                    <a:pt x="9549" y="9967"/>
                  </a:cubicBezTo>
                  <a:cubicBezTo>
                    <a:pt x="10072" y="8932"/>
                    <a:pt x="6486" y="3152"/>
                    <a:pt x="6486" y="3152"/>
                  </a:cubicBezTo>
                  <a:lnTo>
                    <a:pt x="4742" y="0"/>
                  </a:lnTo>
                  <a:lnTo>
                    <a:pt x="0" y="2631"/>
                  </a:lnTo>
                  <a:close/>
                </a:path>
              </a:pathLst>
            </a:custGeom>
            <a:solidFill>
              <a:srgbClr val="D9D9D9"/>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grpSp>
      <p:sp>
        <p:nvSpPr>
          <p:cNvPr id="10" name="Title 9">
            <a:extLst>
              <a:ext uri="{FF2B5EF4-FFF2-40B4-BE49-F238E27FC236}">
                <a16:creationId xmlns:a16="http://schemas.microsoft.com/office/drawing/2014/main" id="{9F3C65ED-A17F-4254-99E8-275B4DB79266}"/>
              </a:ext>
            </a:extLst>
          </p:cNvPr>
          <p:cNvSpPr>
            <a:spLocks noGrp="1"/>
          </p:cNvSpPr>
          <p:nvPr>
            <p:ph type="title"/>
          </p:nvPr>
        </p:nvSpPr>
        <p:spPr/>
        <p:txBody>
          <a:bodyPr/>
          <a:lstStyle/>
          <a:p>
            <a:r>
              <a:rPr lang="en-GB" dirty="0"/>
              <a:t>FIA WEC 2023 Broadcast Partners</a:t>
            </a:r>
          </a:p>
        </p:txBody>
      </p:sp>
      <p:sp>
        <p:nvSpPr>
          <p:cNvPr id="158" name="Slide Number Placeholder 2">
            <a:extLst>
              <a:ext uri="{FF2B5EF4-FFF2-40B4-BE49-F238E27FC236}">
                <a16:creationId xmlns:a16="http://schemas.microsoft.com/office/drawing/2014/main" id="{0426ADB9-A609-46D1-963C-E68C38CA164B}"/>
              </a:ext>
            </a:extLst>
          </p:cNvPr>
          <p:cNvSpPr>
            <a:spLocks noGrp="1"/>
          </p:cNvSpPr>
          <p:nvPr>
            <p:ph type="sldNum" sz="quarter" idx="12"/>
          </p:nvPr>
        </p:nvSpPr>
        <p:spPr/>
        <p:txBody>
          <a:bodyPr/>
          <a:lstStyle/>
          <a:p>
            <a:fld id="{9B60B346-FC99-4236-B943-65AE761B958F}" type="slidenum">
              <a:rPr lang="de-CH" smtClean="0"/>
              <a:t>3</a:t>
            </a:fld>
            <a:endParaRPr lang="de-CH" dirty="0"/>
          </a:p>
        </p:txBody>
      </p:sp>
      <p:sp>
        <p:nvSpPr>
          <p:cNvPr id="2" name="Footer Placeholder 1">
            <a:extLst>
              <a:ext uri="{FF2B5EF4-FFF2-40B4-BE49-F238E27FC236}">
                <a16:creationId xmlns:a16="http://schemas.microsoft.com/office/drawing/2014/main" id="{CD6571C0-7713-4980-99C1-F3D1BD06AB14}"/>
              </a:ext>
            </a:extLst>
          </p:cNvPr>
          <p:cNvSpPr>
            <a:spLocks noGrp="1"/>
          </p:cNvSpPr>
          <p:nvPr>
            <p:ph type="ftr" sz="quarter" idx="14"/>
          </p:nvPr>
        </p:nvSpPr>
        <p:spPr/>
        <p:txBody>
          <a:bodyPr/>
          <a:lstStyle/>
          <a:p>
            <a:r>
              <a:rPr lang="de-CH" dirty="0"/>
              <a:t>#</a:t>
            </a:r>
            <a:r>
              <a:rPr lang="de-CH" dirty="0" err="1"/>
              <a:t>AllAboutSports</a:t>
            </a:r>
            <a:endParaRPr lang="de-CH" dirty="0"/>
          </a:p>
        </p:txBody>
      </p:sp>
      <p:grpSp>
        <p:nvGrpSpPr>
          <p:cNvPr id="57" name="Group 56">
            <a:extLst>
              <a:ext uri="{FF2B5EF4-FFF2-40B4-BE49-F238E27FC236}">
                <a16:creationId xmlns:a16="http://schemas.microsoft.com/office/drawing/2014/main" id="{7D701191-7D39-458B-AABD-6B8B9D2B98E2}"/>
              </a:ext>
            </a:extLst>
          </p:cNvPr>
          <p:cNvGrpSpPr/>
          <p:nvPr/>
        </p:nvGrpSpPr>
        <p:grpSpPr>
          <a:xfrm>
            <a:off x="2166804" y="2795135"/>
            <a:ext cx="1581151" cy="288000"/>
            <a:chOff x="2732087" y="1679089"/>
            <a:chExt cx="1581151" cy="288000"/>
          </a:xfrm>
          <a:solidFill>
            <a:schemeClr val="bg1"/>
          </a:solidFill>
        </p:grpSpPr>
        <p:sp>
          <p:nvSpPr>
            <p:cNvPr id="17" name="Round Diagonal Corner Rectangle 31">
              <a:extLst>
                <a:ext uri="{FF2B5EF4-FFF2-40B4-BE49-F238E27FC236}">
                  <a16:creationId xmlns:a16="http://schemas.microsoft.com/office/drawing/2014/main" id="{E6E2A706-FBBF-4BCF-8615-F9893CCD4E1F}"/>
                </a:ext>
              </a:extLst>
            </p:cNvPr>
            <p:cNvSpPr/>
            <p:nvPr/>
          </p:nvSpPr>
          <p:spPr bwMode="blackWhite">
            <a:xfrm>
              <a:off x="2732087" y="1679089"/>
              <a:ext cx="648000" cy="288000"/>
            </a:xfrm>
            <a:prstGeom prst="rect">
              <a:avLst/>
            </a:prstGeom>
            <a:grp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19" name="Straight Connector 48">
              <a:extLst>
                <a:ext uri="{FF2B5EF4-FFF2-40B4-BE49-F238E27FC236}">
                  <a16:creationId xmlns:a16="http://schemas.microsoft.com/office/drawing/2014/main" id="{08D38A37-0575-47EC-85AD-499CEB4B8BFE}"/>
                </a:ext>
              </a:extLst>
            </p:cNvPr>
            <p:cNvCxnSpPr>
              <a:cxnSpLocks noChangeShapeType="1"/>
              <a:stCxn id="17" idx="3"/>
            </p:cNvCxnSpPr>
            <p:nvPr/>
          </p:nvCxnSpPr>
          <p:spPr bwMode="auto">
            <a:xfrm>
              <a:off x="3380087" y="1823089"/>
              <a:ext cx="933151" cy="108493"/>
            </a:xfrm>
            <a:prstGeom prst="line">
              <a:avLst/>
            </a:prstGeom>
            <a:grpFill/>
            <a:ln w="12700" algn="ctr">
              <a:solidFill>
                <a:schemeClr val="tx2"/>
              </a:solidFill>
              <a:round/>
              <a:headEnd/>
              <a:tailEnd type="oval" w="sm" len="sm"/>
            </a:ln>
            <a:effectLst/>
          </p:spPr>
        </p:cxnSp>
      </p:grpSp>
      <p:grpSp>
        <p:nvGrpSpPr>
          <p:cNvPr id="47" name="Group 46">
            <a:extLst>
              <a:ext uri="{FF2B5EF4-FFF2-40B4-BE49-F238E27FC236}">
                <a16:creationId xmlns:a16="http://schemas.microsoft.com/office/drawing/2014/main" id="{6EEAF423-BD90-4290-8AEE-564257F2014E}"/>
              </a:ext>
            </a:extLst>
          </p:cNvPr>
          <p:cNvGrpSpPr/>
          <p:nvPr/>
        </p:nvGrpSpPr>
        <p:grpSpPr>
          <a:xfrm>
            <a:off x="2474144" y="1705291"/>
            <a:ext cx="1383587" cy="1104561"/>
            <a:chOff x="2732087" y="1000995"/>
            <a:chExt cx="1383587" cy="1104561"/>
          </a:xfrm>
          <a:solidFill>
            <a:schemeClr val="bg1"/>
          </a:solidFill>
        </p:grpSpPr>
        <p:cxnSp>
          <p:nvCxnSpPr>
            <p:cNvPr id="49" name="Straight Connector 243">
              <a:extLst>
                <a:ext uri="{FF2B5EF4-FFF2-40B4-BE49-F238E27FC236}">
                  <a16:creationId xmlns:a16="http://schemas.microsoft.com/office/drawing/2014/main" id="{0CD7924A-EA9A-452F-82BD-8D97D0C67C8E}"/>
                </a:ext>
              </a:extLst>
            </p:cNvPr>
            <p:cNvCxnSpPr>
              <a:cxnSpLocks noChangeShapeType="1"/>
              <a:stCxn id="50" idx="3"/>
              <a:endCxn id="488" idx="45"/>
            </p:cNvCxnSpPr>
            <p:nvPr/>
          </p:nvCxnSpPr>
          <p:spPr bwMode="auto">
            <a:xfrm>
              <a:off x="3380087" y="1144995"/>
              <a:ext cx="735587" cy="960561"/>
            </a:xfrm>
            <a:prstGeom prst="line">
              <a:avLst/>
            </a:prstGeom>
            <a:grpFill/>
            <a:ln w="12700" algn="ctr">
              <a:solidFill>
                <a:schemeClr val="tx2"/>
              </a:solidFill>
              <a:round/>
              <a:headEnd/>
              <a:tailEnd type="oval" w="sm" len="sm"/>
            </a:ln>
            <a:effectLst/>
          </p:spPr>
        </p:cxnSp>
        <p:sp>
          <p:nvSpPr>
            <p:cNvPr id="50" name="Round Diagonal Corner Rectangle 241">
              <a:extLst>
                <a:ext uri="{FF2B5EF4-FFF2-40B4-BE49-F238E27FC236}">
                  <a16:creationId xmlns:a16="http://schemas.microsoft.com/office/drawing/2014/main" id="{2325AAA2-3D9E-4EDF-96C3-4CDCEFF23ADF}"/>
                </a:ext>
              </a:extLst>
            </p:cNvPr>
            <p:cNvSpPr/>
            <p:nvPr/>
          </p:nvSpPr>
          <p:spPr bwMode="blackWhite">
            <a:xfrm>
              <a:off x="2732087" y="1000995"/>
              <a:ext cx="648000" cy="288000"/>
            </a:xfrm>
            <a:prstGeom prst="rect">
              <a:avLst/>
            </a:prstGeom>
            <a:grpFill/>
            <a:ln w="12700">
              <a:solidFill>
                <a:schemeClr val="tx2"/>
              </a:solidFill>
            </a:ln>
            <a:effectLst/>
          </p:spPr>
          <p:txBody>
            <a:bodyPr lIns="90000" tIns="36000" anchor="ctr"/>
            <a:lstStyle/>
            <a:p>
              <a:pPr algn="ctr" eaLnBrk="1" hangingPunct="1">
                <a:defRPr/>
              </a:pPr>
              <a:endParaRPr lang="en-GB" sz="700" dirty="0">
                <a:solidFill>
                  <a:schemeClr val="tx2"/>
                </a:solidFill>
                <a:highlight>
                  <a:srgbClr val="FFFF00"/>
                </a:highlight>
                <a:latin typeface="Arial" charset="0"/>
              </a:endParaRPr>
            </a:p>
          </p:txBody>
        </p:sp>
      </p:grpSp>
      <p:grpSp>
        <p:nvGrpSpPr>
          <p:cNvPr id="5" name="Group 4">
            <a:extLst>
              <a:ext uri="{FF2B5EF4-FFF2-40B4-BE49-F238E27FC236}">
                <a16:creationId xmlns:a16="http://schemas.microsoft.com/office/drawing/2014/main" id="{91B6E38A-C23F-4286-8BB3-CC826A9AA811}"/>
              </a:ext>
            </a:extLst>
          </p:cNvPr>
          <p:cNvGrpSpPr/>
          <p:nvPr/>
        </p:nvGrpSpPr>
        <p:grpSpPr>
          <a:xfrm>
            <a:off x="5243520" y="2461892"/>
            <a:ext cx="1461485" cy="354648"/>
            <a:chOff x="4629042" y="1527712"/>
            <a:chExt cx="1461485" cy="354648"/>
          </a:xfrm>
          <a:solidFill>
            <a:schemeClr val="bg1"/>
          </a:solidFill>
        </p:grpSpPr>
        <p:cxnSp>
          <p:nvCxnSpPr>
            <p:cNvPr id="54" name="Straight Connector 221">
              <a:extLst>
                <a:ext uri="{FF2B5EF4-FFF2-40B4-BE49-F238E27FC236}">
                  <a16:creationId xmlns:a16="http://schemas.microsoft.com/office/drawing/2014/main" id="{49D8B5E7-CB91-4F00-B7E2-9B39A87F34A9}"/>
                </a:ext>
              </a:extLst>
            </p:cNvPr>
            <p:cNvCxnSpPr>
              <a:cxnSpLocks noChangeShapeType="1"/>
              <a:stCxn id="55" idx="1"/>
            </p:cNvCxnSpPr>
            <p:nvPr/>
          </p:nvCxnSpPr>
          <p:spPr bwMode="auto">
            <a:xfrm flipH="1">
              <a:off x="4629042" y="1669000"/>
              <a:ext cx="842360" cy="213360"/>
            </a:xfrm>
            <a:prstGeom prst="line">
              <a:avLst/>
            </a:prstGeom>
            <a:grpFill/>
            <a:ln w="12700" algn="ctr">
              <a:solidFill>
                <a:schemeClr val="tx2"/>
              </a:solidFill>
              <a:round/>
              <a:headEnd/>
              <a:tailEnd type="oval" w="sm" len="sm"/>
            </a:ln>
            <a:effectLst/>
          </p:spPr>
        </p:cxnSp>
        <p:sp>
          <p:nvSpPr>
            <p:cNvPr id="55" name="Round Diagonal Corner Rectangle 222">
              <a:extLst>
                <a:ext uri="{FF2B5EF4-FFF2-40B4-BE49-F238E27FC236}">
                  <a16:creationId xmlns:a16="http://schemas.microsoft.com/office/drawing/2014/main" id="{BCDFBF6D-4F8B-4F98-A176-47EFC50512BA}"/>
                </a:ext>
              </a:extLst>
            </p:cNvPr>
            <p:cNvSpPr/>
            <p:nvPr/>
          </p:nvSpPr>
          <p:spPr bwMode="blackWhite">
            <a:xfrm>
              <a:off x="5471402" y="1527712"/>
              <a:ext cx="619125" cy="282575"/>
            </a:xfrm>
            <a:prstGeom prst="rect">
              <a:avLst/>
            </a:prstGeom>
            <a:grp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56" name="Picture 80" descr="File:Logo Polsat.svg">
              <a:extLst>
                <a:ext uri="{FF2B5EF4-FFF2-40B4-BE49-F238E27FC236}">
                  <a16:creationId xmlns:a16="http://schemas.microsoft.com/office/drawing/2014/main" id="{139AE970-69DB-4F79-98FA-63200DC44E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74631" y="1561397"/>
              <a:ext cx="227013" cy="223837"/>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pic>
      </p:grpSp>
      <p:cxnSp>
        <p:nvCxnSpPr>
          <p:cNvPr id="64" name="Straight Connector 177">
            <a:extLst>
              <a:ext uri="{FF2B5EF4-FFF2-40B4-BE49-F238E27FC236}">
                <a16:creationId xmlns:a16="http://schemas.microsoft.com/office/drawing/2014/main" id="{03D1940B-0AC1-465E-8F79-188EEC52266F}"/>
              </a:ext>
            </a:extLst>
          </p:cNvPr>
          <p:cNvCxnSpPr>
            <a:cxnSpLocks/>
            <a:stCxn id="63" idx="0"/>
          </p:cNvCxnSpPr>
          <p:nvPr/>
        </p:nvCxnSpPr>
        <p:spPr bwMode="auto">
          <a:xfrm flipV="1">
            <a:off x="4102475" y="3403265"/>
            <a:ext cx="639251" cy="1169094"/>
          </a:xfrm>
          <a:prstGeom prst="line">
            <a:avLst/>
          </a:prstGeom>
          <a:noFill/>
          <a:ln w="12700" algn="ctr">
            <a:solidFill>
              <a:schemeClr val="tx2"/>
            </a:solidFill>
            <a:round/>
            <a:headEnd/>
            <a:tailEnd type="oval" w="sm" len="sm"/>
          </a:ln>
          <a:effectLst/>
        </p:spPr>
      </p:cxnSp>
      <p:grpSp>
        <p:nvGrpSpPr>
          <p:cNvPr id="15" name="Group 14">
            <a:extLst>
              <a:ext uri="{FF2B5EF4-FFF2-40B4-BE49-F238E27FC236}">
                <a16:creationId xmlns:a16="http://schemas.microsoft.com/office/drawing/2014/main" id="{84EFCB62-D5C5-4756-9D3B-F5BFC37A7EEB}"/>
              </a:ext>
            </a:extLst>
          </p:cNvPr>
          <p:cNvGrpSpPr/>
          <p:nvPr/>
        </p:nvGrpSpPr>
        <p:grpSpPr>
          <a:xfrm>
            <a:off x="3778475" y="4572359"/>
            <a:ext cx="648000" cy="288000"/>
            <a:chOff x="4687101" y="2491482"/>
            <a:chExt cx="648000" cy="288000"/>
          </a:xfrm>
          <a:solidFill>
            <a:schemeClr val="bg1"/>
          </a:solidFill>
        </p:grpSpPr>
        <p:sp>
          <p:nvSpPr>
            <p:cNvPr id="63" name="Round Diagonal Corner Rectangle 31">
              <a:extLst>
                <a:ext uri="{FF2B5EF4-FFF2-40B4-BE49-F238E27FC236}">
                  <a16:creationId xmlns:a16="http://schemas.microsoft.com/office/drawing/2014/main" id="{D63833A0-56C8-4017-8BAA-187651DB7A19}"/>
                </a:ext>
              </a:extLst>
            </p:cNvPr>
            <p:cNvSpPr/>
            <p:nvPr/>
          </p:nvSpPr>
          <p:spPr bwMode="blackWhite">
            <a:xfrm>
              <a:off x="4687101" y="2491482"/>
              <a:ext cx="648000" cy="288000"/>
            </a:xfrm>
            <a:prstGeom prst="rect">
              <a:avLst/>
            </a:prstGeom>
            <a:grp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65" name="Picture 783" descr="Image result for orf logo">
              <a:extLst>
                <a:ext uri="{FF2B5EF4-FFF2-40B4-BE49-F238E27FC236}">
                  <a16:creationId xmlns:a16="http://schemas.microsoft.com/office/drawing/2014/main" id="{40D56A5F-3584-498C-A900-12C5689A35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57936" y="2552852"/>
              <a:ext cx="344249" cy="148785"/>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pic>
      </p:grpSp>
      <p:grpSp>
        <p:nvGrpSpPr>
          <p:cNvPr id="59" name="Group 58">
            <a:extLst>
              <a:ext uri="{FF2B5EF4-FFF2-40B4-BE49-F238E27FC236}">
                <a16:creationId xmlns:a16="http://schemas.microsoft.com/office/drawing/2014/main" id="{40F50D78-5128-4F00-B6B1-BC3812D97A87}"/>
              </a:ext>
            </a:extLst>
          </p:cNvPr>
          <p:cNvGrpSpPr/>
          <p:nvPr/>
        </p:nvGrpSpPr>
        <p:grpSpPr>
          <a:xfrm>
            <a:off x="2886666" y="3560123"/>
            <a:ext cx="1204372" cy="1317327"/>
            <a:chOff x="2732087" y="988808"/>
            <a:chExt cx="1204372" cy="1317327"/>
          </a:xfrm>
          <a:solidFill>
            <a:schemeClr val="bg1"/>
          </a:solidFill>
        </p:grpSpPr>
        <p:sp>
          <p:nvSpPr>
            <p:cNvPr id="67" name="Round Diagonal Corner Rectangle 31">
              <a:extLst>
                <a:ext uri="{FF2B5EF4-FFF2-40B4-BE49-F238E27FC236}">
                  <a16:creationId xmlns:a16="http://schemas.microsoft.com/office/drawing/2014/main" id="{516AC033-942A-496E-8AE5-AC00C64C770D}"/>
                </a:ext>
              </a:extLst>
            </p:cNvPr>
            <p:cNvSpPr/>
            <p:nvPr/>
          </p:nvSpPr>
          <p:spPr bwMode="blackWhite">
            <a:xfrm>
              <a:off x="2732087" y="2018135"/>
              <a:ext cx="648000" cy="288000"/>
            </a:xfrm>
            <a:prstGeom prst="rect">
              <a:avLst/>
            </a:prstGeom>
            <a:grpFill/>
            <a:ln w="12700">
              <a:solidFill>
                <a:schemeClr val="tx2"/>
              </a:solidFill>
            </a:ln>
            <a:effectLst/>
          </p:spPr>
          <p:txBody>
            <a:bodyPr lIns="90000" tIns="36000" anchor="ctr"/>
            <a:lstStyle/>
            <a:p>
              <a:pPr algn="ctr" eaLnBrk="1" hangingPunct="1">
                <a:defRPr/>
              </a:pPr>
              <a:endParaRPr lang="en-GB" sz="700" dirty="0">
                <a:solidFill>
                  <a:schemeClr val="tx2"/>
                </a:solidFill>
                <a:highlight>
                  <a:srgbClr val="FFFF00"/>
                </a:highlight>
                <a:latin typeface="Arial" charset="0"/>
              </a:endParaRPr>
            </a:p>
          </p:txBody>
        </p:sp>
        <p:cxnSp>
          <p:nvCxnSpPr>
            <p:cNvPr id="68" name="Straight Connector 204">
              <a:extLst>
                <a:ext uri="{FF2B5EF4-FFF2-40B4-BE49-F238E27FC236}">
                  <a16:creationId xmlns:a16="http://schemas.microsoft.com/office/drawing/2014/main" id="{310718D0-106D-4B90-AE02-55A4B479C3D2}"/>
                </a:ext>
              </a:extLst>
            </p:cNvPr>
            <p:cNvCxnSpPr>
              <a:cxnSpLocks/>
              <a:stCxn id="67" idx="3"/>
              <a:endCxn id="482" idx="21"/>
            </p:cNvCxnSpPr>
            <p:nvPr/>
          </p:nvCxnSpPr>
          <p:spPr bwMode="auto">
            <a:xfrm flipV="1">
              <a:off x="3380087" y="988808"/>
              <a:ext cx="556372" cy="1173327"/>
            </a:xfrm>
            <a:prstGeom prst="line">
              <a:avLst/>
            </a:prstGeom>
            <a:grpFill/>
            <a:ln w="12700" algn="ctr">
              <a:solidFill>
                <a:schemeClr val="tx2"/>
              </a:solidFill>
              <a:round/>
              <a:headEnd/>
              <a:tailEnd type="oval" w="sm" len="sm"/>
            </a:ln>
            <a:effectLst/>
          </p:spPr>
        </p:cxnSp>
        <p:pic>
          <p:nvPicPr>
            <p:cNvPr id="69" name="Picture 21" descr="Related image">
              <a:extLst>
                <a:ext uri="{FF2B5EF4-FFF2-40B4-BE49-F238E27FC236}">
                  <a16:creationId xmlns:a16="http://schemas.microsoft.com/office/drawing/2014/main" id="{3991282A-4E80-45B8-94E0-AFA4C2A8602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29881" y="2054979"/>
              <a:ext cx="252413" cy="214312"/>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pic>
      </p:grpSp>
      <p:cxnSp>
        <p:nvCxnSpPr>
          <p:cNvPr id="84" name="Straight Connector 124">
            <a:extLst>
              <a:ext uri="{FF2B5EF4-FFF2-40B4-BE49-F238E27FC236}">
                <a16:creationId xmlns:a16="http://schemas.microsoft.com/office/drawing/2014/main" id="{712844E1-EE7B-4020-A38E-4A5C568669B1}"/>
              </a:ext>
            </a:extLst>
          </p:cNvPr>
          <p:cNvCxnSpPr>
            <a:cxnSpLocks noChangeShapeType="1"/>
            <a:stCxn id="85" idx="1"/>
          </p:cNvCxnSpPr>
          <p:nvPr/>
        </p:nvCxnSpPr>
        <p:spPr bwMode="auto">
          <a:xfrm flipH="1" flipV="1">
            <a:off x="4283247" y="2918554"/>
            <a:ext cx="1458784" cy="645509"/>
          </a:xfrm>
          <a:prstGeom prst="line">
            <a:avLst/>
          </a:prstGeom>
          <a:noFill/>
          <a:ln w="12700" algn="ctr">
            <a:solidFill>
              <a:schemeClr val="tx2"/>
            </a:solidFill>
            <a:round/>
            <a:headEnd/>
            <a:tailEnd type="oval" w="sm" len="sm"/>
          </a:ln>
          <a:effectLst/>
        </p:spPr>
      </p:cxnSp>
      <p:sp>
        <p:nvSpPr>
          <p:cNvPr id="85" name="Round Diagonal Corner Rectangle 230">
            <a:extLst>
              <a:ext uri="{FF2B5EF4-FFF2-40B4-BE49-F238E27FC236}">
                <a16:creationId xmlns:a16="http://schemas.microsoft.com/office/drawing/2014/main" id="{0D56C82D-7B92-414C-925C-1D78E60C8A5B}"/>
              </a:ext>
            </a:extLst>
          </p:cNvPr>
          <p:cNvSpPr/>
          <p:nvPr/>
        </p:nvSpPr>
        <p:spPr bwMode="blackWhite">
          <a:xfrm>
            <a:off x="5742031" y="3420063"/>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grpSp>
        <p:nvGrpSpPr>
          <p:cNvPr id="52" name="Group 51">
            <a:extLst>
              <a:ext uri="{FF2B5EF4-FFF2-40B4-BE49-F238E27FC236}">
                <a16:creationId xmlns:a16="http://schemas.microsoft.com/office/drawing/2014/main" id="{F154A7B6-D7BC-4CE0-8E06-8BB7E08DEAC9}"/>
              </a:ext>
            </a:extLst>
          </p:cNvPr>
          <p:cNvGrpSpPr/>
          <p:nvPr/>
        </p:nvGrpSpPr>
        <p:grpSpPr>
          <a:xfrm>
            <a:off x="2144464" y="2364070"/>
            <a:ext cx="1556388" cy="597672"/>
            <a:chOff x="2732087" y="1340042"/>
            <a:chExt cx="1556388" cy="597672"/>
          </a:xfrm>
          <a:solidFill>
            <a:schemeClr val="bg1"/>
          </a:solidFill>
        </p:grpSpPr>
        <p:sp>
          <p:nvSpPr>
            <p:cNvPr id="97" name="Round Diagonal Corner Rectangle 31">
              <a:extLst>
                <a:ext uri="{FF2B5EF4-FFF2-40B4-BE49-F238E27FC236}">
                  <a16:creationId xmlns:a16="http://schemas.microsoft.com/office/drawing/2014/main" id="{51BA452F-20B5-4D0D-B420-C768F0BEE345}"/>
                </a:ext>
              </a:extLst>
            </p:cNvPr>
            <p:cNvSpPr/>
            <p:nvPr/>
          </p:nvSpPr>
          <p:spPr bwMode="blackWhite">
            <a:xfrm>
              <a:off x="2732087" y="1340042"/>
              <a:ext cx="648000" cy="288000"/>
            </a:xfrm>
            <a:prstGeom prst="rect">
              <a:avLst/>
            </a:prstGeom>
            <a:grp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98" name="Straight Connector 138">
              <a:extLst>
                <a:ext uri="{FF2B5EF4-FFF2-40B4-BE49-F238E27FC236}">
                  <a16:creationId xmlns:a16="http://schemas.microsoft.com/office/drawing/2014/main" id="{69F04DF8-32B4-43D6-A9E9-DA377AFB59EB}"/>
                </a:ext>
              </a:extLst>
            </p:cNvPr>
            <p:cNvCxnSpPr>
              <a:cxnSpLocks/>
              <a:stCxn id="97" idx="3"/>
              <a:endCxn id="489" idx="32"/>
            </p:cNvCxnSpPr>
            <p:nvPr/>
          </p:nvCxnSpPr>
          <p:spPr bwMode="auto">
            <a:xfrm>
              <a:off x="3380087" y="1484042"/>
              <a:ext cx="908388" cy="453672"/>
            </a:xfrm>
            <a:prstGeom prst="line">
              <a:avLst/>
            </a:prstGeom>
            <a:grpFill/>
            <a:ln w="12700" algn="ctr">
              <a:solidFill>
                <a:schemeClr val="tx2"/>
              </a:solidFill>
              <a:round/>
              <a:headEnd/>
              <a:tailEnd type="oval" w="sm" len="sm"/>
            </a:ln>
            <a:effectLst/>
          </p:spPr>
        </p:cxnSp>
        <p:pic>
          <p:nvPicPr>
            <p:cNvPr id="156" name="Picture 155">
              <a:extLst>
                <a:ext uri="{FF2B5EF4-FFF2-40B4-BE49-F238E27FC236}">
                  <a16:creationId xmlns:a16="http://schemas.microsoft.com/office/drawing/2014/main" id="{FC916026-CDFC-454B-BDF1-126BAA5458B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54643" y="1396849"/>
              <a:ext cx="574836" cy="152356"/>
            </a:xfrm>
            <a:prstGeom prst="rect">
              <a:avLst/>
            </a:prstGeom>
            <a:grpFill/>
          </p:spPr>
        </p:pic>
      </p:grpSp>
      <p:grpSp>
        <p:nvGrpSpPr>
          <p:cNvPr id="9" name="Group 8">
            <a:extLst>
              <a:ext uri="{FF2B5EF4-FFF2-40B4-BE49-F238E27FC236}">
                <a16:creationId xmlns:a16="http://schemas.microsoft.com/office/drawing/2014/main" id="{B644E283-57FC-4895-9C5D-43770BDE6C9E}"/>
              </a:ext>
            </a:extLst>
          </p:cNvPr>
          <p:cNvGrpSpPr/>
          <p:nvPr/>
        </p:nvGrpSpPr>
        <p:grpSpPr>
          <a:xfrm>
            <a:off x="2039281" y="3353038"/>
            <a:ext cx="1519842" cy="282539"/>
            <a:chOff x="3778249" y="2954343"/>
            <a:chExt cx="1597105" cy="288000"/>
          </a:xfrm>
          <a:solidFill>
            <a:schemeClr val="bg1"/>
          </a:solidFill>
        </p:grpSpPr>
        <p:sp>
          <p:nvSpPr>
            <p:cNvPr id="43" name="Round Diagonal Corner Rectangle 122">
              <a:extLst>
                <a:ext uri="{FF2B5EF4-FFF2-40B4-BE49-F238E27FC236}">
                  <a16:creationId xmlns:a16="http://schemas.microsoft.com/office/drawing/2014/main" id="{37E1248A-2655-4F3A-B5D7-242996D6D80C}"/>
                </a:ext>
              </a:extLst>
            </p:cNvPr>
            <p:cNvSpPr/>
            <p:nvPr/>
          </p:nvSpPr>
          <p:spPr bwMode="blackWhite">
            <a:xfrm>
              <a:off x="3778249" y="2954343"/>
              <a:ext cx="648000" cy="288000"/>
            </a:xfrm>
            <a:prstGeom prst="rect">
              <a:avLst/>
            </a:prstGeom>
            <a:grpFill/>
            <a:ln w="12700">
              <a:solidFill>
                <a:schemeClr val="tx2"/>
              </a:solidFill>
            </a:ln>
            <a:effectLst/>
          </p:spPr>
          <p:txBody>
            <a:bodyPr lIns="90000" tIns="36000" anchor="ctr"/>
            <a:lstStyle/>
            <a:p>
              <a:pPr algn="ctr" eaLnBrk="1" hangingPunct="1">
                <a:defRPr/>
              </a:pPr>
              <a:endParaRPr lang="en-GB" sz="700" dirty="0">
                <a:solidFill>
                  <a:srgbClr val="FF0000"/>
                </a:solidFill>
                <a:highlight>
                  <a:srgbClr val="00FF00"/>
                </a:highlight>
                <a:latin typeface="Arial" charset="0"/>
              </a:endParaRPr>
            </a:p>
          </p:txBody>
        </p:sp>
        <p:cxnSp>
          <p:nvCxnSpPr>
            <p:cNvPr id="44" name="Straight Connector 43">
              <a:extLst>
                <a:ext uri="{FF2B5EF4-FFF2-40B4-BE49-F238E27FC236}">
                  <a16:creationId xmlns:a16="http://schemas.microsoft.com/office/drawing/2014/main" id="{53EBE3D1-7764-410D-BFEF-C97C3BB61FF9}"/>
                </a:ext>
              </a:extLst>
            </p:cNvPr>
            <p:cNvCxnSpPr>
              <a:cxnSpLocks/>
            </p:cNvCxnSpPr>
            <p:nvPr/>
          </p:nvCxnSpPr>
          <p:spPr bwMode="auto">
            <a:xfrm flipV="1">
              <a:off x="4416317" y="2977830"/>
              <a:ext cx="959037" cy="45025"/>
            </a:xfrm>
            <a:prstGeom prst="line">
              <a:avLst/>
            </a:prstGeom>
            <a:grpFill/>
            <a:ln w="12700" cap="flat" cmpd="sng" algn="ctr">
              <a:solidFill>
                <a:schemeClr val="tx2"/>
              </a:solidFill>
              <a:prstDash val="solid"/>
              <a:round/>
              <a:headEnd type="none" w="med" len="med"/>
              <a:tailEnd type="oval" w="sm" len="sm"/>
            </a:ln>
            <a:effectLst/>
          </p:spPr>
        </p:cxnSp>
        <p:pic>
          <p:nvPicPr>
            <p:cNvPr id="157" name="Picture 156">
              <a:extLst>
                <a:ext uri="{FF2B5EF4-FFF2-40B4-BE49-F238E27FC236}">
                  <a16:creationId xmlns:a16="http://schemas.microsoft.com/office/drawing/2014/main" id="{783DF5D6-F9B5-490F-B8BE-8A6F666C149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18630" y="3071321"/>
              <a:ext cx="547949" cy="60883"/>
            </a:xfrm>
            <a:prstGeom prst="rect">
              <a:avLst/>
            </a:prstGeom>
            <a:grpFill/>
          </p:spPr>
        </p:pic>
      </p:grpSp>
      <p:grpSp>
        <p:nvGrpSpPr>
          <p:cNvPr id="99" name="Group 98">
            <a:extLst>
              <a:ext uri="{FF2B5EF4-FFF2-40B4-BE49-F238E27FC236}">
                <a16:creationId xmlns:a16="http://schemas.microsoft.com/office/drawing/2014/main" id="{1B07FAFA-5CBD-4DBD-A369-BD7F9DBEE52E}"/>
              </a:ext>
            </a:extLst>
          </p:cNvPr>
          <p:cNvGrpSpPr/>
          <p:nvPr/>
        </p:nvGrpSpPr>
        <p:grpSpPr>
          <a:xfrm>
            <a:off x="2577818" y="1100848"/>
            <a:ext cx="1572098" cy="1229059"/>
            <a:chOff x="2964823" y="892710"/>
            <a:chExt cx="1572098" cy="1229059"/>
          </a:xfrm>
        </p:grpSpPr>
        <p:sp>
          <p:nvSpPr>
            <p:cNvPr id="14" name="Round Diagonal Corner Rectangle 28">
              <a:extLst>
                <a:ext uri="{FF2B5EF4-FFF2-40B4-BE49-F238E27FC236}">
                  <a16:creationId xmlns:a16="http://schemas.microsoft.com/office/drawing/2014/main" id="{E02957C0-6B63-4385-890B-5535AEBBECD4}"/>
                </a:ext>
              </a:extLst>
            </p:cNvPr>
            <p:cNvSpPr/>
            <p:nvPr/>
          </p:nvSpPr>
          <p:spPr bwMode="blackWhite">
            <a:xfrm>
              <a:off x="3745712" y="892710"/>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16" name="Straight Connector 45">
              <a:extLst>
                <a:ext uri="{FF2B5EF4-FFF2-40B4-BE49-F238E27FC236}">
                  <a16:creationId xmlns:a16="http://schemas.microsoft.com/office/drawing/2014/main" id="{B43C1BCA-34EC-4F42-B02C-95AE2A63968E}"/>
                </a:ext>
              </a:extLst>
            </p:cNvPr>
            <p:cNvCxnSpPr>
              <a:cxnSpLocks/>
              <a:stCxn id="14" idx="2"/>
              <a:endCxn id="505" idx="10"/>
            </p:cNvCxnSpPr>
            <p:nvPr/>
          </p:nvCxnSpPr>
          <p:spPr bwMode="auto">
            <a:xfrm>
              <a:off x="4069712" y="1180710"/>
              <a:ext cx="467209" cy="941059"/>
            </a:xfrm>
            <a:prstGeom prst="line">
              <a:avLst/>
            </a:prstGeom>
            <a:noFill/>
            <a:ln w="12700" algn="ctr">
              <a:solidFill>
                <a:schemeClr val="tx2"/>
              </a:solidFill>
              <a:round/>
              <a:headEnd/>
              <a:tailEnd type="oval" w="sm" len="sm"/>
            </a:ln>
            <a:effectLst/>
          </p:spPr>
        </p:cxnSp>
        <p:pic>
          <p:nvPicPr>
            <p:cNvPr id="159" name="Picture 158">
              <a:extLst>
                <a:ext uri="{FF2B5EF4-FFF2-40B4-BE49-F238E27FC236}">
                  <a16:creationId xmlns:a16="http://schemas.microsoft.com/office/drawing/2014/main" id="{93565EF7-11F9-45C8-B30F-E401BC6C978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964823" y="1534286"/>
              <a:ext cx="414186" cy="93192"/>
            </a:xfrm>
            <a:prstGeom prst="rect">
              <a:avLst/>
            </a:prstGeom>
          </p:spPr>
        </p:pic>
      </p:grpSp>
      <p:pic>
        <p:nvPicPr>
          <p:cNvPr id="148" name="Picture 730">
            <a:extLst>
              <a:ext uri="{FF2B5EF4-FFF2-40B4-BE49-F238E27FC236}">
                <a16:creationId xmlns:a16="http://schemas.microsoft.com/office/drawing/2014/main" id="{0BF82DC4-A3BC-4369-BA64-4FE25C854F3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09805" y="3508222"/>
            <a:ext cx="523875" cy="147637"/>
          </a:xfrm>
          <a:prstGeom prst="rect">
            <a:avLst/>
          </a:prstGeom>
          <a:solidFill>
            <a:schemeClr val="bg1"/>
          </a:solidFill>
          <a:ln>
            <a:noFill/>
          </a:ln>
          <a:effectLst/>
        </p:spPr>
      </p:pic>
      <p:cxnSp>
        <p:nvCxnSpPr>
          <p:cNvPr id="160" name="Straight Connector 124">
            <a:extLst>
              <a:ext uri="{FF2B5EF4-FFF2-40B4-BE49-F238E27FC236}">
                <a16:creationId xmlns:a16="http://schemas.microsoft.com/office/drawing/2014/main" id="{518EE40D-582A-4F97-8DB1-CA2303E87C47}"/>
              </a:ext>
            </a:extLst>
          </p:cNvPr>
          <p:cNvCxnSpPr>
            <a:cxnSpLocks noChangeShapeType="1"/>
            <a:stCxn id="161" idx="1"/>
          </p:cNvCxnSpPr>
          <p:nvPr/>
        </p:nvCxnSpPr>
        <p:spPr bwMode="auto">
          <a:xfrm flipH="1" flipV="1">
            <a:off x="5103247" y="3852332"/>
            <a:ext cx="1458784" cy="645509"/>
          </a:xfrm>
          <a:prstGeom prst="line">
            <a:avLst/>
          </a:prstGeom>
          <a:noFill/>
          <a:ln w="12700" algn="ctr">
            <a:solidFill>
              <a:schemeClr val="tx2"/>
            </a:solidFill>
            <a:round/>
            <a:headEnd/>
            <a:tailEnd type="oval" w="sm" len="sm"/>
          </a:ln>
          <a:effectLst/>
        </p:spPr>
      </p:cxnSp>
      <p:sp>
        <p:nvSpPr>
          <p:cNvPr id="161" name="Round Diagonal Corner Rectangle 230">
            <a:extLst>
              <a:ext uri="{FF2B5EF4-FFF2-40B4-BE49-F238E27FC236}">
                <a16:creationId xmlns:a16="http://schemas.microsoft.com/office/drawing/2014/main" id="{5C98935F-07CB-463F-9DA2-7ED02C4731F8}"/>
              </a:ext>
            </a:extLst>
          </p:cNvPr>
          <p:cNvSpPr/>
          <p:nvPr/>
        </p:nvSpPr>
        <p:spPr bwMode="blackWhite">
          <a:xfrm>
            <a:off x="6562031" y="4353841"/>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162" name="Picture 652" descr="Arena Sport - Wikipedia">
            <a:extLst>
              <a:ext uri="{FF2B5EF4-FFF2-40B4-BE49-F238E27FC236}">
                <a16:creationId xmlns:a16="http://schemas.microsoft.com/office/drawing/2014/main" id="{B679449B-EBC1-4B52-B06C-F443A4F65F8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98136" y="4384652"/>
            <a:ext cx="575789" cy="197481"/>
          </a:xfrm>
          <a:prstGeom prst="rect">
            <a:avLst/>
          </a:prstGeom>
          <a:solidFill>
            <a:schemeClr val="bg1"/>
          </a:solidFill>
        </p:spPr>
      </p:pic>
      <p:sp>
        <p:nvSpPr>
          <p:cNvPr id="100" name="Round Diagonal Corner Rectangle 270">
            <a:extLst>
              <a:ext uri="{FF2B5EF4-FFF2-40B4-BE49-F238E27FC236}">
                <a16:creationId xmlns:a16="http://schemas.microsoft.com/office/drawing/2014/main" id="{D7FD16E0-ECF7-43A4-BBD8-1153EF35317C}"/>
              </a:ext>
            </a:extLst>
          </p:cNvPr>
          <p:cNvSpPr/>
          <p:nvPr/>
        </p:nvSpPr>
        <p:spPr bwMode="blackWhite">
          <a:xfrm>
            <a:off x="133012" y="4654013"/>
            <a:ext cx="1800000" cy="360218"/>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latin typeface="Arial" charset="0"/>
            </a:endParaRPr>
          </a:p>
        </p:txBody>
      </p:sp>
      <p:sp>
        <p:nvSpPr>
          <p:cNvPr id="101" name="TextBox 100">
            <a:extLst>
              <a:ext uri="{FF2B5EF4-FFF2-40B4-BE49-F238E27FC236}">
                <a16:creationId xmlns:a16="http://schemas.microsoft.com/office/drawing/2014/main" id="{043D7CC3-9C49-420C-8A8E-209CF3F52D96}"/>
              </a:ext>
            </a:extLst>
          </p:cNvPr>
          <p:cNvSpPr txBox="1"/>
          <p:nvPr/>
        </p:nvSpPr>
        <p:spPr>
          <a:xfrm>
            <a:off x="1102475" y="4716359"/>
            <a:ext cx="774789" cy="235527"/>
          </a:xfrm>
          <a:prstGeom prst="rect">
            <a:avLst/>
          </a:prstGeom>
          <a:noFill/>
          <a:effectLst/>
        </p:spPr>
        <p:txBody>
          <a:bodyPr lIns="0" tIns="0" rIns="0" bIns="0" anchor="ctr"/>
          <a:lstStyle/>
          <a:p>
            <a:pPr eaLnBrk="1" hangingPunct="1">
              <a:defRPr/>
            </a:pPr>
            <a:r>
              <a:rPr lang="en-GB" sz="800" dirty="0">
                <a:latin typeface="Arial" charset="0"/>
              </a:rPr>
              <a:t>Worldwide News</a:t>
            </a:r>
          </a:p>
        </p:txBody>
      </p:sp>
      <p:cxnSp>
        <p:nvCxnSpPr>
          <p:cNvPr id="102" name="Straight Connector 101">
            <a:extLst>
              <a:ext uri="{FF2B5EF4-FFF2-40B4-BE49-F238E27FC236}">
                <a16:creationId xmlns:a16="http://schemas.microsoft.com/office/drawing/2014/main" id="{62C91593-4D8D-4E70-A3B3-2D68821FD11B}"/>
              </a:ext>
            </a:extLst>
          </p:cNvPr>
          <p:cNvCxnSpPr/>
          <p:nvPr/>
        </p:nvCxnSpPr>
        <p:spPr bwMode="auto">
          <a:xfrm>
            <a:off x="1033012" y="4708122"/>
            <a:ext cx="0" cy="252000"/>
          </a:xfrm>
          <a:prstGeom prst="line">
            <a:avLst/>
          </a:prstGeom>
          <a:solidFill>
            <a:srgbClr val="FF0000"/>
          </a:solidFill>
          <a:ln w="12700" cap="flat" cmpd="sng" algn="ctr">
            <a:solidFill>
              <a:schemeClr val="tx2"/>
            </a:solidFill>
            <a:prstDash val="solid"/>
            <a:round/>
            <a:headEnd type="none" w="med" len="med"/>
            <a:tailEnd type="none" w="med" len="med"/>
          </a:ln>
          <a:effectLst/>
        </p:spPr>
      </p:cxnSp>
      <p:grpSp>
        <p:nvGrpSpPr>
          <p:cNvPr id="112" name="Group 111">
            <a:extLst>
              <a:ext uri="{FF2B5EF4-FFF2-40B4-BE49-F238E27FC236}">
                <a16:creationId xmlns:a16="http://schemas.microsoft.com/office/drawing/2014/main" id="{9E3DD71C-3E4B-4706-A9A8-71BF8FBD301D}"/>
              </a:ext>
            </a:extLst>
          </p:cNvPr>
          <p:cNvGrpSpPr/>
          <p:nvPr/>
        </p:nvGrpSpPr>
        <p:grpSpPr>
          <a:xfrm>
            <a:off x="5688463" y="1154640"/>
            <a:ext cx="1461485" cy="354648"/>
            <a:chOff x="4629042" y="1527712"/>
            <a:chExt cx="1461485" cy="354648"/>
          </a:xfrm>
          <a:solidFill>
            <a:schemeClr val="bg1"/>
          </a:solidFill>
        </p:grpSpPr>
        <p:cxnSp>
          <p:nvCxnSpPr>
            <p:cNvPr id="113" name="Straight Connector 221">
              <a:extLst>
                <a:ext uri="{FF2B5EF4-FFF2-40B4-BE49-F238E27FC236}">
                  <a16:creationId xmlns:a16="http://schemas.microsoft.com/office/drawing/2014/main" id="{92CBDA18-1B05-452B-8818-66FBDBFC0F2D}"/>
                </a:ext>
              </a:extLst>
            </p:cNvPr>
            <p:cNvCxnSpPr>
              <a:cxnSpLocks noChangeShapeType="1"/>
              <a:stCxn id="114" idx="1"/>
            </p:cNvCxnSpPr>
            <p:nvPr/>
          </p:nvCxnSpPr>
          <p:spPr bwMode="auto">
            <a:xfrm flipH="1">
              <a:off x="4629042" y="1669000"/>
              <a:ext cx="842360" cy="213360"/>
            </a:xfrm>
            <a:prstGeom prst="line">
              <a:avLst/>
            </a:prstGeom>
            <a:grpFill/>
            <a:ln w="12700" algn="ctr">
              <a:solidFill>
                <a:schemeClr val="tx2"/>
              </a:solidFill>
              <a:round/>
              <a:headEnd/>
              <a:tailEnd type="oval" w="sm" len="sm"/>
            </a:ln>
            <a:effectLst/>
          </p:spPr>
        </p:cxnSp>
        <p:sp>
          <p:nvSpPr>
            <p:cNvPr id="114" name="Round Diagonal Corner Rectangle 222">
              <a:extLst>
                <a:ext uri="{FF2B5EF4-FFF2-40B4-BE49-F238E27FC236}">
                  <a16:creationId xmlns:a16="http://schemas.microsoft.com/office/drawing/2014/main" id="{90F0AD7C-BA13-4582-B35B-7E210DF1FBE4}"/>
                </a:ext>
              </a:extLst>
            </p:cNvPr>
            <p:cNvSpPr/>
            <p:nvPr/>
          </p:nvSpPr>
          <p:spPr bwMode="blackWhite">
            <a:xfrm>
              <a:off x="5471402" y="1527712"/>
              <a:ext cx="619125" cy="282575"/>
            </a:xfrm>
            <a:prstGeom prst="rect">
              <a:avLst/>
            </a:prstGeom>
            <a:grp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grpSp>
      <p:pic>
        <p:nvPicPr>
          <p:cNvPr id="52228" name="Picture 4" descr="C More Entertainment - Wikiwand">
            <a:extLst>
              <a:ext uri="{FF2B5EF4-FFF2-40B4-BE49-F238E27FC236}">
                <a16:creationId xmlns:a16="http://schemas.microsoft.com/office/drawing/2014/main" id="{6AE0FF45-DD9A-475A-B1B0-7DB4AA4ABA1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64950" y="1189145"/>
            <a:ext cx="512059" cy="199703"/>
          </a:xfrm>
          <a:prstGeom prst="rect">
            <a:avLst/>
          </a:prstGeom>
          <a:noFill/>
        </p:spPr>
      </p:pic>
      <p:cxnSp>
        <p:nvCxnSpPr>
          <p:cNvPr id="6" name="Straight Connector 124">
            <a:extLst>
              <a:ext uri="{FF2B5EF4-FFF2-40B4-BE49-F238E27FC236}">
                <a16:creationId xmlns:a16="http://schemas.microsoft.com/office/drawing/2014/main" id="{A40243F4-21AC-F755-5CEE-2B6D6AB5FE70}"/>
              </a:ext>
            </a:extLst>
          </p:cNvPr>
          <p:cNvCxnSpPr>
            <a:cxnSpLocks noChangeShapeType="1"/>
            <a:stCxn id="7" idx="0"/>
          </p:cNvCxnSpPr>
          <p:nvPr/>
        </p:nvCxnSpPr>
        <p:spPr bwMode="auto">
          <a:xfrm flipH="1" flipV="1">
            <a:off x="4617520" y="4102162"/>
            <a:ext cx="393807" cy="665066"/>
          </a:xfrm>
          <a:prstGeom prst="line">
            <a:avLst/>
          </a:prstGeom>
          <a:noFill/>
          <a:ln w="12700" algn="ctr">
            <a:solidFill>
              <a:schemeClr val="tx2"/>
            </a:solidFill>
            <a:round/>
            <a:headEnd/>
            <a:tailEnd type="oval" w="sm" len="sm"/>
          </a:ln>
          <a:effectLst/>
        </p:spPr>
      </p:cxnSp>
      <p:sp>
        <p:nvSpPr>
          <p:cNvPr id="7" name="Round Diagonal Corner Rectangle 230">
            <a:extLst>
              <a:ext uri="{FF2B5EF4-FFF2-40B4-BE49-F238E27FC236}">
                <a16:creationId xmlns:a16="http://schemas.microsoft.com/office/drawing/2014/main" id="{2DB7D359-9C60-5802-7275-03E7D88A11E3}"/>
              </a:ext>
            </a:extLst>
          </p:cNvPr>
          <p:cNvSpPr/>
          <p:nvPr/>
        </p:nvSpPr>
        <p:spPr bwMode="blackWhite">
          <a:xfrm>
            <a:off x="4687327" y="4767228"/>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8" name="Picture 2" descr="Sky Italia — Wikipédia">
            <a:extLst>
              <a:ext uri="{FF2B5EF4-FFF2-40B4-BE49-F238E27FC236}">
                <a16:creationId xmlns:a16="http://schemas.microsoft.com/office/drawing/2014/main" id="{0E38DB48-FA58-4E70-95D6-A9FFD89B8AE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825718" y="4801664"/>
            <a:ext cx="357773" cy="21912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B661CEC2-0BBC-ADE4-6CEE-109092C71D4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458247" y="1167220"/>
            <a:ext cx="388182" cy="17481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A5EB0D49-73DA-4D73-D7CD-9D5DF5FCEAD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634073" y="1828390"/>
            <a:ext cx="271716" cy="15537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488EE77D-56F2-6B69-7E2A-F7A448BF4BBB}"/>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9070" b="22927"/>
          <a:stretch/>
        </p:blipFill>
        <p:spPr bwMode="auto">
          <a:xfrm>
            <a:off x="2203420" y="2836537"/>
            <a:ext cx="547230" cy="176336"/>
          </a:xfrm>
          <a:prstGeom prst="rect">
            <a:avLst/>
          </a:prstGeom>
          <a:noFill/>
          <a:extLst>
            <a:ext uri="{909E8E84-426E-40DD-AFC4-6F175D3DCCD1}">
              <a14:hiddenFill xmlns:a14="http://schemas.microsoft.com/office/drawing/2010/main">
                <a:solidFill>
                  <a:srgbClr val="FFFFFF"/>
                </a:solidFill>
              </a14:hiddenFill>
            </a:ext>
          </a:extLst>
        </p:spPr>
      </p:pic>
      <p:sp>
        <p:nvSpPr>
          <p:cNvPr id="3" name="Round Diagonal Corner Rectangle 270">
            <a:extLst>
              <a:ext uri="{FF2B5EF4-FFF2-40B4-BE49-F238E27FC236}">
                <a16:creationId xmlns:a16="http://schemas.microsoft.com/office/drawing/2014/main" id="{8E345EFE-67A3-3FEB-6B96-943A17C916EE}"/>
              </a:ext>
            </a:extLst>
          </p:cNvPr>
          <p:cNvSpPr/>
          <p:nvPr/>
        </p:nvSpPr>
        <p:spPr bwMode="blackWhite">
          <a:xfrm>
            <a:off x="124234" y="4233282"/>
            <a:ext cx="1800000" cy="360218"/>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latin typeface="Arial" charset="0"/>
            </a:endParaRPr>
          </a:p>
        </p:txBody>
      </p:sp>
      <p:sp>
        <p:nvSpPr>
          <p:cNvPr id="13" name="Round Diagonal Corner Rectangle 270">
            <a:extLst>
              <a:ext uri="{FF2B5EF4-FFF2-40B4-BE49-F238E27FC236}">
                <a16:creationId xmlns:a16="http://schemas.microsoft.com/office/drawing/2014/main" id="{36ABB999-8897-3806-494A-1C8205B2ED7E}"/>
              </a:ext>
            </a:extLst>
          </p:cNvPr>
          <p:cNvSpPr/>
          <p:nvPr/>
        </p:nvSpPr>
        <p:spPr bwMode="blackWhite">
          <a:xfrm>
            <a:off x="122480" y="3817447"/>
            <a:ext cx="1800000" cy="360218"/>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latin typeface="Arial" charset="0"/>
            </a:endParaRPr>
          </a:p>
        </p:txBody>
      </p:sp>
      <p:cxnSp>
        <p:nvCxnSpPr>
          <p:cNvPr id="18" name="Straight Connector 159">
            <a:extLst>
              <a:ext uri="{FF2B5EF4-FFF2-40B4-BE49-F238E27FC236}">
                <a16:creationId xmlns:a16="http://schemas.microsoft.com/office/drawing/2014/main" id="{7F9EF644-2E6D-7B22-E47D-FDB58AD8DE0E}"/>
              </a:ext>
            </a:extLst>
          </p:cNvPr>
          <p:cNvCxnSpPr>
            <a:cxnSpLocks noChangeShapeType="1"/>
          </p:cNvCxnSpPr>
          <p:nvPr/>
        </p:nvCxnSpPr>
        <p:spPr bwMode="auto">
          <a:xfrm>
            <a:off x="1033012" y="4287391"/>
            <a:ext cx="0" cy="252000"/>
          </a:xfrm>
          <a:prstGeom prst="line">
            <a:avLst/>
          </a:prstGeom>
          <a:noFill/>
          <a:ln w="12700" algn="ctr">
            <a:solidFill>
              <a:schemeClr val="tx2"/>
            </a:solidFill>
            <a:round/>
            <a:headEnd/>
            <a:tailEnd/>
          </a:ln>
          <a:effectLst/>
        </p:spPr>
      </p:cxnSp>
      <p:cxnSp>
        <p:nvCxnSpPr>
          <p:cNvPr id="20" name="Straight Connector 159">
            <a:extLst>
              <a:ext uri="{FF2B5EF4-FFF2-40B4-BE49-F238E27FC236}">
                <a16:creationId xmlns:a16="http://schemas.microsoft.com/office/drawing/2014/main" id="{FFC5C59F-6C75-FDCA-AB5E-8C00167DBEED}"/>
              </a:ext>
            </a:extLst>
          </p:cNvPr>
          <p:cNvCxnSpPr>
            <a:cxnSpLocks noChangeShapeType="1"/>
          </p:cNvCxnSpPr>
          <p:nvPr/>
        </p:nvCxnSpPr>
        <p:spPr bwMode="auto">
          <a:xfrm>
            <a:off x="1033012" y="3871917"/>
            <a:ext cx="0" cy="252000"/>
          </a:xfrm>
          <a:prstGeom prst="line">
            <a:avLst/>
          </a:prstGeom>
          <a:noFill/>
          <a:ln w="12700" algn="ctr">
            <a:solidFill>
              <a:schemeClr val="tx2"/>
            </a:solidFill>
            <a:round/>
            <a:headEnd/>
            <a:tailEnd/>
          </a:ln>
          <a:effectLst/>
        </p:spPr>
      </p:cxnSp>
      <p:pic>
        <p:nvPicPr>
          <p:cNvPr id="21" name="Picture 20">
            <a:extLst>
              <a:ext uri="{FF2B5EF4-FFF2-40B4-BE49-F238E27FC236}">
                <a16:creationId xmlns:a16="http://schemas.microsoft.com/office/drawing/2014/main" id="{BB22CC79-BAAC-6345-58AC-ED48904C521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84384" y="3963908"/>
            <a:ext cx="744324" cy="86499"/>
          </a:xfrm>
          <a:prstGeom prst="rect">
            <a:avLst/>
          </a:prstGeom>
        </p:spPr>
      </p:pic>
      <p:sp>
        <p:nvSpPr>
          <p:cNvPr id="22" name="TextBox 154">
            <a:extLst>
              <a:ext uri="{FF2B5EF4-FFF2-40B4-BE49-F238E27FC236}">
                <a16:creationId xmlns:a16="http://schemas.microsoft.com/office/drawing/2014/main" id="{20A375B1-A2CD-9B63-CBD0-706E2DA3B5AE}"/>
              </a:ext>
            </a:extLst>
          </p:cNvPr>
          <p:cNvSpPr txBox="1">
            <a:spLocks noChangeArrowheads="1"/>
          </p:cNvSpPr>
          <p:nvPr/>
        </p:nvSpPr>
        <p:spPr bwMode="auto">
          <a:xfrm>
            <a:off x="1091532" y="3887549"/>
            <a:ext cx="793519" cy="216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r>
              <a:rPr lang="en-GB" altLang="en-US" sz="800" dirty="0"/>
              <a:t>Pan-Europe; Pan-Asia-Pacific</a:t>
            </a:r>
          </a:p>
        </p:txBody>
      </p:sp>
      <p:pic>
        <p:nvPicPr>
          <p:cNvPr id="24" name="Picture 23">
            <a:extLst>
              <a:ext uri="{FF2B5EF4-FFF2-40B4-BE49-F238E27FC236}">
                <a16:creationId xmlns:a16="http://schemas.microsoft.com/office/drawing/2014/main" id="{96348799-EAB2-EC28-056A-792CA774D722}"/>
              </a:ext>
            </a:extLst>
          </p:cNvPr>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431800" y="4283047"/>
            <a:ext cx="279959" cy="279959"/>
          </a:xfrm>
          <a:prstGeom prst="rect">
            <a:avLst/>
          </a:prstGeom>
          <a:noFill/>
          <a:ln>
            <a:noFill/>
          </a:ln>
        </p:spPr>
      </p:pic>
      <p:sp>
        <p:nvSpPr>
          <p:cNvPr id="25" name="TextBox 154">
            <a:extLst>
              <a:ext uri="{FF2B5EF4-FFF2-40B4-BE49-F238E27FC236}">
                <a16:creationId xmlns:a16="http://schemas.microsoft.com/office/drawing/2014/main" id="{ECA8087D-3A1D-60F9-B9D1-8467F93F3E73}"/>
              </a:ext>
            </a:extLst>
          </p:cNvPr>
          <p:cNvSpPr txBox="1">
            <a:spLocks noChangeArrowheads="1"/>
          </p:cNvSpPr>
          <p:nvPr/>
        </p:nvSpPr>
        <p:spPr bwMode="auto">
          <a:xfrm>
            <a:off x="1103609" y="4364954"/>
            <a:ext cx="793519" cy="216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r>
              <a:rPr lang="en-GB" altLang="en-US" sz="800" dirty="0"/>
              <a:t>Worldwide News</a:t>
            </a:r>
          </a:p>
        </p:txBody>
      </p:sp>
      <p:sp>
        <p:nvSpPr>
          <p:cNvPr id="26" name="Round Diagonal Corner Rectangle 122">
            <a:extLst>
              <a:ext uri="{FF2B5EF4-FFF2-40B4-BE49-F238E27FC236}">
                <a16:creationId xmlns:a16="http://schemas.microsoft.com/office/drawing/2014/main" id="{9C4D5EC6-80A2-4DB5-CCF8-83F8039D944E}"/>
              </a:ext>
            </a:extLst>
          </p:cNvPr>
          <p:cNvSpPr/>
          <p:nvPr/>
        </p:nvSpPr>
        <p:spPr bwMode="blackWhite">
          <a:xfrm>
            <a:off x="2049341" y="3690113"/>
            <a:ext cx="616652" cy="282539"/>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rgbClr val="FF0000"/>
              </a:solidFill>
              <a:highlight>
                <a:srgbClr val="00FF00"/>
              </a:highlight>
              <a:latin typeface="Arial" charset="0"/>
            </a:endParaRPr>
          </a:p>
        </p:txBody>
      </p:sp>
      <p:cxnSp>
        <p:nvCxnSpPr>
          <p:cNvPr id="27" name="Straight Connector 26">
            <a:extLst>
              <a:ext uri="{FF2B5EF4-FFF2-40B4-BE49-F238E27FC236}">
                <a16:creationId xmlns:a16="http://schemas.microsoft.com/office/drawing/2014/main" id="{FD92A821-82F3-D902-690A-64CC439915BA}"/>
              </a:ext>
            </a:extLst>
          </p:cNvPr>
          <p:cNvCxnSpPr>
            <a:cxnSpLocks/>
          </p:cNvCxnSpPr>
          <p:nvPr/>
        </p:nvCxnSpPr>
        <p:spPr bwMode="auto">
          <a:xfrm flipV="1">
            <a:off x="2656541" y="3713155"/>
            <a:ext cx="912642" cy="44171"/>
          </a:xfrm>
          <a:prstGeom prst="line">
            <a:avLst/>
          </a:prstGeom>
          <a:solidFill>
            <a:schemeClr val="bg1"/>
          </a:solidFill>
          <a:ln w="12700" cap="flat" cmpd="sng" algn="ctr">
            <a:solidFill>
              <a:schemeClr val="tx2"/>
            </a:solidFill>
            <a:prstDash val="solid"/>
            <a:round/>
            <a:headEnd type="none" w="med" len="med"/>
            <a:tailEnd type="oval" w="sm" len="sm"/>
          </a:ln>
          <a:effectLst/>
        </p:spPr>
      </p:cxnSp>
      <p:pic>
        <p:nvPicPr>
          <p:cNvPr id="28" name="Picture 27" descr="Logo TF1">
            <a:extLst>
              <a:ext uri="{FF2B5EF4-FFF2-40B4-BE49-F238E27FC236}">
                <a16:creationId xmlns:a16="http://schemas.microsoft.com/office/drawing/2014/main" id="{57C1125D-8D6A-F501-3D9D-D237985D9F27}"/>
              </a:ext>
            </a:extLst>
          </p:cNvPr>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2128058" y="3752996"/>
            <a:ext cx="443314" cy="161205"/>
          </a:xfrm>
          <a:prstGeom prst="rect">
            <a:avLst/>
          </a:prstGeom>
          <a:noFill/>
          <a:ln>
            <a:noFill/>
          </a:ln>
        </p:spPr>
      </p:pic>
      <p:sp>
        <p:nvSpPr>
          <p:cNvPr id="30" name="Round Diagonal Corner Rectangle 270">
            <a:extLst>
              <a:ext uri="{FF2B5EF4-FFF2-40B4-BE49-F238E27FC236}">
                <a16:creationId xmlns:a16="http://schemas.microsoft.com/office/drawing/2014/main" id="{C861929A-5051-892C-BF86-828E0F3D4295}"/>
              </a:ext>
            </a:extLst>
          </p:cNvPr>
          <p:cNvSpPr/>
          <p:nvPr/>
        </p:nvSpPr>
        <p:spPr bwMode="blackWhite">
          <a:xfrm>
            <a:off x="121827" y="3402378"/>
            <a:ext cx="1800000" cy="360218"/>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latin typeface="Arial" charset="0"/>
            </a:endParaRPr>
          </a:p>
        </p:txBody>
      </p:sp>
      <p:cxnSp>
        <p:nvCxnSpPr>
          <p:cNvPr id="31" name="Straight Connector 159">
            <a:extLst>
              <a:ext uri="{FF2B5EF4-FFF2-40B4-BE49-F238E27FC236}">
                <a16:creationId xmlns:a16="http://schemas.microsoft.com/office/drawing/2014/main" id="{B4E26E5A-2999-61E9-ECF5-84693212EFC0}"/>
              </a:ext>
            </a:extLst>
          </p:cNvPr>
          <p:cNvCxnSpPr>
            <a:cxnSpLocks noChangeShapeType="1"/>
          </p:cNvCxnSpPr>
          <p:nvPr/>
        </p:nvCxnSpPr>
        <p:spPr bwMode="auto">
          <a:xfrm>
            <a:off x="1028021" y="3447525"/>
            <a:ext cx="0" cy="252000"/>
          </a:xfrm>
          <a:prstGeom prst="line">
            <a:avLst/>
          </a:prstGeom>
          <a:noFill/>
          <a:ln w="12700" algn="ctr">
            <a:solidFill>
              <a:schemeClr val="tx2"/>
            </a:solidFill>
            <a:round/>
            <a:headEnd/>
            <a:tailEnd/>
          </a:ln>
          <a:effectLst/>
        </p:spPr>
      </p:cxnSp>
      <p:sp>
        <p:nvSpPr>
          <p:cNvPr id="32" name="TextBox 154">
            <a:extLst>
              <a:ext uri="{FF2B5EF4-FFF2-40B4-BE49-F238E27FC236}">
                <a16:creationId xmlns:a16="http://schemas.microsoft.com/office/drawing/2014/main" id="{ABEBA532-1243-815E-65F1-A746A8867A59}"/>
              </a:ext>
            </a:extLst>
          </p:cNvPr>
          <p:cNvSpPr txBox="1">
            <a:spLocks noChangeArrowheads="1"/>
          </p:cNvSpPr>
          <p:nvPr/>
        </p:nvSpPr>
        <p:spPr bwMode="auto">
          <a:xfrm>
            <a:off x="1088943" y="3535857"/>
            <a:ext cx="793519" cy="140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r>
              <a:rPr lang="en-GB" altLang="en-US" sz="800" dirty="0"/>
              <a:t>Worldwide</a:t>
            </a:r>
          </a:p>
        </p:txBody>
      </p:sp>
      <p:pic>
        <p:nvPicPr>
          <p:cNvPr id="33" name="Picture 32">
            <a:extLst>
              <a:ext uri="{FF2B5EF4-FFF2-40B4-BE49-F238E27FC236}">
                <a16:creationId xmlns:a16="http://schemas.microsoft.com/office/drawing/2014/main" id="{5C7C17B9-E8F4-A9BB-5B48-A195275CA63F}"/>
              </a:ext>
            </a:extLst>
          </p:cNvPr>
          <p:cNvPicPr>
            <a:picLocks noChangeAspect="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75932" y="4681734"/>
            <a:ext cx="468136" cy="260090"/>
          </a:xfrm>
          <a:prstGeom prst="rect">
            <a:avLst/>
          </a:prstGeom>
          <a:noFill/>
          <a:ln>
            <a:noFill/>
          </a:ln>
        </p:spPr>
      </p:pic>
      <p:pic>
        <p:nvPicPr>
          <p:cNvPr id="106" name="Picture 30">
            <a:extLst>
              <a:ext uri="{FF2B5EF4-FFF2-40B4-BE49-F238E27FC236}">
                <a16:creationId xmlns:a16="http://schemas.microsoft.com/office/drawing/2014/main" id="{8BFED2E9-2E58-419C-8656-BEC9573AFB8F}"/>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4774" y="3534607"/>
            <a:ext cx="769371" cy="1054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Round Diagonal Corner Rectangle 122">
            <a:extLst>
              <a:ext uri="{FF2B5EF4-FFF2-40B4-BE49-F238E27FC236}">
                <a16:creationId xmlns:a16="http://schemas.microsoft.com/office/drawing/2014/main" id="{B3F9B95E-D1F8-406E-CF7D-E25D13413F75}"/>
              </a:ext>
            </a:extLst>
          </p:cNvPr>
          <p:cNvSpPr/>
          <p:nvPr/>
        </p:nvSpPr>
        <p:spPr bwMode="blackWhite">
          <a:xfrm>
            <a:off x="1346136" y="3078162"/>
            <a:ext cx="616652" cy="282539"/>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rgbClr val="FF0000"/>
              </a:solidFill>
              <a:highlight>
                <a:srgbClr val="00FF00"/>
              </a:highlight>
              <a:latin typeface="Arial" charset="0"/>
            </a:endParaRPr>
          </a:p>
        </p:txBody>
      </p:sp>
      <p:cxnSp>
        <p:nvCxnSpPr>
          <p:cNvPr id="12" name="Straight Connector 11">
            <a:extLst>
              <a:ext uri="{FF2B5EF4-FFF2-40B4-BE49-F238E27FC236}">
                <a16:creationId xmlns:a16="http://schemas.microsoft.com/office/drawing/2014/main" id="{75EDCD76-43D6-9DCD-B857-5EB04A5905C8}"/>
              </a:ext>
            </a:extLst>
          </p:cNvPr>
          <p:cNvCxnSpPr>
            <a:cxnSpLocks/>
          </p:cNvCxnSpPr>
          <p:nvPr/>
        </p:nvCxnSpPr>
        <p:spPr bwMode="auto">
          <a:xfrm>
            <a:off x="1961675" y="3200753"/>
            <a:ext cx="1210550" cy="120514"/>
          </a:xfrm>
          <a:prstGeom prst="line">
            <a:avLst/>
          </a:prstGeom>
          <a:solidFill>
            <a:schemeClr val="bg1"/>
          </a:solidFill>
          <a:ln w="12700" cap="flat" cmpd="sng" algn="ctr">
            <a:solidFill>
              <a:schemeClr val="tx2"/>
            </a:solidFill>
            <a:prstDash val="solid"/>
            <a:round/>
            <a:headEnd type="none" w="med" len="med"/>
            <a:tailEnd type="oval" w="sm" len="sm"/>
          </a:ln>
          <a:effectLst/>
        </p:spPr>
      </p:cxnSp>
      <p:pic>
        <p:nvPicPr>
          <p:cNvPr id="4" name="Picture 2">
            <a:extLst>
              <a:ext uri="{FF2B5EF4-FFF2-40B4-BE49-F238E27FC236}">
                <a16:creationId xmlns:a16="http://schemas.microsoft.com/office/drawing/2014/main" id="{9E14F8B2-6E0F-9D5E-B2AF-1DD507D124FD}"/>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466450" y="3088350"/>
            <a:ext cx="315737" cy="238638"/>
          </a:xfrm>
          <a:prstGeom prst="rect">
            <a:avLst/>
          </a:prstGeom>
          <a:noFill/>
          <a:extLst>
            <a:ext uri="{909E8E84-426E-40DD-AFC4-6F175D3DCCD1}">
              <a14:hiddenFill xmlns:a14="http://schemas.microsoft.com/office/drawing/2010/main">
                <a:solidFill>
                  <a:srgbClr val="FFFFFF"/>
                </a:solidFill>
              </a14:hiddenFill>
            </a:ext>
          </a:extLst>
        </p:spPr>
      </p:pic>
      <p:sp>
        <p:nvSpPr>
          <p:cNvPr id="29" name="Round Diagonal Corner Rectangle 122">
            <a:extLst>
              <a:ext uri="{FF2B5EF4-FFF2-40B4-BE49-F238E27FC236}">
                <a16:creationId xmlns:a16="http://schemas.microsoft.com/office/drawing/2014/main" id="{25857E9A-6923-18B9-3CAF-CC083A3FE541}"/>
              </a:ext>
            </a:extLst>
          </p:cNvPr>
          <p:cNvSpPr/>
          <p:nvPr/>
        </p:nvSpPr>
        <p:spPr bwMode="blackWhite">
          <a:xfrm>
            <a:off x="873217" y="2712385"/>
            <a:ext cx="616652" cy="282539"/>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rgbClr val="FF0000"/>
              </a:solidFill>
              <a:highlight>
                <a:srgbClr val="00FF00"/>
              </a:highlight>
              <a:latin typeface="Arial" charset="0"/>
            </a:endParaRPr>
          </a:p>
        </p:txBody>
      </p:sp>
      <p:cxnSp>
        <p:nvCxnSpPr>
          <p:cNvPr id="34" name="Straight Connector 33">
            <a:extLst>
              <a:ext uri="{FF2B5EF4-FFF2-40B4-BE49-F238E27FC236}">
                <a16:creationId xmlns:a16="http://schemas.microsoft.com/office/drawing/2014/main" id="{0DAFC687-8266-38C1-E325-FC4E5204F55A}"/>
              </a:ext>
            </a:extLst>
          </p:cNvPr>
          <p:cNvCxnSpPr>
            <a:cxnSpLocks/>
          </p:cNvCxnSpPr>
          <p:nvPr/>
        </p:nvCxnSpPr>
        <p:spPr bwMode="auto">
          <a:xfrm>
            <a:off x="1483459" y="2963739"/>
            <a:ext cx="2129183" cy="383861"/>
          </a:xfrm>
          <a:prstGeom prst="line">
            <a:avLst/>
          </a:prstGeom>
          <a:solidFill>
            <a:schemeClr val="bg1"/>
          </a:solidFill>
          <a:ln w="12700" cap="flat" cmpd="sng" algn="ctr">
            <a:solidFill>
              <a:schemeClr val="tx2"/>
            </a:solidFill>
            <a:prstDash val="solid"/>
            <a:round/>
            <a:headEnd type="none" w="med" len="med"/>
            <a:tailEnd type="oval" w="sm" len="sm"/>
          </a:ln>
          <a:effectLst/>
        </p:spPr>
      </p:cxnSp>
      <p:pic>
        <p:nvPicPr>
          <p:cNvPr id="39" name="Picture 4" descr="France 2">
            <a:extLst>
              <a:ext uri="{FF2B5EF4-FFF2-40B4-BE49-F238E27FC236}">
                <a16:creationId xmlns:a16="http://schemas.microsoft.com/office/drawing/2014/main" id="{09960A0D-09F6-862C-7B58-B0D2B4E15D47}"/>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76466" y="2761411"/>
            <a:ext cx="354168" cy="1844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34935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able 24">
            <a:extLst>
              <a:ext uri="{FF2B5EF4-FFF2-40B4-BE49-F238E27FC236}">
                <a16:creationId xmlns:a16="http://schemas.microsoft.com/office/drawing/2014/main" id="{7FC8D5D2-94C3-4359-9D4F-752068286B98}"/>
              </a:ext>
            </a:extLst>
          </p:cNvPr>
          <p:cNvGraphicFramePr>
            <a:graphicFrameLocks noGrp="1"/>
          </p:cNvGraphicFramePr>
          <p:nvPr>
            <p:extLst>
              <p:ext uri="{D42A27DB-BD31-4B8C-83A1-F6EECF244321}">
                <p14:modId xmlns:p14="http://schemas.microsoft.com/office/powerpoint/2010/main" val="2782221023"/>
              </p:ext>
            </p:extLst>
          </p:nvPr>
        </p:nvGraphicFramePr>
        <p:xfrm>
          <a:off x="412315" y="1247866"/>
          <a:ext cx="8460000" cy="3601971"/>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0000">
                  <a:extLst>
                    <a:ext uri="{9D8B030D-6E8A-4147-A177-3AD203B41FA5}">
                      <a16:colId xmlns:a16="http://schemas.microsoft.com/office/drawing/2014/main" val="1548871955"/>
                    </a:ext>
                  </a:extLst>
                </a:gridCol>
                <a:gridCol w="1062938">
                  <a:extLst>
                    <a:ext uri="{9D8B030D-6E8A-4147-A177-3AD203B41FA5}">
                      <a16:colId xmlns:a16="http://schemas.microsoft.com/office/drawing/2014/main" val="1220884781"/>
                    </a:ext>
                  </a:extLst>
                </a:gridCol>
                <a:gridCol w="745067">
                  <a:extLst>
                    <a:ext uri="{9D8B030D-6E8A-4147-A177-3AD203B41FA5}">
                      <a16:colId xmlns:a16="http://schemas.microsoft.com/office/drawing/2014/main" val="1824730945"/>
                    </a:ext>
                  </a:extLst>
                </a:gridCol>
                <a:gridCol w="3771995">
                  <a:extLst>
                    <a:ext uri="{9D8B030D-6E8A-4147-A177-3AD203B41FA5}">
                      <a16:colId xmlns:a16="http://schemas.microsoft.com/office/drawing/2014/main" val="536613247"/>
                    </a:ext>
                  </a:extLst>
                </a:gridCol>
              </a:tblGrid>
              <a:tr h="355851">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37084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Pan-Europ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Pay TV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ree Practice, Qualifying, </a:t>
                      </a:r>
                      <a:r>
                        <a:rPr lang="en-GB" sz="900" b="1" kern="1200" dirty="0" err="1">
                          <a:solidFill>
                            <a:schemeClr val="tx2"/>
                          </a:solidFill>
                          <a:latin typeface="Arial" charset="0"/>
                          <a:ea typeface="+mn-ea"/>
                          <a:cs typeface="+mn-cs"/>
                        </a:rPr>
                        <a:t>Hyperpole</a:t>
                      </a:r>
                      <a:r>
                        <a:rPr lang="en-GB" sz="900" b="1" kern="1200" dirty="0">
                          <a:solidFill>
                            <a:schemeClr val="tx2"/>
                          </a:solidFill>
                          <a:latin typeface="Arial" charset="0"/>
                          <a:ea typeface="+mn-ea"/>
                          <a:cs typeface="+mn-cs"/>
                        </a:rPr>
                        <a:t>, </a:t>
                      </a:r>
                      <a:r>
                        <a:rPr lang="en-GB" sz="900" b="1" kern="1200" dirty="0" err="1">
                          <a:solidFill>
                            <a:schemeClr val="tx2"/>
                          </a:solidFill>
                          <a:latin typeface="Arial" charset="0"/>
                          <a:ea typeface="+mn-ea"/>
                          <a:cs typeface="+mn-cs"/>
                        </a:rPr>
                        <a:t>WarmUp</a:t>
                      </a:r>
                      <a:r>
                        <a:rPr lang="en-GB" sz="900" b="1" kern="1200" dirty="0">
                          <a:solidFill>
                            <a:schemeClr val="tx2"/>
                          </a:solidFill>
                          <a:latin typeface="Arial" charset="0"/>
                          <a:ea typeface="+mn-ea"/>
                          <a:cs typeface="+mn-cs"/>
                        </a:rPr>
                        <a:t> on Eurosport 1/2</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Part 1: 15:00 – 17:30 (10/06) on Eurosport 2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2: 17:30 – 14:30 (11/06) on Eurosport 1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3: 14:30 – 17:00 (11/06) on Eurosport 2</a:t>
                      </a:r>
                      <a:endParaRPr lang="en-GB" sz="900" b="1" kern="1200" dirty="0">
                        <a:solidFill>
                          <a:srgbClr val="00B050"/>
                        </a:solidFill>
                        <a:latin typeface="Arial"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3/06 21:00 on Eurosport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37084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anc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ree Practice, Qualifying, </a:t>
                      </a:r>
                      <a:r>
                        <a:rPr lang="en-GB" sz="900" b="1" kern="1200" dirty="0" err="1">
                          <a:solidFill>
                            <a:schemeClr val="tx2"/>
                          </a:solidFill>
                          <a:latin typeface="Arial" charset="0"/>
                          <a:ea typeface="+mn-ea"/>
                          <a:cs typeface="+mn-cs"/>
                        </a:rPr>
                        <a:t>Hyperpole</a:t>
                      </a:r>
                      <a:r>
                        <a:rPr lang="en-GB" sz="900" b="1" kern="1200" dirty="0">
                          <a:solidFill>
                            <a:schemeClr val="tx2"/>
                          </a:solidFill>
                          <a:latin typeface="Arial" charset="0"/>
                          <a:ea typeface="+mn-ea"/>
                          <a:cs typeface="+mn-cs"/>
                        </a:rPr>
                        <a:t>, </a:t>
                      </a:r>
                      <a:r>
                        <a:rPr lang="en-GB" sz="900" b="1" kern="1200" dirty="0" err="1">
                          <a:solidFill>
                            <a:schemeClr val="tx2"/>
                          </a:solidFill>
                          <a:latin typeface="Arial" charset="0"/>
                          <a:ea typeface="+mn-ea"/>
                          <a:cs typeface="+mn-cs"/>
                        </a:rPr>
                        <a:t>WarmUp</a:t>
                      </a:r>
                      <a:r>
                        <a:rPr lang="en-GB" sz="900" b="1" kern="1200" dirty="0">
                          <a:solidFill>
                            <a:schemeClr val="tx2"/>
                          </a:solidFill>
                          <a:latin typeface="Arial" charset="0"/>
                          <a:ea typeface="+mn-ea"/>
                          <a:cs typeface="+mn-cs"/>
                        </a:rPr>
                        <a:t> on Eurosport 1/2</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Part 1: 15:00 – 17:30 (10/06) on Eurosport 2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2: 17:30 – 14:30 (11/06) on Eurosport 1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3: 14:30 – 17:00 (11/06) on Eurosport 2</a:t>
                      </a:r>
                      <a:endParaRPr lang="en-GB" sz="900" b="1" kern="1200" dirty="0">
                        <a:solidFill>
                          <a:srgbClr val="00B050"/>
                        </a:solidFill>
                        <a:latin typeface="Arial"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3/06 21:00 on Eurosport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370840">
                <a:tc>
                  <a:txBody>
                    <a:bodyPr/>
                    <a:lstStyle/>
                    <a:p>
                      <a:pPr algn="ctr"/>
                      <a:endParaRPr lang="en-GB" sz="800" kern="1200" dirty="0">
                        <a:solidFill>
                          <a:schemeClr val="tx1"/>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Arial" charset="0"/>
                          <a:ea typeface="+mn-ea"/>
                          <a:cs typeface="+mn-cs"/>
                        </a:rPr>
                        <a:t>Germany/DACH</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Arial" charset="0"/>
                          <a:ea typeface="+mn-ea"/>
                          <a:cs typeface="+mn-cs"/>
                        </a:rPr>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ree Practice, Qualifying, </a:t>
                      </a:r>
                      <a:r>
                        <a:rPr lang="en-GB" sz="900" b="1" kern="1200" dirty="0" err="1">
                          <a:solidFill>
                            <a:schemeClr val="tx2"/>
                          </a:solidFill>
                          <a:latin typeface="Arial" charset="0"/>
                          <a:ea typeface="+mn-ea"/>
                          <a:cs typeface="+mn-cs"/>
                        </a:rPr>
                        <a:t>Hyperpole</a:t>
                      </a:r>
                      <a:r>
                        <a:rPr lang="en-GB" sz="900" b="1" kern="1200" dirty="0">
                          <a:solidFill>
                            <a:schemeClr val="tx2"/>
                          </a:solidFill>
                          <a:latin typeface="Arial" charset="0"/>
                          <a:ea typeface="+mn-ea"/>
                          <a:cs typeface="+mn-cs"/>
                        </a:rPr>
                        <a:t>, </a:t>
                      </a:r>
                      <a:r>
                        <a:rPr lang="en-GB" sz="900" b="1" kern="1200" dirty="0" err="1">
                          <a:solidFill>
                            <a:schemeClr val="tx2"/>
                          </a:solidFill>
                          <a:latin typeface="Arial" charset="0"/>
                          <a:ea typeface="+mn-ea"/>
                          <a:cs typeface="+mn-cs"/>
                        </a:rPr>
                        <a:t>WarmUp</a:t>
                      </a:r>
                      <a:r>
                        <a:rPr lang="en-GB" sz="900" b="1" kern="1200" dirty="0">
                          <a:solidFill>
                            <a:schemeClr val="tx2"/>
                          </a:solidFill>
                          <a:latin typeface="Arial" charset="0"/>
                          <a:ea typeface="+mn-ea"/>
                          <a:cs typeface="+mn-cs"/>
                        </a:rPr>
                        <a:t> on Eurosport 1/2</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Part 1: 15:00 – 17:30 (10/06) on Eurosport 2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2: 17:30 – 14:30 (11/06) on Eurosport 1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3: 14:30 – 17:00 (11/06) on Eurosport 2</a:t>
                      </a:r>
                      <a:endParaRPr lang="en-GB" sz="900" b="1" kern="1200" dirty="0">
                        <a:solidFill>
                          <a:srgbClr val="00B050"/>
                        </a:solidFill>
                        <a:latin typeface="Arial"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3/06 21:00 on Eurosport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247555827"/>
                  </a:ext>
                </a:extLst>
              </a:tr>
              <a:tr h="146884">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UK</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ree Practice, Qualifying, </a:t>
                      </a:r>
                      <a:r>
                        <a:rPr lang="en-GB" sz="900" b="1" kern="1200" dirty="0" err="1">
                          <a:solidFill>
                            <a:schemeClr val="tx2"/>
                          </a:solidFill>
                          <a:latin typeface="Arial" charset="0"/>
                          <a:ea typeface="+mn-ea"/>
                          <a:cs typeface="+mn-cs"/>
                        </a:rPr>
                        <a:t>Hyperpole</a:t>
                      </a:r>
                      <a:r>
                        <a:rPr lang="en-GB" sz="900" b="1" kern="1200" dirty="0">
                          <a:solidFill>
                            <a:schemeClr val="tx2"/>
                          </a:solidFill>
                          <a:latin typeface="Arial" charset="0"/>
                          <a:ea typeface="+mn-ea"/>
                          <a:cs typeface="+mn-cs"/>
                        </a:rPr>
                        <a:t>, </a:t>
                      </a:r>
                      <a:r>
                        <a:rPr lang="en-GB" sz="900" b="1" kern="1200" dirty="0" err="1">
                          <a:solidFill>
                            <a:schemeClr val="tx2"/>
                          </a:solidFill>
                          <a:latin typeface="Arial" charset="0"/>
                          <a:ea typeface="+mn-ea"/>
                          <a:cs typeface="+mn-cs"/>
                        </a:rPr>
                        <a:t>WarmUp</a:t>
                      </a:r>
                      <a:r>
                        <a:rPr lang="en-GB" sz="900" b="1" kern="1200" dirty="0">
                          <a:solidFill>
                            <a:schemeClr val="tx2"/>
                          </a:solidFill>
                          <a:latin typeface="Arial" charset="0"/>
                          <a:ea typeface="+mn-ea"/>
                          <a:cs typeface="+mn-cs"/>
                        </a:rPr>
                        <a:t> on Eurosport 1/2</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Part 1: 14:00 – 16:30 (10/06) on Eurosport 2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2: 16:30 – 13:30 (11/06) on Eurosport 1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3: 13:30 – 16:00 (11/06) on Eurosport 2</a:t>
                      </a:r>
                      <a:endParaRPr lang="en-GB" sz="900" b="1" kern="1200" dirty="0">
                        <a:solidFill>
                          <a:srgbClr val="00B050"/>
                        </a:solidFill>
                        <a:latin typeface="Arial"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3/06 20:00 on Eurosport 1</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926994600"/>
                  </a:ext>
                </a:extLst>
              </a:tr>
            </a:tbl>
          </a:graphicData>
        </a:graphic>
      </p:graphicFrame>
      <p:sp>
        <p:nvSpPr>
          <p:cNvPr id="3" name="Title 2">
            <a:extLst>
              <a:ext uri="{FF2B5EF4-FFF2-40B4-BE49-F238E27FC236}">
                <a16:creationId xmlns:a16="http://schemas.microsoft.com/office/drawing/2014/main" id="{FB954D6A-2010-423B-A2E5-E73E3E49D657}"/>
              </a:ext>
            </a:extLst>
          </p:cNvPr>
          <p:cNvSpPr>
            <a:spLocks noGrp="1"/>
          </p:cNvSpPr>
          <p:nvPr>
            <p:ph type="title"/>
          </p:nvPr>
        </p:nvSpPr>
        <p:spPr/>
        <p:txBody>
          <a:bodyPr/>
          <a:lstStyle/>
          <a:p>
            <a:r>
              <a:rPr lang="en-GB" dirty="0"/>
              <a:t>Pan-European Broadcasters</a:t>
            </a:r>
          </a:p>
        </p:txBody>
      </p:sp>
      <p:sp>
        <p:nvSpPr>
          <p:cNvPr id="2" name="Footer Placeholder 1">
            <a:extLst>
              <a:ext uri="{FF2B5EF4-FFF2-40B4-BE49-F238E27FC236}">
                <a16:creationId xmlns:a16="http://schemas.microsoft.com/office/drawing/2014/main" id="{867AFC13-10E0-47C4-8247-D5171DAFA6A2}"/>
              </a:ext>
            </a:extLst>
          </p:cNvPr>
          <p:cNvSpPr>
            <a:spLocks noGrp="1"/>
          </p:cNvSpPr>
          <p:nvPr>
            <p:ph type="ftr" sz="quarter" idx="14"/>
          </p:nvPr>
        </p:nvSpPr>
        <p:spPr/>
        <p:txBody>
          <a:bodyPr/>
          <a:lstStyle/>
          <a:p>
            <a:r>
              <a:rPr lang="de-CH" dirty="0"/>
              <a:t>#</a:t>
            </a:r>
            <a:r>
              <a:rPr lang="de-CH" dirty="0" err="1"/>
              <a:t>AllAboutSports</a:t>
            </a:r>
            <a:endParaRPr lang="de-CH" dirty="0"/>
          </a:p>
        </p:txBody>
      </p:sp>
      <p:grpSp>
        <p:nvGrpSpPr>
          <p:cNvPr id="33" name="Group 32">
            <a:extLst>
              <a:ext uri="{FF2B5EF4-FFF2-40B4-BE49-F238E27FC236}">
                <a16:creationId xmlns:a16="http://schemas.microsoft.com/office/drawing/2014/main" id="{E930A4B2-A92A-4520-979B-B341A8DC98FC}"/>
              </a:ext>
            </a:extLst>
          </p:cNvPr>
          <p:cNvGrpSpPr/>
          <p:nvPr/>
        </p:nvGrpSpPr>
        <p:grpSpPr>
          <a:xfrm>
            <a:off x="4818852" y="1313987"/>
            <a:ext cx="1936210" cy="152160"/>
            <a:chOff x="4634606" y="1446587"/>
            <a:chExt cx="1936210" cy="152160"/>
          </a:xfrm>
        </p:grpSpPr>
        <p:sp>
          <p:nvSpPr>
            <p:cNvPr id="29" name="TextBox 28">
              <a:extLst>
                <a:ext uri="{FF2B5EF4-FFF2-40B4-BE49-F238E27FC236}">
                  <a16:creationId xmlns:a16="http://schemas.microsoft.com/office/drawing/2014/main" id="{28EC6FC9-1EED-486C-8549-47BB9D6219A8}"/>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30" name="TextBox 29">
              <a:extLst>
                <a:ext uri="{FF2B5EF4-FFF2-40B4-BE49-F238E27FC236}">
                  <a16:creationId xmlns:a16="http://schemas.microsoft.com/office/drawing/2014/main" id="{23880454-AFE6-46E9-97AF-D32EDA7D2080}"/>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31" name="TextBox 30">
              <a:extLst>
                <a:ext uri="{FF2B5EF4-FFF2-40B4-BE49-F238E27FC236}">
                  <a16:creationId xmlns:a16="http://schemas.microsoft.com/office/drawing/2014/main" id="{37135E41-6DAE-459F-8563-3621A324784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38" name="Picture 37">
            <a:extLst>
              <a:ext uri="{FF2B5EF4-FFF2-40B4-BE49-F238E27FC236}">
                <a16:creationId xmlns:a16="http://schemas.microsoft.com/office/drawing/2014/main" id="{61BDEE16-CC44-4E79-925D-94C1A078E8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439" y="2719548"/>
            <a:ext cx="1097595" cy="127553"/>
          </a:xfrm>
          <a:prstGeom prst="rect">
            <a:avLst/>
          </a:prstGeom>
        </p:spPr>
      </p:pic>
      <p:pic>
        <p:nvPicPr>
          <p:cNvPr id="39" name="Picture 38">
            <a:extLst>
              <a:ext uri="{FF2B5EF4-FFF2-40B4-BE49-F238E27FC236}">
                <a16:creationId xmlns:a16="http://schemas.microsoft.com/office/drawing/2014/main" id="{D147ADBE-33EF-4D60-90CB-DC3B583A35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439" y="3489951"/>
            <a:ext cx="1097595" cy="127553"/>
          </a:xfrm>
          <a:prstGeom prst="rect">
            <a:avLst/>
          </a:prstGeom>
        </p:spPr>
      </p:pic>
      <p:sp>
        <p:nvSpPr>
          <p:cNvPr id="41" name="Slide Number Placeholder 2">
            <a:extLst>
              <a:ext uri="{FF2B5EF4-FFF2-40B4-BE49-F238E27FC236}">
                <a16:creationId xmlns:a16="http://schemas.microsoft.com/office/drawing/2014/main" id="{CBCFD979-5144-448C-B723-CBE7896B4C85}"/>
              </a:ext>
            </a:extLst>
          </p:cNvPr>
          <p:cNvSpPr>
            <a:spLocks noGrp="1"/>
          </p:cNvSpPr>
          <p:nvPr>
            <p:ph type="sldNum" sz="quarter" idx="12"/>
          </p:nvPr>
        </p:nvSpPr>
        <p:spPr>
          <a:xfrm>
            <a:off x="7365818" y="4966290"/>
            <a:ext cx="1454331" cy="109493"/>
          </a:xfrm>
        </p:spPr>
        <p:txBody>
          <a:bodyPr/>
          <a:lstStyle/>
          <a:p>
            <a:fld id="{9B60B346-FC99-4236-B943-65AE761B958F}" type="slidenum">
              <a:rPr lang="de-CH" smtClean="0"/>
              <a:t>4</a:t>
            </a:fld>
            <a:endParaRPr lang="de-CH" dirty="0"/>
          </a:p>
        </p:txBody>
      </p:sp>
      <p:pic>
        <p:nvPicPr>
          <p:cNvPr id="42" name="Picture 41">
            <a:extLst>
              <a:ext uri="{FF2B5EF4-FFF2-40B4-BE49-F238E27FC236}">
                <a16:creationId xmlns:a16="http://schemas.microsoft.com/office/drawing/2014/main" id="{DADBFA4A-38E6-4160-A609-832A6B9475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441" y="1996525"/>
            <a:ext cx="1097595" cy="127553"/>
          </a:xfrm>
          <a:prstGeom prst="rect">
            <a:avLst/>
          </a:prstGeom>
        </p:spPr>
      </p:pic>
      <p:pic>
        <p:nvPicPr>
          <p:cNvPr id="13" name="Picture 12">
            <a:extLst>
              <a:ext uri="{FF2B5EF4-FFF2-40B4-BE49-F238E27FC236}">
                <a16:creationId xmlns:a16="http://schemas.microsoft.com/office/drawing/2014/main" id="{3701B274-494C-4748-9FEE-F8FDA232CF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440" y="4261220"/>
            <a:ext cx="1097595" cy="127553"/>
          </a:xfrm>
          <a:prstGeom prst="rect">
            <a:avLst/>
          </a:prstGeom>
        </p:spPr>
      </p:pic>
    </p:spTree>
    <p:extLst>
      <p:ext uri="{BB962C8B-B14F-4D97-AF65-F5344CB8AC3E}">
        <p14:creationId xmlns:p14="http://schemas.microsoft.com/office/powerpoint/2010/main" val="40588226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European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5</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1606221178"/>
              </p:ext>
            </p:extLst>
          </p:nvPr>
        </p:nvGraphicFramePr>
        <p:xfrm>
          <a:off x="412315" y="1247612"/>
          <a:ext cx="8463619" cy="339732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Austr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on </a:t>
                      </a:r>
                      <a:r>
                        <a:rPr lang="en-GB" sz="900" b="1" kern="1200" dirty="0" err="1">
                          <a:solidFill>
                            <a:schemeClr val="tx2"/>
                          </a:solidFill>
                          <a:latin typeface="Arial" charset="0"/>
                          <a:ea typeface="+mn-ea"/>
                          <a:cs typeface="+mn-cs"/>
                        </a:rPr>
                        <a:t>ORFeins</a:t>
                      </a:r>
                      <a:r>
                        <a:rPr lang="en-GB" sz="900" b="1" kern="1200" dirty="0">
                          <a:solidFill>
                            <a:schemeClr val="tx2"/>
                          </a:solidFill>
                          <a:latin typeface="Arial" charset="0"/>
                          <a:ea typeface="+mn-ea"/>
                          <a:cs typeface="+mn-cs"/>
                        </a:rPr>
                        <a:t>: Part 1: 14:40-16:50 / Part 2: 18:45-19:25 / Part 3: 01:30-06:00 / Part 4: 09:25-09:40 (update) / Part 5: 12:10-13:25 (update) / Part 6: 14:20-15:30</a:t>
                      </a:r>
                      <a:br>
                        <a:rPr lang="en-GB" sz="900" b="1" kern="1200" dirty="0">
                          <a:solidFill>
                            <a:srgbClr val="00B050"/>
                          </a:solidFill>
                          <a:latin typeface="Arial" charset="0"/>
                          <a:ea typeface="+mn-ea"/>
                          <a:cs typeface="+mn-cs"/>
                        </a:rPr>
                      </a:br>
                      <a:r>
                        <a:rPr lang="en-GB" sz="900" b="1" kern="1200" dirty="0">
                          <a:solidFill>
                            <a:schemeClr val="accent6"/>
                          </a:solidFill>
                          <a:latin typeface="Arial" charset="0"/>
                          <a:ea typeface="+mn-ea"/>
                          <a:cs typeface="+mn-cs"/>
                        </a:rPr>
                        <a:t>HLs: tbc </a:t>
                      </a:r>
                      <a:endParaRPr lang="en-GB" sz="900" b="1" dirty="0">
                        <a:solidFill>
                          <a:srgbClr val="00B050"/>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Balkans (Bosnia and Herzegovina, Croatia, Kosovo, North Macedonia, Montenegro, Serbia and Sloven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Belgium</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870508809"/>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Belgium</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926994600"/>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Denmark</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Qualification Live</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on TV2: 15.50-17.50 / 21.00-22.30 / 22.40-07.00 / 07.10-09.55 / 10.10-11.55 / 12.10-13.25 / 13.40-16.06</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35104177"/>
                  </a:ext>
                </a:extLst>
              </a:tr>
            </a:tbl>
          </a:graphicData>
        </a:graphic>
      </p:graphicFrame>
      <p:pic>
        <p:nvPicPr>
          <p:cNvPr id="16" name="Picture 15">
            <a:extLst>
              <a:ext uri="{FF2B5EF4-FFF2-40B4-BE49-F238E27FC236}">
                <a16:creationId xmlns:a16="http://schemas.microsoft.com/office/drawing/2014/main" id="{8AA894CA-491B-49AB-B41D-DC04656221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5297" y="2312468"/>
            <a:ext cx="1085638" cy="372346"/>
          </a:xfrm>
          <a:prstGeom prst="rect">
            <a:avLst/>
          </a:prstGeom>
        </p:spPr>
      </p:pic>
      <p:pic>
        <p:nvPicPr>
          <p:cNvPr id="17" name="Picture 16">
            <a:extLst>
              <a:ext uri="{FF2B5EF4-FFF2-40B4-BE49-F238E27FC236}">
                <a16:creationId xmlns:a16="http://schemas.microsoft.com/office/drawing/2014/main" id="{D32799EF-BA70-4320-A0E7-D2492B5882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475" y="3680233"/>
            <a:ext cx="757958" cy="200891"/>
          </a:xfrm>
          <a:prstGeom prst="rect">
            <a:avLst/>
          </a:prstGeom>
        </p:spPr>
      </p:pic>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6" name="Picture 2">
            <a:extLst>
              <a:ext uri="{FF2B5EF4-FFF2-40B4-BE49-F238E27FC236}">
                <a16:creationId xmlns:a16="http://schemas.microsoft.com/office/drawing/2014/main" id="{5A29CC38-1B87-D7F1-4A28-4E1819D40AD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1161" y="4234139"/>
            <a:ext cx="722272" cy="32527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783" descr="Image result for orf logo">
            <a:extLst>
              <a:ext uri="{FF2B5EF4-FFF2-40B4-BE49-F238E27FC236}">
                <a16:creationId xmlns:a16="http://schemas.microsoft.com/office/drawing/2014/main" id="{ECF533B4-8B38-C74B-223E-89310614E46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1161" y="1673656"/>
            <a:ext cx="622690" cy="269128"/>
          </a:xfrm>
          <a:prstGeom prst="rect">
            <a:avLst/>
          </a:prstGeom>
          <a:solidFill>
            <a:srgbClr val="FFFF00"/>
          </a:solidFill>
          <a:ln>
            <a:noFill/>
          </a:ln>
          <a:effectLst/>
          <a:extLst>
            <a:ext uri="{91240B29-F687-4F45-9708-019B960494DF}">
              <a14:hiddenLine xmlns:a14="http://schemas.microsoft.com/office/drawing/2010/main" w="9525">
                <a:solidFill>
                  <a:srgbClr val="000000"/>
                </a:solidFill>
                <a:miter lim="800000"/>
                <a:headEnd/>
                <a:tailEnd/>
              </a14:hiddenLine>
            </a:ext>
          </a:extLst>
        </p:spPr>
      </p:pic>
      <p:pic>
        <p:nvPicPr>
          <p:cNvPr id="9" name="Picture 6">
            <a:extLst>
              <a:ext uri="{FF2B5EF4-FFF2-40B4-BE49-F238E27FC236}">
                <a16:creationId xmlns:a16="http://schemas.microsoft.com/office/drawing/2014/main" id="{C9A79EB5-4DF8-4CD5-5B46-FDD14E4248E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9070" b="22927"/>
          <a:stretch/>
        </p:blipFill>
        <p:spPr bwMode="auto">
          <a:xfrm>
            <a:off x="532839" y="3040770"/>
            <a:ext cx="1018078" cy="3280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20530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European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6</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1275810000"/>
              </p:ext>
            </p:extLst>
          </p:nvPr>
        </p:nvGraphicFramePr>
        <p:xfrm>
          <a:off x="395811" y="1243405"/>
          <a:ext cx="8352377" cy="1678751"/>
        </p:xfrm>
        <a:graphic>
          <a:graphicData uri="http://schemas.openxmlformats.org/drawingml/2006/table">
            <a:tbl>
              <a:tblPr firstRow="1" bandRow="1">
                <a:tableStyleId>{5C22544A-7EE6-4342-B048-85BDC9FD1C3A}</a:tableStyleId>
              </a:tblPr>
              <a:tblGrid>
                <a:gridCol w="1243439">
                  <a:extLst>
                    <a:ext uri="{9D8B030D-6E8A-4147-A177-3AD203B41FA5}">
                      <a16:colId xmlns:a16="http://schemas.microsoft.com/office/drawing/2014/main" val="1171426331"/>
                    </a:ext>
                  </a:extLst>
                </a:gridCol>
                <a:gridCol w="1602279">
                  <a:extLst>
                    <a:ext uri="{9D8B030D-6E8A-4147-A177-3AD203B41FA5}">
                      <a16:colId xmlns:a16="http://schemas.microsoft.com/office/drawing/2014/main" val="1548871955"/>
                    </a:ext>
                  </a:extLst>
                </a:gridCol>
                <a:gridCol w="1243439">
                  <a:extLst>
                    <a:ext uri="{9D8B030D-6E8A-4147-A177-3AD203B41FA5}">
                      <a16:colId xmlns:a16="http://schemas.microsoft.com/office/drawing/2014/main" val="1220884781"/>
                    </a:ext>
                  </a:extLst>
                </a:gridCol>
                <a:gridCol w="710536">
                  <a:extLst>
                    <a:ext uri="{9D8B030D-6E8A-4147-A177-3AD203B41FA5}">
                      <a16:colId xmlns:a16="http://schemas.microsoft.com/office/drawing/2014/main" val="1824730945"/>
                    </a:ext>
                  </a:extLst>
                </a:gridCol>
                <a:gridCol w="3552684">
                  <a:extLst>
                    <a:ext uri="{9D8B030D-6E8A-4147-A177-3AD203B41FA5}">
                      <a16:colId xmlns:a16="http://schemas.microsoft.com/office/drawing/2014/main" val="536613247"/>
                    </a:ext>
                  </a:extLst>
                </a:gridCol>
              </a:tblGrid>
              <a:tr h="238111">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357167">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Franc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on la </a:t>
                      </a:r>
                      <a:r>
                        <a:rPr lang="en-GB" sz="900" b="1" kern="1200" dirty="0" err="1">
                          <a:solidFill>
                            <a:schemeClr val="tx2"/>
                          </a:solidFill>
                          <a:latin typeface="Arial" charset="0"/>
                          <a:ea typeface="+mn-ea"/>
                          <a:cs typeface="+mn-cs"/>
                        </a:rPr>
                        <a:t>Chaine</a:t>
                      </a:r>
                      <a:r>
                        <a:rPr lang="en-GB" sz="900" b="1" kern="1200" dirty="0">
                          <a:solidFill>
                            <a:schemeClr val="tx2"/>
                          </a:solidFill>
                          <a:latin typeface="Arial" charset="0"/>
                          <a:ea typeface="+mn-ea"/>
                          <a:cs typeface="+mn-cs"/>
                        </a:rPr>
                        <a:t> </a:t>
                      </a:r>
                      <a:r>
                        <a:rPr lang="en-GB" sz="900" b="1" kern="1200" dirty="0" err="1">
                          <a:solidFill>
                            <a:schemeClr val="tx2"/>
                          </a:solidFill>
                          <a:latin typeface="Arial" charset="0"/>
                          <a:ea typeface="+mn-ea"/>
                          <a:cs typeface="+mn-cs"/>
                        </a:rPr>
                        <a:t>L’Equipe</a:t>
                      </a:r>
                      <a:r>
                        <a:rPr lang="en-GB" sz="900" b="1" kern="1200" dirty="0">
                          <a:solidFill>
                            <a:schemeClr val="tx2"/>
                          </a:solidFill>
                          <a:latin typeface="Arial" charset="0"/>
                          <a:ea typeface="+mn-ea"/>
                          <a:cs typeface="+mn-cs"/>
                        </a:rPr>
                        <a:t>: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1: 16:00-20:57 / Part 2: 22:53-01:30 / Part 3: 5:00-16:00</a:t>
                      </a:r>
                      <a:endParaRPr lang="en-GB" sz="900" b="1" dirty="0">
                        <a:solidFill>
                          <a:schemeClr val="accent2">
                            <a:lumMod val="75000"/>
                          </a:schemeClr>
                        </a:solidFill>
                        <a:latin typeface="Arial"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357167">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Franc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News</a:t>
                      </a:r>
                    </a:p>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Magazin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dirty="0">
                          <a:solidFill>
                            <a:schemeClr val="accent2">
                              <a:lumMod val="75000"/>
                            </a:schemeClr>
                          </a:solidFill>
                          <a:latin typeface="Arial" charset="0"/>
                        </a:rPr>
                        <a:t>TF1 TV News: 13:00 (09/06) and 13:00 (11/06) </a:t>
                      </a:r>
                      <a:br>
                        <a:rPr lang="en-GB" sz="900" b="1" dirty="0">
                          <a:solidFill>
                            <a:schemeClr val="accent2">
                              <a:lumMod val="75000"/>
                            </a:schemeClr>
                          </a:solidFill>
                          <a:latin typeface="Arial" charset="0"/>
                        </a:rPr>
                      </a:br>
                      <a:r>
                        <a:rPr lang="en-GB" sz="900" b="1" dirty="0">
                          <a:solidFill>
                            <a:schemeClr val="accent2">
                              <a:lumMod val="75000"/>
                            </a:schemeClr>
                          </a:solidFill>
                          <a:latin typeface="Arial" charset="0"/>
                        </a:rPr>
                        <a:t>Auto Moto magazine 10:10 (18/06)</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84956635"/>
                  </a:ext>
                </a:extLst>
              </a:tr>
              <a:tr h="386708">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Franc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Sports</a:t>
                      </a:r>
                    </a:p>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News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fr-FR" sz="900" b="1" kern="1200" dirty="0">
                          <a:solidFill>
                            <a:schemeClr val="accent2">
                              <a:lumMod val="75000"/>
                            </a:schemeClr>
                          </a:solidFill>
                          <a:latin typeface="Arial" charset="0"/>
                          <a:ea typeface="+mn-ea"/>
                          <a:cs typeface="+mn-cs"/>
                        </a:rPr>
                        <a:t>Stade 2 – sujet 24 H - 20:00 (11/06) </a:t>
                      </a:r>
                      <a:endParaRPr lang="en-GB" sz="900" b="1" kern="1200" dirty="0">
                        <a:solidFill>
                          <a:schemeClr val="accent2">
                            <a:lumMod val="75000"/>
                          </a:schemeClr>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335104177"/>
                  </a:ext>
                </a:extLst>
              </a:tr>
              <a:tr h="316683">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Franc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New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dirty="0">
                          <a:solidFill>
                            <a:schemeClr val="accent2">
                              <a:lumMod val="75000"/>
                            </a:schemeClr>
                          </a:solidFill>
                          <a:latin typeface="Arial" charset="0"/>
                        </a:rPr>
                        <a:t>M6 TV News: 12H45  (12/06) </a:t>
                      </a: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781560957"/>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0" name="Picture 9" descr="Logo TF1">
            <a:extLst>
              <a:ext uri="{FF2B5EF4-FFF2-40B4-BE49-F238E27FC236}">
                <a16:creationId xmlns:a16="http://schemas.microsoft.com/office/drawing/2014/main" id="{429FA3CD-E4AE-7CE7-59D0-A270C858B86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81438" y="1919026"/>
            <a:ext cx="481867" cy="175224"/>
          </a:xfrm>
          <a:prstGeom prst="rect">
            <a:avLst/>
          </a:prstGeom>
          <a:noFill/>
          <a:ln>
            <a:noFill/>
          </a:ln>
        </p:spPr>
      </p:pic>
      <p:pic>
        <p:nvPicPr>
          <p:cNvPr id="13" name="Picture 12">
            <a:extLst>
              <a:ext uri="{FF2B5EF4-FFF2-40B4-BE49-F238E27FC236}">
                <a16:creationId xmlns:a16="http://schemas.microsoft.com/office/drawing/2014/main" id="{535E58D0-D7AD-C9CC-7C39-870636E692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4280" y="1606651"/>
            <a:ext cx="1118113" cy="124235"/>
          </a:xfrm>
          <a:prstGeom prst="rect">
            <a:avLst/>
          </a:prstGeom>
        </p:spPr>
      </p:pic>
      <p:pic>
        <p:nvPicPr>
          <p:cNvPr id="4100" name="Picture 4" descr="France 2">
            <a:extLst>
              <a:ext uri="{FF2B5EF4-FFF2-40B4-BE49-F238E27FC236}">
                <a16:creationId xmlns:a16="http://schemas.microsoft.com/office/drawing/2014/main" id="{5FEFFADA-2629-84F4-7855-3A38397F53B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6799" y="2291075"/>
            <a:ext cx="531143" cy="276672"/>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2B534287-AB49-A2A4-008B-D374AE2D18E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4501" y="2666182"/>
            <a:ext cx="315737" cy="238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86961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European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7</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2800032932"/>
              </p:ext>
            </p:extLst>
          </p:nvPr>
        </p:nvGraphicFramePr>
        <p:xfrm>
          <a:off x="395811" y="1243405"/>
          <a:ext cx="8352377" cy="3096233"/>
        </p:xfrm>
        <a:graphic>
          <a:graphicData uri="http://schemas.openxmlformats.org/drawingml/2006/table">
            <a:tbl>
              <a:tblPr firstRow="1" bandRow="1">
                <a:tableStyleId>{5C22544A-7EE6-4342-B048-85BDC9FD1C3A}</a:tableStyleId>
              </a:tblPr>
              <a:tblGrid>
                <a:gridCol w="1243439">
                  <a:extLst>
                    <a:ext uri="{9D8B030D-6E8A-4147-A177-3AD203B41FA5}">
                      <a16:colId xmlns:a16="http://schemas.microsoft.com/office/drawing/2014/main" val="1171426331"/>
                    </a:ext>
                  </a:extLst>
                </a:gridCol>
                <a:gridCol w="1602279">
                  <a:extLst>
                    <a:ext uri="{9D8B030D-6E8A-4147-A177-3AD203B41FA5}">
                      <a16:colId xmlns:a16="http://schemas.microsoft.com/office/drawing/2014/main" val="1548871955"/>
                    </a:ext>
                  </a:extLst>
                </a:gridCol>
                <a:gridCol w="1243439">
                  <a:extLst>
                    <a:ext uri="{9D8B030D-6E8A-4147-A177-3AD203B41FA5}">
                      <a16:colId xmlns:a16="http://schemas.microsoft.com/office/drawing/2014/main" val="1220884781"/>
                    </a:ext>
                  </a:extLst>
                </a:gridCol>
                <a:gridCol w="710536">
                  <a:extLst>
                    <a:ext uri="{9D8B030D-6E8A-4147-A177-3AD203B41FA5}">
                      <a16:colId xmlns:a16="http://schemas.microsoft.com/office/drawing/2014/main" val="1824730945"/>
                    </a:ext>
                  </a:extLst>
                </a:gridCol>
                <a:gridCol w="3552684">
                  <a:extLst>
                    <a:ext uri="{9D8B030D-6E8A-4147-A177-3AD203B41FA5}">
                      <a16:colId xmlns:a16="http://schemas.microsoft.com/office/drawing/2014/main" val="536613247"/>
                    </a:ext>
                  </a:extLst>
                </a:gridCol>
              </a:tblGrid>
              <a:tr h="238111">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337793">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in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082540305"/>
                  </a:ext>
                </a:extLst>
              </a:tr>
              <a:tr h="357167">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Germany/DACH</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14:45 on 10/06 – 16:45 11/06 on RTL Nitro</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357167">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Ital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Highlights &amp; New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1350" kern="1200" dirty="0">
                          <a:solidFill>
                            <a:schemeClr val="dk1"/>
                          </a:solidFill>
                          <a:effectLst/>
                          <a:latin typeface="+mn-lt"/>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26994600"/>
                  </a:ext>
                </a:extLst>
              </a:tr>
              <a:tr h="758980">
                <a:tc>
                  <a:txBody>
                    <a:bodyPr/>
                    <a:lstStyle/>
                    <a:p>
                      <a:pPr algn="ctr"/>
                      <a:endParaRPr lang="en-GB" dirty="0"/>
                    </a:p>
                    <a:p>
                      <a:pPr algn="ctr"/>
                      <a:endParaRPr lang="en-GB" dirty="0"/>
                    </a:p>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Netherlands &amp; Luxembourg</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On RTL 7 Part 1: 15:00-16:00 (pre show) / Part 2: 16:00-19:55</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On RTL 5 Part 3: 19:55-00:00</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On RTL 7 Part 4: 00:00-16:30</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on RTL 7 18/06 15:30-16:30 and 24/06 15:30-16:3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335104177"/>
                  </a:ext>
                </a:extLst>
              </a:tr>
              <a:tr h="316683">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Po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 &amp; 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accent6"/>
                        </a:solidFill>
                        <a:latin typeface="Arial"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accent6"/>
                        </a:solidFill>
                        <a:latin typeface="Arial"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781560957"/>
                  </a:ext>
                </a:extLst>
              </a:tr>
              <a:tr h="316683">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Switzer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New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dirty="0">
                        <a:solidFill>
                          <a:schemeClr val="accent2">
                            <a:lumMod val="75000"/>
                          </a:schemeClr>
                        </a:solidFill>
                        <a:latin typeface="Arial"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dirty="0">
                          <a:solidFill>
                            <a:schemeClr val="accent2">
                              <a:lumMod val="75000"/>
                            </a:schemeClr>
                          </a:solidFill>
                          <a:latin typeface="Arial" charset="0"/>
                        </a:rPr>
                        <a:t>News Access</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dirty="0">
                        <a:solidFill>
                          <a:schemeClr val="accent2">
                            <a:lumMod val="75000"/>
                          </a:schemeClr>
                        </a:solidFill>
                        <a:latin typeface="Arial"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551654353"/>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9" name="Picture 8">
            <a:extLst>
              <a:ext uri="{FF2B5EF4-FFF2-40B4-BE49-F238E27FC236}">
                <a16:creationId xmlns:a16="http://schemas.microsoft.com/office/drawing/2014/main" id="{831C71F3-9CCE-43B9-A821-A6EFB59084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2798" y="1932510"/>
            <a:ext cx="814138" cy="149973"/>
          </a:xfrm>
          <a:prstGeom prst="rect">
            <a:avLst/>
          </a:prstGeom>
        </p:spPr>
      </p:pic>
      <p:pic>
        <p:nvPicPr>
          <p:cNvPr id="15" name="Picture 14">
            <a:extLst>
              <a:ext uri="{FF2B5EF4-FFF2-40B4-BE49-F238E27FC236}">
                <a16:creationId xmlns:a16="http://schemas.microsoft.com/office/drawing/2014/main" id="{D4F1C7D8-C2D0-4ABD-99D0-76DFAA2BA1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3525" y="2819325"/>
            <a:ext cx="541279" cy="121788"/>
          </a:xfrm>
          <a:prstGeom prst="rect">
            <a:avLst/>
          </a:prstGeom>
        </p:spPr>
      </p:pic>
      <p:pic>
        <p:nvPicPr>
          <p:cNvPr id="7" name="Picture 6">
            <a:extLst>
              <a:ext uri="{FF2B5EF4-FFF2-40B4-BE49-F238E27FC236}">
                <a16:creationId xmlns:a16="http://schemas.microsoft.com/office/drawing/2014/main" id="{E87BC499-4B22-9386-B9A5-007666A9E355}"/>
              </a:ext>
            </a:extLst>
          </p:cNvPr>
          <p:cNvPicPr>
            <a:picLocks noChangeAspect="1"/>
          </p:cNvPicPr>
          <p:nvPr/>
        </p:nvPicPr>
        <p:blipFill>
          <a:blip r:embed="rId4" r:link="rId5">
            <a:extLst>
              <a:ext uri="{28A0092B-C50C-407E-A947-70E740481C1C}">
                <a14:useLocalDpi xmlns:a14="http://schemas.microsoft.com/office/drawing/2010/main" val="0"/>
              </a:ext>
            </a:extLst>
          </a:blip>
          <a:srcRect/>
          <a:stretch>
            <a:fillRect/>
          </a:stretch>
        </p:blipFill>
        <p:spPr bwMode="auto">
          <a:xfrm>
            <a:off x="766302" y="3464888"/>
            <a:ext cx="472731" cy="232907"/>
          </a:xfrm>
          <a:prstGeom prst="rect">
            <a:avLst/>
          </a:prstGeom>
          <a:noFill/>
          <a:ln>
            <a:noFill/>
          </a:ln>
        </p:spPr>
      </p:pic>
      <p:pic>
        <p:nvPicPr>
          <p:cNvPr id="11" name="Picture 10">
            <a:extLst>
              <a:ext uri="{FF2B5EF4-FFF2-40B4-BE49-F238E27FC236}">
                <a16:creationId xmlns:a16="http://schemas.microsoft.com/office/drawing/2014/main" id="{740C7E6A-FE7D-336A-79DA-1A7634916140}"/>
              </a:ext>
            </a:extLst>
          </p:cNvPr>
          <p:cNvPicPr>
            <a:picLocks noChangeAspect="1"/>
          </p:cNvPicPr>
          <p:nvPr/>
        </p:nvPicPr>
        <p:blipFill>
          <a:blip r:embed="rId6"/>
          <a:stretch>
            <a:fillRect/>
          </a:stretch>
        </p:blipFill>
        <p:spPr>
          <a:xfrm>
            <a:off x="894257" y="2231797"/>
            <a:ext cx="275734" cy="278699"/>
          </a:xfrm>
          <a:prstGeom prst="rect">
            <a:avLst/>
          </a:prstGeom>
        </p:spPr>
      </p:pic>
      <p:pic>
        <p:nvPicPr>
          <p:cNvPr id="6" name="Picture 5">
            <a:extLst>
              <a:ext uri="{FF2B5EF4-FFF2-40B4-BE49-F238E27FC236}">
                <a16:creationId xmlns:a16="http://schemas.microsoft.com/office/drawing/2014/main" id="{F6B8D037-D089-CC9B-EBE6-7C5B3530B1D4}"/>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38790" y="1568927"/>
            <a:ext cx="527756" cy="233430"/>
          </a:xfrm>
          <a:prstGeom prst="rect">
            <a:avLst/>
          </a:prstGeom>
          <a:noFill/>
          <a:ln>
            <a:noFill/>
          </a:ln>
        </p:spPr>
      </p:pic>
      <p:pic>
        <p:nvPicPr>
          <p:cNvPr id="8" name="Picture 4">
            <a:extLst>
              <a:ext uri="{FF2B5EF4-FFF2-40B4-BE49-F238E27FC236}">
                <a16:creationId xmlns:a16="http://schemas.microsoft.com/office/drawing/2014/main" id="{C2CB9839-A763-83C6-3990-6B1DE0860F2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90311" y="2776854"/>
            <a:ext cx="361521" cy="20672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1" descr="Related image">
            <a:extLst>
              <a:ext uri="{FF2B5EF4-FFF2-40B4-BE49-F238E27FC236}">
                <a16:creationId xmlns:a16="http://schemas.microsoft.com/office/drawing/2014/main" id="{61791A1D-6CF4-B68B-5177-D5BCF4A7FC9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1795" y="3903287"/>
            <a:ext cx="346018" cy="29378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978679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Asia-Pacific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8</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109101238"/>
              </p:ext>
            </p:extLst>
          </p:nvPr>
        </p:nvGraphicFramePr>
        <p:xfrm>
          <a:off x="412315" y="1247612"/>
          <a:ext cx="8463619" cy="2592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Pan-APA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ree Practice, Qualifying, </a:t>
                      </a:r>
                      <a:r>
                        <a:rPr lang="en-GB" sz="900" b="1" kern="1200" dirty="0" err="1">
                          <a:solidFill>
                            <a:schemeClr val="tx2"/>
                          </a:solidFill>
                          <a:latin typeface="Arial" charset="0"/>
                          <a:ea typeface="+mn-ea"/>
                          <a:cs typeface="+mn-cs"/>
                        </a:rPr>
                        <a:t>Hyperpole</a:t>
                      </a:r>
                      <a:r>
                        <a:rPr lang="en-GB" sz="900" b="1" kern="1200" dirty="0">
                          <a:solidFill>
                            <a:schemeClr val="tx2"/>
                          </a:solidFill>
                          <a:latin typeface="Arial" charset="0"/>
                          <a:ea typeface="+mn-ea"/>
                          <a:cs typeface="+mn-cs"/>
                        </a:rPr>
                        <a:t>, </a:t>
                      </a:r>
                      <a:r>
                        <a:rPr lang="en-GB" sz="900" b="1" kern="1200" dirty="0" err="1">
                          <a:solidFill>
                            <a:schemeClr val="tx2"/>
                          </a:solidFill>
                          <a:latin typeface="Arial" charset="0"/>
                          <a:ea typeface="+mn-ea"/>
                          <a:cs typeface="+mn-cs"/>
                        </a:rPr>
                        <a:t>WarmUp</a:t>
                      </a:r>
                      <a:r>
                        <a:rPr lang="en-GB" sz="900" b="1" kern="1200" dirty="0">
                          <a:solidFill>
                            <a:schemeClr val="tx2"/>
                          </a:solidFill>
                          <a:latin typeface="Arial" charset="0"/>
                          <a:ea typeface="+mn-ea"/>
                          <a:cs typeface="+mn-cs"/>
                        </a:rPr>
                        <a:t>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Part 1: 15:00 (10/06) – 17:00 (11/06)</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3/06 21:00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7713581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Austral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irst 2 hours of Live Race on 9Go! 00:00 (11/06)</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d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from 23:30 – 02:3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Japan</a:t>
                      </a:r>
                      <a:endParaRPr lang="en-GB" sz="900" dirty="0">
                        <a:solidFill>
                          <a:schemeClr val="tx1"/>
                        </a:solidFill>
                        <a:latin typeface="Arial"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BS/C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on J Sports 3 22:40-00:00 JST</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eruns on Sports 3 13/06-16/06 and 20/06-24/06</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 24/06 22:15-23:15 on J Sports 3</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012035120"/>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6" name="Picture 15">
            <a:extLst>
              <a:ext uri="{FF2B5EF4-FFF2-40B4-BE49-F238E27FC236}">
                <a16:creationId xmlns:a16="http://schemas.microsoft.com/office/drawing/2014/main" id="{10B75AE2-7F98-42B1-B7A4-5B39C8299D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2211" y="3365156"/>
            <a:ext cx="708760" cy="389074"/>
          </a:xfrm>
          <a:prstGeom prst="rect">
            <a:avLst/>
          </a:prstGeom>
          <a:solidFill>
            <a:schemeClr val="bg1"/>
          </a:solidFill>
        </p:spPr>
      </p:pic>
      <p:pic>
        <p:nvPicPr>
          <p:cNvPr id="17" name="Picture 16">
            <a:extLst>
              <a:ext uri="{FF2B5EF4-FFF2-40B4-BE49-F238E27FC236}">
                <a16:creationId xmlns:a16="http://schemas.microsoft.com/office/drawing/2014/main" id="{076F0F44-3206-4EBB-BDD0-1B724C8672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9009" y="1732758"/>
            <a:ext cx="1097595" cy="127553"/>
          </a:xfrm>
          <a:prstGeom prst="rect">
            <a:avLst/>
          </a:prstGeom>
        </p:spPr>
      </p:pic>
      <p:pic>
        <p:nvPicPr>
          <p:cNvPr id="19" name="Picture 18">
            <a:extLst>
              <a:ext uri="{FF2B5EF4-FFF2-40B4-BE49-F238E27FC236}">
                <a16:creationId xmlns:a16="http://schemas.microsoft.com/office/drawing/2014/main" id="{F3F5DBF6-DAAD-4169-8365-63EE26BDF8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793" y="2965644"/>
            <a:ext cx="1097595" cy="127553"/>
          </a:xfrm>
          <a:prstGeom prst="rect">
            <a:avLst/>
          </a:prstGeom>
        </p:spPr>
      </p:pic>
      <p:pic>
        <p:nvPicPr>
          <p:cNvPr id="1026" name="Picture 2">
            <a:extLst>
              <a:ext uri="{FF2B5EF4-FFF2-40B4-BE49-F238E27FC236}">
                <a16:creationId xmlns:a16="http://schemas.microsoft.com/office/drawing/2014/main" id="{61BE5E5B-FE6F-F980-FE96-78460C65880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0014" y="2231475"/>
            <a:ext cx="966590" cy="3769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94610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Asia-Pacific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9</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4049123973"/>
              </p:ext>
            </p:extLst>
          </p:nvPr>
        </p:nvGraphicFramePr>
        <p:xfrm>
          <a:off x="412315" y="1247612"/>
          <a:ext cx="8463619" cy="146808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New Zea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01:00 (11/06) - 03:00 on Sky Sport 5</a:t>
                      </a:r>
                      <a:br>
                        <a:rPr lang="en-GB" sz="900" b="1" kern="1200" dirty="0">
                          <a:solidFill>
                            <a:schemeClr val="tx2"/>
                          </a:solidFill>
                          <a:latin typeface="Arial" charset="0"/>
                          <a:ea typeface="+mn-ea"/>
                          <a:cs typeface="+mn-cs"/>
                        </a:rPr>
                      </a:br>
                      <a:r>
                        <a:rPr lang="en-GB" sz="900" b="1" kern="1200" dirty="0">
                          <a:solidFill>
                            <a:schemeClr val="tx2"/>
                          </a:solidFill>
                          <a:latin typeface="Arial" charset="0"/>
                          <a:ea typeface="+mn-ea"/>
                          <a:cs typeface="+mn-cs"/>
                        </a:rPr>
                        <a:t>Reruns of last two hours on Sky Sport 5 19:00-21:00 12/06</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erun on Sky Sport 5 20:00 (14/06) – 22:00</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on Sky Sport 5 19:30 13/06</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926994600"/>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Taiwa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 available (date tb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35104177"/>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21" name="Picture 4" descr="http://www.elta.tv/images/header/ELTA_logo.jpg">
            <a:extLst>
              <a:ext uri="{FF2B5EF4-FFF2-40B4-BE49-F238E27FC236}">
                <a16:creationId xmlns:a16="http://schemas.microsoft.com/office/drawing/2014/main" id="{81BC2975-46D7-45BA-BE72-90D478FA01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2104" y="2207205"/>
            <a:ext cx="706371" cy="380322"/>
          </a:xfrm>
          <a:prstGeom prst="rect">
            <a:avLst/>
          </a:prstGeom>
          <a:solidFill>
            <a:schemeClr val="bg1"/>
          </a:solidFill>
        </p:spPr>
      </p:pic>
      <p:pic>
        <p:nvPicPr>
          <p:cNvPr id="22" name="Picture 50" descr="Sky2013logo.png">
            <a:extLst>
              <a:ext uri="{FF2B5EF4-FFF2-40B4-BE49-F238E27FC236}">
                <a16:creationId xmlns:a16="http://schemas.microsoft.com/office/drawing/2014/main" id="{9A78B25B-BAAB-47C0-AC0B-15BA748A08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4285" y="1631987"/>
            <a:ext cx="594677" cy="380322"/>
          </a:xfrm>
          <a:prstGeom prst="rect">
            <a:avLst/>
          </a:prstGeom>
          <a:solidFill>
            <a:schemeClr val="bg1"/>
          </a:solidFill>
        </p:spPr>
      </p:pic>
    </p:spTree>
    <p:extLst>
      <p:ext uri="{BB962C8B-B14F-4D97-AF65-F5344CB8AC3E}">
        <p14:creationId xmlns:p14="http://schemas.microsoft.com/office/powerpoint/2010/main" val="13289892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hRNtJI7QZqlpPea65IJ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5ioBjtZVSZG5b7h0sO7E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nqASQALhZGN7T1GnqLC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KhQy0miKFCjlP.DDdfD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i9IojMV4z6FSj2IqPCg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6SA.SR4X2kw8TzYskoo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1U2vk6iT3qXvZTcGzFwzA"/>
</p:tagLst>
</file>

<file path=ppt/theme/theme1.xml><?xml version="1.0" encoding="utf-8"?>
<a:theme xmlns:a="http://schemas.openxmlformats.org/drawingml/2006/main" name="Infront_PPT_Cover">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b="1" dirty="0" err="1" smtClean="0"/>
        </a:defPPr>
      </a:lstStyle>
    </a:txDef>
  </a:objectDefaults>
  <a:extraClrSchemeLst/>
  <a:custClrLst>
    <a:custClr name="INFRONT PURPLE">
      <a:srgbClr val="68658A"/>
    </a:custClr>
    <a:custClr name="INFRONT LIGHT BLUE">
      <a:srgbClr val="BAD1D7"/>
    </a:custClr>
    <a:custClr name="INFRONT LIGHT GREY">
      <a:srgbClr val="F5F5F4"/>
    </a:custClr>
  </a:custClrLst>
  <a:extLst>
    <a:ext uri="{05A4C25C-085E-4340-85A3-A5531E510DB2}">
      <thm15:themeFamily xmlns:thm15="http://schemas.microsoft.com/office/thememl/2012/main" name="PPT_Template_Infront_Final_Light.potx" id="{A3ADE75C-6963-4A82-B1FD-E4921C300C6F}" vid="{AF8D1960-03B9-40C8-9420-3914D893ADC4}"/>
    </a:ext>
  </a:extLst>
</a:theme>
</file>

<file path=ppt/theme/theme2.xml><?xml version="1.0" encoding="utf-8"?>
<a:theme xmlns:a="http://schemas.openxmlformats.org/drawingml/2006/main" name="Infront_PPT_Divider">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b="1" dirty="0" err="1" smtClean="0"/>
        </a:defPPr>
      </a:lstStyle>
    </a:txDef>
  </a:objectDefaults>
  <a:extraClrSchemeLst/>
  <a:custClrLst>
    <a:custClr name="INFRONT PURPLE">
      <a:srgbClr val="68658A"/>
    </a:custClr>
    <a:custClr name="INFRONT LIGHT BLUE">
      <a:srgbClr val="BAD1D7"/>
    </a:custClr>
    <a:custClr name="INFRONT LIGHT GREY">
      <a:srgbClr val="F5F5F4"/>
    </a:custClr>
  </a:custClrLst>
  <a:extLst>
    <a:ext uri="{05A4C25C-085E-4340-85A3-A5531E510DB2}">
      <thm15:themeFamily xmlns:thm15="http://schemas.microsoft.com/office/thememl/2012/main" name="PPT_Template_Infront_Final_Light.potx" id="{A3ADE75C-6963-4A82-B1FD-E4921C300C6F}" vid="{7FCC5F5D-D5E5-40D5-83A3-57F81C772556}"/>
    </a:ext>
  </a:extLst>
</a:theme>
</file>

<file path=ppt/theme/theme3.xml><?xml version="1.0" encoding="utf-8"?>
<a:theme xmlns:a="http://schemas.openxmlformats.org/drawingml/2006/main" name="Infront_PPT_Content">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b="1" dirty="0" err="1" smtClean="0"/>
        </a:defPPr>
      </a:lstStyle>
    </a:txDef>
  </a:objectDefaults>
  <a:extraClrSchemeLst/>
  <a:custClrLst>
    <a:custClr name="INFRONT PURPLE">
      <a:srgbClr val="68658A"/>
    </a:custClr>
    <a:custClr name="INFRONT LIGHT BLUE">
      <a:srgbClr val="BAD1D7"/>
    </a:custClr>
    <a:custClr name="INFRONT LIGHT GREY">
      <a:srgbClr val="F5F5F4"/>
    </a:custClr>
  </a:custClrLst>
  <a:extLst>
    <a:ext uri="{05A4C25C-085E-4340-85A3-A5531E510DB2}">
      <thm15:themeFamily xmlns:thm15="http://schemas.microsoft.com/office/thememl/2012/main" name="PPT_Template_Infront_Final_Light.potx" id="{A3ADE75C-6963-4A82-B1FD-E4921C300C6F}" vid="{FB6CEB5C-1105-4579-A158-D79A4BCD21DD}"/>
    </a:ext>
  </a:extLst>
</a:theme>
</file>

<file path=ppt/theme/theme4.xml><?xml version="1.0" encoding="utf-8"?>
<a:theme xmlns:a="http://schemas.openxmlformats.org/drawingml/2006/main" name="Office">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C64F9CB1FD4C49AE5CC6DE8840D54F" ma:contentTypeVersion="2" ma:contentTypeDescription="Create a new document." ma:contentTypeScope="" ma:versionID="3d4b48bfe4710af2939452657fe6c20a">
  <xsd:schema xmlns:xsd="http://www.w3.org/2001/XMLSchema" xmlns:xs="http://www.w3.org/2001/XMLSchema" xmlns:p="http://schemas.microsoft.com/office/2006/metadata/properties" xmlns:ns2="fbe41b5e-7eb0-4f3c-83ec-18f3dffb662b" targetNamespace="http://schemas.microsoft.com/office/2006/metadata/properties" ma:root="true" ma:fieldsID="a4b34d6e50717b8d0581f01e3360b023" ns2:_="">
    <xsd:import namespace="fbe41b5e-7eb0-4f3c-83ec-18f3dffb662b"/>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e41b5e-7eb0-4f3c-83ec-18f3dffb66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3C25DC3-F506-4B5E-976B-BE3815EF42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be41b5e-7eb0-4f3c-83ec-18f3dffb662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97F2998-EEC1-48AC-8234-3F65E7C468F5}">
  <ds:schemaRefs>
    <ds:schemaRef ds:uri="http://schemas.microsoft.com/sharepoint/v3/contenttype/forms"/>
  </ds:schemaRefs>
</ds:datastoreItem>
</file>

<file path=customXml/itemProps3.xml><?xml version="1.0" encoding="utf-8"?>
<ds:datastoreItem xmlns:ds="http://schemas.openxmlformats.org/officeDocument/2006/customXml" ds:itemID="{1938E49E-9A93-40D6-AE79-ED5601C245F0}">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_Template_Infront_Final_Light</Template>
  <TotalTime>13</TotalTime>
  <Words>1641</Words>
  <Application>Microsoft Macintosh PowerPoint</Application>
  <PresentationFormat>Affichage à l'écran (16:9)</PresentationFormat>
  <Paragraphs>420</Paragraphs>
  <Slides>16</Slides>
  <Notes>0</Notes>
  <HiddenSlides>0</HiddenSlides>
  <MMClips>0</MMClips>
  <ScaleCrop>false</ScaleCrop>
  <HeadingPairs>
    <vt:vector size="8" baseType="variant">
      <vt:variant>
        <vt:lpstr>Polices utilisées</vt:lpstr>
      </vt:variant>
      <vt:variant>
        <vt:i4>2</vt:i4>
      </vt:variant>
      <vt:variant>
        <vt:lpstr>Thème</vt:lpstr>
      </vt:variant>
      <vt:variant>
        <vt:i4>3</vt:i4>
      </vt:variant>
      <vt:variant>
        <vt:lpstr>Serveurs OLE incorporés</vt:lpstr>
      </vt:variant>
      <vt:variant>
        <vt:i4>1</vt:i4>
      </vt:variant>
      <vt:variant>
        <vt:lpstr>Titres des diapositives</vt:lpstr>
      </vt:variant>
      <vt:variant>
        <vt:i4>16</vt:i4>
      </vt:variant>
    </vt:vector>
  </HeadingPairs>
  <TitlesOfParts>
    <vt:vector size="22" baseType="lpstr">
      <vt:lpstr>Arial</vt:lpstr>
      <vt:lpstr>Calibri</vt:lpstr>
      <vt:lpstr>Infront_PPT_Cover</vt:lpstr>
      <vt:lpstr>Infront_PPT_Divider</vt:lpstr>
      <vt:lpstr>Infront_PPT_Content</vt:lpstr>
      <vt:lpstr>think-cell Slide</vt:lpstr>
      <vt:lpstr>TV DISTRIBUTION: 24 Hours of  Le Mans</vt:lpstr>
      <vt:lpstr>FIA WEC 2023 Broadcast Partners</vt:lpstr>
      <vt:lpstr>FIA WEC 2023 Broadcast Partners</vt:lpstr>
      <vt:lpstr>Pan-European Broadcasters</vt:lpstr>
      <vt:lpstr>European Broadcasters</vt:lpstr>
      <vt:lpstr>European Broadcasters</vt:lpstr>
      <vt:lpstr>European Broadcasters</vt:lpstr>
      <vt:lpstr>Asia-Pacific Broadcasters</vt:lpstr>
      <vt:lpstr>Asia-Pacific Broadcasters</vt:lpstr>
      <vt:lpstr>Americas Broadcasters</vt:lpstr>
      <vt:lpstr>Pan-African, MENA and Other Broadcasters</vt:lpstr>
      <vt:lpstr>Online Broadcasters</vt:lpstr>
      <vt:lpstr>Online Broadcasters - Europe</vt:lpstr>
      <vt:lpstr>Online Broadcasters - Asia-Pacific</vt:lpstr>
      <vt:lpstr>Online Broadcasters – Pan-regional</vt:lpstr>
      <vt:lpstr>Radio Broadcasters &amp; Other Medi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zemek Rembelski</dc:creator>
  <cp:lastModifiedBy>Nathalie FARGIER</cp:lastModifiedBy>
  <cp:revision>214</cp:revision>
  <dcterms:created xsi:type="dcterms:W3CDTF">2021-10-15T10:38:32Z</dcterms:created>
  <dcterms:modified xsi:type="dcterms:W3CDTF">2023-06-02T21:22: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C64F9CB1FD4C49AE5CC6DE8840D54F</vt:lpwstr>
  </property>
</Properties>
</file>